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56.xml" ContentType="application/vnd.openxmlformats-officedocument.presentationml.tags+xml"/>
  <Override PartName="/ppt/notesSlides/notesSlide3.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4.xml" ContentType="application/vnd.openxmlformats-officedocument.presentationml.notesSlide+xml"/>
  <Override PartName="/ppt/comments/modernComment_7FFFF82E_A92FE9AA.xml" ContentType="application/vnd.ms-powerpoint.comment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7.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68.xml" ContentType="application/vnd.openxmlformats-officedocument.presentationml.tags+xml"/>
  <Override PartName="/ppt/tags/tag6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97" r:id="rId1"/>
    <p:sldMasterId id="2147483993" r:id="rId2"/>
    <p:sldMasterId id="2147484047" r:id="rId3"/>
    <p:sldMasterId id="2147484068" r:id="rId4"/>
  </p:sldMasterIdLst>
  <p:notesMasterIdLst>
    <p:notesMasterId r:id="rId41"/>
  </p:notesMasterIdLst>
  <p:sldIdLst>
    <p:sldId id="2147481625" r:id="rId5"/>
    <p:sldId id="2147481626" r:id="rId6"/>
    <p:sldId id="2147481628" r:id="rId7"/>
    <p:sldId id="2147481633" r:id="rId8"/>
    <p:sldId id="2147481634" r:id="rId9"/>
    <p:sldId id="2147481635" r:id="rId10"/>
    <p:sldId id="2147481636" r:id="rId11"/>
    <p:sldId id="2147481627" r:id="rId12"/>
    <p:sldId id="2147481637" r:id="rId13"/>
    <p:sldId id="2147481638" r:id="rId14"/>
    <p:sldId id="2147481639" r:id="rId15"/>
    <p:sldId id="2147481640" r:id="rId16"/>
    <p:sldId id="2147481641" r:id="rId17"/>
    <p:sldId id="2147481663" r:id="rId18"/>
    <p:sldId id="2147481642" r:id="rId19"/>
    <p:sldId id="2147481644" r:id="rId20"/>
    <p:sldId id="2147481645" r:id="rId21"/>
    <p:sldId id="2147481646" r:id="rId22"/>
    <p:sldId id="2147481647" r:id="rId23"/>
    <p:sldId id="2147481662" r:id="rId24"/>
    <p:sldId id="2147481657" r:id="rId25"/>
    <p:sldId id="2147481659" r:id="rId26"/>
    <p:sldId id="2147481665" r:id="rId27"/>
    <p:sldId id="2147481653" r:id="rId28"/>
    <p:sldId id="2147481664" r:id="rId29"/>
    <p:sldId id="2147481655" r:id="rId30"/>
    <p:sldId id="2147481656" r:id="rId31"/>
    <p:sldId id="2147481679" r:id="rId32"/>
    <p:sldId id="2147481666" r:id="rId33"/>
    <p:sldId id="2147481661" r:id="rId34"/>
    <p:sldId id="2147481678" r:id="rId35"/>
    <p:sldId id="2147481673" r:id="rId36"/>
    <p:sldId id="2147481674" r:id="rId37"/>
    <p:sldId id="2147481675" r:id="rId38"/>
    <p:sldId id="2147481676" r:id="rId39"/>
    <p:sldId id="2147481677"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42355928-213A-24EA-2F43-D47684C5BCA9}" name="Rachel Walter" initials="RW" userId="S::rachel.walter@ansrsource.com::e825bc55-8f48-411f-8122-a4f67d06a99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uchi Mandal" initials="SM" lastIdx="7" clrIdx="0">
    <p:extLst>
      <p:ext uri="{19B8F6BF-5375-455C-9EA6-DF929625EA0E}">
        <p15:presenceInfo xmlns:p15="http://schemas.microsoft.com/office/powerpoint/2012/main" userId="S::Sucharita@ansrsource.com::669f166c-814d-449b-a79c-d01b765bb1f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797E"/>
    <a:srgbClr val="053754"/>
    <a:srgbClr val="134C6A"/>
    <a:srgbClr val="16506E"/>
    <a:srgbClr val="18A0A6"/>
    <a:srgbClr val="1590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18E50B-5665-AAF5-EC06-247AF108D584}" v="18" dt="2026-01-12T17:24:03.4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varScale="1">
        <p:scale>
          <a:sx n="121" d="100"/>
          <a:sy n="121" d="100"/>
        </p:scale>
        <p:origin x="744"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47"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CD97-4261-9125-B321CB6DD437}"/>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2-CD97-4261-9125-B321CB6DD437}"/>
              </c:ext>
            </c:extLst>
          </c:dPt>
          <c:cat>
            <c:strRef>
              <c:f>Sheet1!$A$2:$A$3</c:f>
              <c:strCache>
                <c:ptCount val="2"/>
                <c:pt idx="0">
                  <c:v>1st Qtr</c:v>
                </c:pt>
                <c:pt idx="1">
                  <c:v>2nd Qtr</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0-CD97-4261-9125-B321CB6DD437}"/>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CD97-4261-9125-B321CB6DD437}"/>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2-CD97-4261-9125-B321CB6DD437}"/>
              </c:ext>
            </c:extLst>
          </c:dPt>
          <c:cat>
            <c:strRef>
              <c:f>Sheet1!$A$2:$A$3</c:f>
              <c:strCache>
                <c:ptCount val="2"/>
                <c:pt idx="0">
                  <c:v>1st Qtr</c:v>
                </c:pt>
                <c:pt idx="1">
                  <c:v>2nd Qtr</c:v>
                </c:pt>
              </c:strCache>
            </c:strRef>
          </c:cat>
          <c:val>
            <c:numRef>
              <c:f>Sheet1!$B$2:$B$3</c:f>
              <c:numCache>
                <c:formatCode>General</c:formatCode>
                <c:ptCount val="2"/>
                <c:pt idx="0">
                  <c:v>85</c:v>
                </c:pt>
                <c:pt idx="1">
                  <c:v>15</c:v>
                </c:pt>
              </c:numCache>
            </c:numRef>
          </c:val>
          <c:extLst>
            <c:ext xmlns:c16="http://schemas.microsoft.com/office/drawing/2014/chart" uri="{C3380CC4-5D6E-409C-BE32-E72D297353CC}">
              <c16:uniqueId val="{00000000-CD97-4261-9125-B321CB6DD437}"/>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CD97-4261-9125-B321CB6DD437}"/>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2-CD97-4261-9125-B321CB6DD437}"/>
              </c:ext>
            </c:extLst>
          </c:dPt>
          <c:cat>
            <c:strRef>
              <c:f>Sheet1!$A$2:$A$3</c:f>
              <c:strCache>
                <c:ptCount val="2"/>
                <c:pt idx="0">
                  <c:v>1st Qtr</c:v>
                </c:pt>
                <c:pt idx="1">
                  <c:v>2nd Qtr</c:v>
                </c:pt>
              </c:strCache>
            </c:strRef>
          </c:cat>
          <c:val>
            <c:numRef>
              <c:f>Sheet1!$B$2:$B$3</c:f>
              <c:numCache>
                <c:formatCode>General</c:formatCode>
                <c:ptCount val="2"/>
                <c:pt idx="0">
                  <c:v>90</c:v>
                </c:pt>
                <c:pt idx="1">
                  <c:v>10</c:v>
                </c:pt>
              </c:numCache>
            </c:numRef>
          </c:val>
          <c:extLst>
            <c:ext xmlns:c16="http://schemas.microsoft.com/office/drawing/2014/chart" uri="{C3380CC4-5D6E-409C-BE32-E72D297353CC}">
              <c16:uniqueId val="{00000000-CD97-4261-9125-B321CB6DD437}"/>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F82E_A92FE9AA.xml><?xml version="1.0" encoding="utf-8"?>
<p188:cmLst xmlns:a="http://schemas.openxmlformats.org/drawingml/2006/main" xmlns:r="http://schemas.openxmlformats.org/officeDocument/2006/relationships" xmlns:p188="http://schemas.microsoft.com/office/powerpoint/2018/8/main">
  <p188:cm id="{22319F00-27D9-3347-9767-496B5DEBF88B}" authorId="{42355928-213A-24EA-2F43-D47684C5BCA9}" created="2025-11-24T01:11:58.002">
    <pc:sldMkLst xmlns:pc="http://schemas.microsoft.com/office/powerpoint/2013/main/command">
      <pc:docMk/>
      <pc:sldMk cId="2838489514" sldId="2147481610"/>
    </pc:sldMkLst>
    <p188:txBody>
      <a:bodyPr/>
      <a:lstStyle/>
      <a:p>
        <a:r>
          <a:rPr lang="en-US"/>
          <a:t>[@Vikram Jain] if you have this one handy, can you add it?</a:t>
        </a:r>
      </a:p>
    </p188:txBody>
    <p188:extLst>
      <p:ext xmlns:p="http://schemas.openxmlformats.org/presentationml/2006/main" uri="{5BB2D875-25FF-4072-B9AC-8F64D62656EB}">
        <p228:taskDetails xmlns:p228="http://schemas.microsoft.com/office/powerpoint/2022/08/main">
          <p228:history>
            <p228:event time="2025-11-24T01:11:58.002" id="{98A38861-C3C3-C344-869B-C98061DE7DD9}">
              <p228:atrbtn authorId="{42355928-213A-24EA-2F43-D47684C5BCA9}"/>
              <p228:anchr>
                <p228:comment id="{22319F00-27D9-3347-9767-496B5DEBF88B}"/>
              </p228:anchr>
              <p228:add/>
            </p228:event>
            <p228:event time="2025-11-24T01:11:58.002" id="{21F51152-609B-4A4B-8F86-77AAD719301D}">
              <p228:atrbtn authorId="{42355928-213A-24EA-2F43-D47684C5BCA9}"/>
              <p228:anchr>
                <p228:comment id="{22319F00-27D9-3347-9767-496B5DEBF88B}"/>
              </p228:anchr>
              <p228:asgn authorId="{4CF9333A-8B43-EF06-03AA-E98B7228C400}"/>
            </p228:event>
            <p228:event time="2025-11-24T01:11:58.002" id="{C3A63F68-3762-6544-9774-F75B9067BB6B}">
              <p228:atrbtn authorId="{42355928-213A-24EA-2F43-D47684C5BCA9}"/>
              <p228:anchr>
                <p228:comment id="{22319F00-27D9-3347-9767-496B5DEBF88B}"/>
              </p228:anchr>
              <p228:title val="@Vikram Jain if you have this one handy, can you add it?"/>
            </p228:event>
            <p228:event time="2025-11-24T01:11:58.002" id="{76D7EEE0-7312-A943-9F12-4CE2E7348E5F}">
              <p228:atrbtn authorId="{42355928-213A-24EA-2F43-D47684C5BCA9}"/>
              <p228:anchr>
                <p228:comment id="{22319F00-27D9-3347-9767-496B5DEBF88B}"/>
              </p228:anchr>
              <p228:date stDt="2025-11-24T01:11:58.003" endDt="2025-11-24T01:11:58.003"/>
            </p228:event>
          </p228:history>
        </p228:taskDetails>
      </p:ext>
    </p188:extLst>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EA245E2-2811-CF4A-9DE9-B875304968BD}" type="doc">
      <dgm:prSet loTypeId="urn:microsoft.com/office/officeart/2008/layout/VerticalCurvedList" loCatId="" qsTypeId="urn:microsoft.com/office/officeart/2005/8/quickstyle/simple1" qsCatId="simple" csTypeId="urn:microsoft.com/office/officeart/2005/8/colors/accent1_2" csCatId="accent1" phldr="1"/>
      <dgm:spPr/>
      <dgm:t>
        <a:bodyPr/>
        <a:lstStyle/>
        <a:p>
          <a:endParaRPr lang="en-US"/>
        </a:p>
      </dgm:t>
    </dgm:pt>
    <dgm:pt modelId="{1A4BDF19-4877-6747-823C-A633CD3BE400}">
      <dgm:prSet phldrT="[Text]" custT="1"/>
      <dgm:spPr/>
      <dgm:t>
        <a:bodyPr/>
        <a:lstStyle/>
        <a:p>
          <a:pPr>
            <a:lnSpc>
              <a:spcPct val="100000"/>
            </a:lnSpc>
            <a:spcBef>
              <a:spcPts val="0"/>
            </a:spcBef>
            <a:spcAft>
              <a:spcPts val="0"/>
            </a:spcAft>
            <a:buNone/>
          </a:pPr>
          <a:r>
            <a:rPr lang="en-US" sz="1600" b="1" i="0" u="none"/>
            <a:t>From Alignment to Enterprise Ownership</a:t>
          </a:r>
          <a:r>
            <a:rPr lang="en-US" sz="1600" b="0" i="0" u="none"/>
            <a:t>  </a:t>
          </a:r>
        </a:p>
        <a:p>
          <a:pPr>
            <a:lnSpc>
              <a:spcPct val="100000"/>
            </a:lnSpc>
            <a:spcBef>
              <a:spcPts val="0"/>
            </a:spcBef>
            <a:spcAft>
              <a:spcPts val="0"/>
            </a:spcAft>
            <a:buNone/>
          </a:pPr>
          <a:r>
            <a:rPr lang="en-US" sz="1600" b="0" i="0" u="none"/>
            <a:t>Shift Directors from strategy recipients to co-architects who shape direction based on enterprise needs.</a:t>
          </a:r>
          <a:endParaRPr lang="en-US" sz="1600"/>
        </a:p>
      </dgm:t>
    </dgm:pt>
    <dgm:pt modelId="{3B1ED205-D856-3F42-95FB-ABE12204F3BE}" type="parTrans" cxnId="{D06D89AF-EFEE-C741-96FC-B29F9CE14849}">
      <dgm:prSet/>
      <dgm:spPr/>
      <dgm:t>
        <a:bodyPr/>
        <a:lstStyle/>
        <a:p>
          <a:pPr>
            <a:lnSpc>
              <a:spcPct val="100000"/>
            </a:lnSpc>
            <a:spcBef>
              <a:spcPts val="0"/>
            </a:spcBef>
            <a:spcAft>
              <a:spcPts val="0"/>
            </a:spcAft>
          </a:pPr>
          <a:endParaRPr lang="en-US" sz="2000"/>
        </a:p>
      </dgm:t>
    </dgm:pt>
    <dgm:pt modelId="{CA645D39-A36F-344E-A9DD-583EE0FB5920}" type="sibTrans" cxnId="{D06D89AF-EFEE-C741-96FC-B29F9CE14849}">
      <dgm:prSet/>
      <dgm:spPr>
        <a:ln>
          <a:solidFill>
            <a:schemeClr val="accent5"/>
          </a:solidFill>
        </a:ln>
      </dgm:spPr>
      <dgm:t>
        <a:bodyPr/>
        <a:lstStyle/>
        <a:p>
          <a:pPr>
            <a:lnSpc>
              <a:spcPct val="100000"/>
            </a:lnSpc>
            <a:spcBef>
              <a:spcPts val="0"/>
            </a:spcBef>
            <a:spcAft>
              <a:spcPts val="0"/>
            </a:spcAft>
          </a:pPr>
          <a:endParaRPr lang="en-US" sz="2000"/>
        </a:p>
      </dgm:t>
    </dgm:pt>
    <dgm:pt modelId="{2A4C5183-9238-0543-B657-4F7E7BC99276}">
      <dgm:prSet phldrT="[Text]" custT="1"/>
      <dgm:spPr/>
      <dgm:t>
        <a:bodyPr/>
        <a:lstStyle/>
        <a:p>
          <a:pPr>
            <a:lnSpc>
              <a:spcPct val="100000"/>
            </a:lnSpc>
            <a:spcBef>
              <a:spcPts val="0"/>
            </a:spcBef>
            <a:spcAft>
              <a:spcPts val="0"/>
            </a:spcAft>
            <a:buNone/>
          </a:pPr>
          <a:r>
            <a:rPr lang="en-US" sz="1600" b="1" i="0" u="none"/>
            <a:t>Connecting GCC Value to Global Priorities</a:t>
          </a:r>
          <a:r>
            <a:rPr lang="en-US" sz="1600" b="0" i="0" u="none"/>
            <a:t> </a:t>
          </a:r>
        </a:p>
        <a:p>
          <a:pPr>
            <a:lnSpc>
              <a:spcPct val="100000"/>
            </a:lnSpc>
            <a:spcBef>
              <a:spcPts val="0"/>
            </a:spcBef>
            <a:spcAft>
              <a:spcPts val="0"/>
            </a:spcAft>
            <a:buNone/>
          </a:pPr>
          <a:r>
            <a:rPr lang="en-US" sz="1600" b="0" i="0" u="none"/>
            <a:t>Translate GCC strengths into measurable strategic advantage across regions and functions.</a:t>
          </a:r>
          <a:endParaRPr lang="en-US" sz="1600"/>
        </a:p>
      </dgm:t>
    </dgm:pt>
    <dgm:pt modelId="{C68B6776-2D9B-0241-9E0B-23DD24E4A6CF}" type="parTrans" cxnId="{7B4998D0-505C-B14E-9775-B567703D7227}">
      <dgm:prSet/>
      <dgm:spPr/>
      <dgm:t>
        <a:bodyPr/>
        <a:lstStyle/>
        <a:p>
          <a:pPr>
            <a:lnSpc>
              <a:spcPct val="100000"/>
            </a:lnSpc>
            <a:spcBef>
              <a:spcPts val="0"/>
            </a:spcBef>
            <a:spcAft>
              <a:spcPts val="0"/>
            </a:spcAft>
          </a:pPr>
          <a:endParaRPr lang="en-US" sz="2000"/>
        </a:p>
      </dgm:t>
    </dgm:pt>
    <dgm:pt modelId="{87338B0B-C6F4-1C4A-8697-3A01A6F95E12}" type="sibTrans" cxnId="{7B4998D0-505C-B14E-9775-B567703D7227}">
      <dgm:prSet/>
      <dgm:spPr/>
      <dgm:t>
        <a:bodyPr/>
        <a:lstStyle/>
        <a:p>
          <a:pPr>
            <a:lnSpc>
              <a:spcPct val="100000"/>
            </a:lnSpc>
            <a:spcBef>
              <a:spcPts val="0"/>
            </a:spcBef>
            <a:spcAft>
              <a:spcPts val="0"/>
            </a:spcAft>
          </a:pPr>
          <a:endParaRPr lang="en-US" sz="2000"/>
        </a:p>
      </dgm:t>
    </dgm:pt>
    <dgm:pt modelId="{9632F6CC-FC80-0643-8478-9002BCAA2F10}">
      <dgm:prSet phldrT="[Text]" custT="1"/>
      <dgm:spPr/>
      <dgm:t>
        <a:bodyPr/>
        <a:lstStyle/>
        <a:p>
          <a:pPr>
            <a:lnSpc>
              <a:spcPct val="100000"/>
            </a:lnSpc>
            <a:spcBef>
              <a:spcPts val="0"/>
            </a:spcBef>
            <a:spcAft>
              <a:spcPts val="0"/>
            </a:spcAft>
            <a:buNone/>
          </a:pPr>
          <a:r>
            <a:rPr lang="en-US" sz="1600" b="1" i="0" u="none"/>
            <a:t>Strategic Insight from Enterprise Data</a:t>
          </a:r>
          <a:r>
            <a:rPr lang="en-US" sz="1600" b="0" i="0" u="none"/>
            <a:t> </a:t>
          </a:r>
        </a:p>
        <a:p>
          <a:pPr>
            <a:lnSpc>
              <a:spcPct val="100000"/>
            </a:lnSpc>
            <a:spcBef>
              <a:spcPts val="0"/>
            </a:spcBef>
            <a:spcAft>
              <a:spcPts val="0"/>
            </a:spcAft>
            <a:buNone/>
          </a:pPr>
          <a:r>
            <a:rPr lang="en-US" sz="1600" b="0" i="0" u="none"/>
            <a:t>Generate forward-looking insights that inform decisions, not just report performance.</a:t>
          </a:r>
          <a:endParaRPr lang="en-US" sz="1600"/>
        </a:p>
      </dgm:t>
    </dgm:pt>
    <dgm:pt modelId="{103EA0AE-7BB1-8042-9620-4FE5F52BB4F1}" type="parTrans" cxnId="{5F364989-7362-204A-A418-18091930D4F3}">
      <dgm:prSet/>
      <dgm:spPr/>
      <dgm:t>
        <a:bodyPr/>
        <a:lstStyle/>
        <a:p>
          <a:pPr>
            <a:lnSpc>
              <a:spcPct val="100000"/>
            </a:lnSpc>
            <a:spcBef>
              <a:spcPts val="0"/>
            </a:spcBef>
            <a:spcAft>
              <a:spcPts val="0"/>
            </a:spcAft>
          </a:pPr>
          <a:endParaRPr lang="en-US" sz="2000"/>
        </a:p>
      </dgm:t>
    </dgm:pt>
    <dgm:pt modelId="{2A2FC6BC-CE8A-BD47-97AA-DC819CEDD890}" type="sibTrans" cxnId="{5F364989-7362-204A-A418-18091930D4F3}">
      <dgm:prSet/>
      <dgm:spPr/>
      <dgm:t>
        <a:bodyPr/>
        <a:lstStyle/>
        <a:p>
          <a:pPr>
            <a:lnSpc>
              <a:spcPct val="100000"/>
            </a:lnSpc>
            <a:spcBef>
              <a:spcPts val="0"/>
            </a:spcBef>
            <a:spcAft>
              <a:spcPts val="0"/>
            </a:spcAft>
          </a:pPr>
          <a:endParaRPr lang="en-US" sz="2000"/>
        </a:p>
      </dgm:t>
    </dgm:pt>
    <dgm:pt modelId="{F0BF248E-E93B-E940-9A31-04281ECDA909}">
      <dgm:prSet custT="1"/>
      <dgm:spPr/>
      <dgm:t>
        <a:bodyPr/>
        <a:lstStyle/>
        <a:p>
          <a:pPr>
            <a:lnSpc>
              <a:spcPct val="100000"/>
            </a:lnSpc>
            <a:spcBef>
              <a:spcPts val="0"/>
            </a:spcBef>
            <a:spcAft>
              <a:spcPts val="0"/>
            </a:spcAft>
            <a:buNone/>
          </a:pPr>
          <a:r>
            <a:rPr lang="en-US" sz="1600" b="1" i="0" u="none"/>
            <a:t>Scenario Thinking and Trade-Off Navigation</a:t>
          </a:r>
          <a:r>
            <a:rPr lang="en-US" sz="1600" b="0" i="0" u="none"/>
            <a:t> </a:t>
          </a:r>
        </a:p>
        <a:p>
          <a:pPr>
            <a:lnSpc>
              <a:spcPct val="100000"/>
            </a:lnSpc>
            <a:spcBef>
              <a:spcPts val="0"/>
            </a:spcBef>
            <a:spcAft>
              <a:spcPts val="0"/>
            </a:spcAft>
            <a:buNone/>
          </a:pPr>
          <a:r>
            <a:rPr lang="en-US" sz="1600" b="0" i="0" u="none"/>
            <a:t>Build and evaluate strategic options across markets, risks, and resource constraints.</a:t>
          </a:r>
          <a:endParaRPr lang="en-US" sz="1600"/>
        </a:p>
      </dgm:t>
    </dgm:pt>
    <dgm:pt modelId="{F858117A-9315-F948-B9CC-19F41AFC6DF2}" type="parTrans" cxnId="{2917DDB8-8A07-094A-B9D5-DE0BCF2A0384}">
      <dgm:prSet/>
      <dgm:spPr/>
      <dgm:t>
        <a:bodyPr/>
        <a:lstStyle/>
        <a:p>
          <a:pPr>
            <a:lnSpc>
              <a:spcPct val="100000"/>
            </a:lnSpc>
            <a:spcBef>
              <a:spcPts val="0"/>
            </a:spcBef>
            <a:spcAft>
              <a:spcPts val="0"/>
            </a:spcAft>
          </a:pPr>
          <a:endParaRPr lang="en-US" sz="2000"/>
        </a:p>
      </dgm:t>
    </dgm:pt>
    <dgm:pt modelId="{7A699AC0-CE1F-7546-AAAC-3D1ED4AC3860}" type="sibTrans" cxnId="{2917DDB8-8A07-094A-B9D5-DE0BCF2A0384}">
      <dgm:prSet/>
      <dgm:spPr/>
      <dgm:t>
        <a:bodyPr/>
        <a:lstStyle/>
        <a:p>
          <a:pPr>
            <a:lnSpc>
              <a:spcPct val="100000"/>
            </a:lnSpc>
            <a:spcBef>
              <a:spcPts val="0"/>
            </a:spcBef>
            <a:spcAft>
              <a:spcPts val="0"/>
            </a:spcAft>
          </a:pPr>
          <a:endParaRPr lang="en-US" sz="2000"/>
        </a:p>
      </dgm:t>
    </dgm:pt>
    <dgm:pt modelId="{5D3D77E0-C2C5-944E-AD49-2BFD76C26B4D}">
      <dgm:prSet custT="1"/>
      <dgm:spPr/>
      <dgm:t>
        <a:bodyPr/>
        <a:lstStyle/>
        <a:p>
          <a:pPr>
            <a:lnSpc>
              <a:spcPct val="100000"/>
            </a:lnSpc>
            <a:spcBef>
              <a:spcPts val="0"/>
            </a:spcBef>
            <a:spcAft>
              <a:spcPts val="0"/>
            </a:spcAft>
            <a:buNone/>
          </a:pPr>
          <a:r>
            <a:rPr lang="en-US" sz="1600" b="1" i="0" u="none"/>
            <a:t>Commercial Acumen and Strategic Language</a:t>
          </a:r>
          <a:r>
            <a:rPr lang="en-US" sz="1600" b="0" i="0" u="none"/>
            <a:t> </a:t>
          </a:r>
        </a:p>
        <a:p>
          <a:pPr>
            <a:lnSpc>
              <a:spcPct val="100000"/>
            </a:lnSpc>
            <a:spcBef>
              <a:spcPts val="0"/>
            </a:spcBef>
            <a:spcAft>
              <a:spcPts val="0"/>
            </a:spcAft>
            <a:buNone/>
          </a:pPr>
          <a:r>
            <a:rPr lang="en-US" sz="1600" b="0" i="0" u="none"/>
            <a:t>Expand financial, strategic, and commercial fluency to engage credibly with global executives.</a:t>
          </a:r>
          <a:endParaRPr lang="en-US" sz="1600"/>
        </a:p>
      </dgm:t>
    </dgm:pt>
    <dgm:pt modelId="{E2088748-CF30-6D42-8E4C-22B508BF2006}" type="parTrans" cxnId="{EE2904CB-93BB-1C49-961A-FD1E4A83A0EE}">
      <dgm:prSet/>
      <dgm:spPr/>
      <dgm:t>
        <a:bodyPr/>
        <a:lstStyle/>
        <a:p>
          <a:pPr>
            <a:lnSpc>
              <a:spcPct val="100000"/>
            </a:lnSpc>
            <a:spcBef>
              <a:spcPts val="0"/>
            </a:spcBef>
            <a:spcAft>
              <a:spcPts val="0"/>
            </a:spcAft>
          </a:pPr>
          <a:endParaRPr lang="en-US" sz="2000"/>
        </a:p>
      </dgm:t>
    </dgm:pt>
    <dgm:pt modelId="{819D7CC8-CB0E-E643-863C-54D8FC4592CA}" type="sibTrans" cxnId="{EE2904CB-93BB-1C49-961A-FD1E4A83A0EE}">
      <dgm:prSet/>
      <dgm:spPr/>
      <dgm:t>
        <a:bodyPr/>
        <a:lstStyle/>
        <a:p>
          <a:pPr>
            <a:lnSpc>
              <a:spcPct val="100000"/>
            </a:lnSpc>
            <a:spcBef>
              <a:spcPts val="0"/>
            </a:spcBef>
            <a:spcAft>
              <a:spcPts val="0"/>
            </a:spcAft>
          </a:pPr>
          <a:endParaRPr lang="en-US" sz="2000"/>
        </a:p>
      </dgm:t>
    </dgm:pt>
    <dgm:pt modelId="{8A0330DD-D0DE-DF4E-9BF2-D41CBF5E967C}" type="pres">
      <dgm:prSet presAssocID="{BEA245E2-2811-CF4A-9DE9-B875304968BD}" presName="Name0" presStyleCnt="0">
        <dgm:presLayoutVars>
          <dgm:chMax val="7"/>
          <dgm:chPref val="7"/>
          <dgm:dir/>
        </dgm:presLayoutVars>
      </dgm:prSet>
      <dgm:spPr/>
    </dgm:pt>
    <dgm:pt modelId="{C1926DDA-62B7-5C46-AC4C-C9DCD5EBB9E7}" type="pres">
      <dgm:prSet presAssocID="{BEA245E2-2811-CF4A-9DE9-B875304968BD}" presName="Name1" presStyleCnt="0"/>
      <dgm:spPr/>
    </dgm:pt>
    <dgm:pt modelId="{BB784C57-FA36-F743-A5E4-7C142318443D}" type="pres">
      <dgm:prSet presAssocID="{BEA245E2-2811-CF4A-9DE9-B875304968BD}" presName="cycle" presStyleCnt="0"/>
      <dgm:spPr/>
    </dgm:pt>
    <dgm:pt modelId="{8F83F678-9632-FA4B-912E-07AAE4E90AA8}" type="pres">
      <dgm:prSet presAssocID="{BEA245E2-2811-CF4A-9DE9-B875304968BD}" presName="srcNode" presStyleLbl="node1" presStyleIdx="0" presStyleCnt="5"/>
      <dgm:spPr/>
    </dgm:pt>
    <dgm:pt modelId="{0CE99A7A-5EDB-F644-8A88-89222FF494A7}" type="pres">
      <dgm:prSet presAssocID="{BEA245E2-2811-CF4A-9DE9-B875304968BD}" presName="conn" presStyleLbl="parChTrans1D2" presStyleIdx="0" presStyleCnt="1"/>
      <dgm:spPr/>
    </dgm:pt>
    <dgm:pt modelId="{BF504E41-D389-E247-B806-252DE8DA3104}" type="pres">
      <dgm:prSet presAssocID="{BEA245E2-2811-CF4A-9DE9-B875304968BD}" presName="extraNode" presStyleLbl="node1" presStyleIdx="0" presStyleCnt="5"/>
      <dgm:spPr/>
    </dgm:pt>
    <dgm:pt modelId="{949C52BA-B09E-424B-8C7F-28D84F70A034}" type="pres">
      <dgm:prSet presAssocID="{BEA245E2-2811-CF4A-9DE9-B875304968BD}" presName="dstNode" presStyleLbl="node1" presStyleIdx="0" presStyleCnt="5"/>
      <dgm:spPr/>
    </dgm:pt>
    <dgm:pt modelId="{881FBA25-8503-0B41-8162-41B0D7B27FBF}" type="pres">
      <dgm:prSet presAssocID="{1A4BDF19-4877-6747-823C-A633CD3BE400}" presName="text_1" presStyleLbl="node1" presStyleIdx="0" presStyleCnt="5" custScaleY="117470">
        <dgm:presLayoutVars>
          <dgm:bulletEnabled val="1"/>
        </dgm:presLayoutVars>
      </dgm:prSet>
      <dgm:spPr/>
    </dgm:pt>
    <dgm:pt modelId="{AC13FBF6-8AD9-5A43-913C-E391B5619760}" type="pres">
      <dgm:prSet presAssocID="{1A4BDF19-4877-6747-823C-A633CD3BE400}" presName="accent_1" presStyleCnt="0"/>
      <dgm:spPr/>
    </dgm:pt>
    <dgm:pt modelId="{D5474BE3-269A-7140-88C2-18FA0776EBD4}" type="pres">
      <dgm:prSet presAssocID="{1A4BDF19-4877-6747-823C-A633CD3BE400}" presName="accentRepeatNode" presStyleLbl="solidFgAcc1" presStyleIdx="0" presStyleCnt="5"/>
      <dgm:spPr/>
    </dgm:pt>
    <dgm:pt modelId="{F5C01AB8-C941-174F-B90C-7278218A1E42}" type="pres">
      <dgm:prSet presAssocID="{2A4C5183-9238-0543-B657-4F7E7BC99276}" presName="text_2" presStyleLbl="node1" presStyleIdx="1" presStyleCnt="5" custScaleY="117470">
        <dgm:presLayoutVars>
          <dgm:bulletEnabled val="1"/>
        </dgm:presLayoutVars>
      </dgm:prSet>
      <dgm:spPr/>
    </dgm:pt>
    <dgm:pt modelId="{A1030450-DDC0-BE4C-BC9A-51ABD8EEC336}" type="pres">
      <dgm:prSet presAssocID="{2A4C5183-9238-0543-B657-4F7E7BC99276}" presName="accent_2" presStyleCnt="0"/>
      <dgm:spPr/>
    </dgm:pt>
    <dgm:pt modelId="{87C60B10-5E1B-7D4A-BAE0-1039FC65FC82}" type="pres">
      <dgm:prSet presAssocID="{2A4C5183-9238-0543-B657-4F7E7BC99276}" presName="accentRepeatNode" presStyleLbl="solidFgAcc1" presStyleIdx="1" presStyleCnt="5"/>
      <dgm:spPr/>
    </dgm:pt>
    <dgm:pt modelId="{3315B840-EF1D-0541-9FBC-C83334DE89DA}" type="pres">
      <dgm:prSet presAssocID="{9632F6CC-FC80-0643-8478-9002BCAA2F10}" presName="text_3" presStyleLbl="node1" presStyleIdx="2" presStyleCnt="5" custScaleY="117470">
        <dgm:presLayoutVars>
          <dgm:bulletEnabled val="1"/>
        </dgm:presLayoutVars>
      </dgm:prSet>
      <dgm:spPr/>
    </dgm:pt>
    <dgm:pt modelId="{A40E045B-BDE2-504D-8565-1DAA7840D421}" type="pres">
      <dgm:prSet presAssocID="{9632F6CC-FC80-0643-8478-9002BCAA2F10}" presName="accent_3" presStyleCnt="0"/>
      <dgm:spPr/>
    </dgm:pt>
    <dgm:pt modelId="{3DEA0585-0966-6F49-B71B-806750DDF65F}" type="pres">
      <dgm:prSet presAssocID="{9632F6CC-FC80-0643-8478-9002BCAA2F10}" presName="accentRepeatNode" presStyleLbl="solidFgAcc1" presStyleIdx="2" presStyleCnt="5"/>
      <dgm:spPr/>
    </dgm:pt>
    <dgm:pt modelId="{995E4D0C-C0A1-6145-B351-5BAD212F45BE}" type="pres">
      <dgm:prSet presAssocID="{F0BF248E-E93B-E940-9A31-04281ECDA909}" presName="text_4" presStyleLbl="node1" presStyleIdx="3" presStyleCnt="5" custScaleY="117470">
        <dgm:presLayoutVars>
          <dgm:bulletEnabled val="1"/>
        </dgm:presLayoutVars>
      </dgm:prSet>
      <dgm:spPr/>
    </dgm:pt>
    <dgm:pt modelId="{F74137E9-2F67-024B-9AEB-3DCF971B3C27}" type="pres">
      <dgm:prSet presAssocID="{F0BF248E-E93B-E940-9A31-04281ECDA909}" presName="accent_4" presStyleCnt="0"/>
      <dgm:spPr/>
    </dgm:pt>
    <dgm:pt modelId="{0C08346E-7098-2C4E-82EF-8F47E7A3D25E}" type="pres">
      <dgm:prSet presAssocID="{F0BF248E-E93B-E940-9A31-04281ECDA909}" presName="accentRepeatNode" presStyleLbl="solidFgAcc1" presStyleIdx="3" presStyleCnt="5"/>
      <dgm:spPr/>
    </dgm:pt>
    <dgm:pt modelId="{D09142A9-FCFB-A646-B9EE-597249DC585E}" type="pres">
      <dgm:prSet presAssocID="{5D3D77E0-C2C5-944E-AD49-2BFD76C26B4D}" presName="text_5" presStyleLbl="node1" presStyleIdx="4" presStyleCnt="5" custScaleY="117470">
        <dgm:presLayoutVars>
          <dgm:bulletEnabled val="1"/>
        </dgm:presLayoutVars>
      </dgm:prSet>
      <dgm:spPr/>
    </dgm:pt>
    <dgm:pt modelId="{FE6EA9E1-EE9A-9740-8CDC-01F04E5C36BF}" type="pres">
      <dgm:prSet presAssocID="{5D3D77E0-C2C5-944E-AD49-2BFD76C26B4D}" presName="accent_5" presStyleCnt="0"/>
      <dgm:spPr/>
    </dgm:pt>
    <dgm:pt modelId="{CD408B11-50BF-1148-B7F8-A3C766A2BE58}" type="pres">
      <dgm:prSet presAssocID="{5D3D77E0-C2C5-944E-AD49-2BFD76C26B4D}" presName="accentRepeatNode" presStyleLbl="solidFgAcc1" presStyleIdx="4" presStyleCnt="5"/>
      <dgm:spPr/>
    </dgm:pt>
  </dgm:ptLst>
  <dgm:cxnLst>
    <dgm:cxn modelId="{3A59500F-5E4B-EF4B-8EDF-8047572B1B6D}" type="presOf" srcId="{9632F6CC-FC80-0643-8478-9002BCAA2F10}" destId="{3315B840-EF1D-0541-9FBC-C83334DE89DA}" srcOrd="0" destOrd="0" presId="urn:microsoft.com/office/officeart/2008/layout/VerticalCurvedList"/>
    <dgm:cxn modelId="{7D4DCD1D-5C8F-844E-92E2-C5000B14CBD8}" type="presOf" srcId="{2A4C5183-9238-0543-B657-4F7E7BC99276}" destId="{F5C01AB8-C941-174F-B90C-7278218A1E42}" srcOrd="0" destOrd="0" presId="urn:microsoft.com/office/officeart/2008/layout/VerticalCurvedList"/>
    <dgm:cxn modelId="{E9287227-D15E-1B41-94BD-8555E0A33114}" type="presOf" srcId="{BEA245E2-2811-CF4A-9DE9-B875304968BD}" destId="{8A0330DD-D0DE-DF4E-9BF2-D41CBF5E967C}" srcOrd="0" destOrd="0" presId="urn:microsoft.com/office/officeart/2008/layout/VerticalCurvedList"/>
    <dgm:cxn modelId="{68291834-4758-AD48-888B-2BED3FD07BFE}" type="presOf" srcId="{F0BF248E-E93B-E940-9A31-04281ECDA909}" destId="{995E4D0C-C0A1-6145-B351-5BAD212F45BE}" srcOrd="0" destOrd="0" presId="urn:microsoft.com/office/officeart/2008/layout/VerticalCurvedList"/>
    <dgm:cxn modelId="{369EC762-A90D-9647-BA2D-147ACEF4CBFD}" type="presOf" srcId="{CA645D39-A36F-344E-A9DD-583EE0FB5920}" destId="{0CE99A7A-5EDB-F644-8A88-89222FF494A7}" srcOrd="0" destOrd="0" presId="urn:microsoft.com/office/officeart/2008/layout/VerticalCurvedList"/>
    <dgm:cxn modelId="{EF56C887-10D1-F24D-A3D8-38AEE9E2EACF}" type="presOf" srcId="{5D3D77E0-C2C5-944E-AD49-2BFD76C26B4D}" destId="{D09142A9-FCFB-A646-B9EE-597249DC585E}" srcOrd="0" destOrd="0" presId="urn:microsoft.com/office/officeart/2008/layout/VerticalCurvedList"/>
    <dgm:cxn modelId="{5F364989-7362-204A-A418-18091930D4F3}" srcId="{BEA245E2-2811-CF4A-9DE9-B875304968BD}" destId="{9632F6CC-FC80-0643-8478-9002BCAA2F10}" srcOrd="2" destOrd="0" parTransId="{103EA0AE-7BB1-8042-9620-4FE5F52BB4F1}" sibTransId="{2A2FC6BC-CE8A-BD47-97AA-DC819CEDD890}"/>
    <dgm:cxn modelId="{D06D89AF-EFEE-C741-96FC-B29F9CE14849}" srcId="{BEA245E2-2811-CF4A-9DE9-B875304968BD}" destId="{1A4BDF19-4877-6747-823C-A633CD3BE400}" srcOrd="0" destOrd="0" parTransId="{3B1ED205-D856-3F42-95FB-ABE12204F3BE}" sibTransId="{CA645D39-A36F-344E-A9DD-583EE0FB5920}"/>
    <dgm:cxn modelId="{2917DDB8-8A07-094A-B9D5-DE0BCF2A0384}" srcId="{BEA245E2-2811-CF4A-9DE9-B875304968BD}" destId="{F0BF248E-E93B-E940-9A31-04281ECDA909}" srcOrd="3" destOrd="0" parTransId="{F858117A-9315-F948-B9CC-19F41AFC6DF2}" sibTransId="{7A699AC0-CE1F-7546-AAAC-3D1ED4AC3860}"/>
    <dgm:cxn modelId="{C2220EBC-BE5C-F24B-A8E1-2C24FC08B95C}" type="presOf" srcId="{1A4BDF19-4877-6747-823C-A633CD3BE400}" destId="{881FBA25-8503-0B41-8162-41B0D7B27FBF}" srcOrd="0" destOrd="0" presId="urn:microsoft.com/office/officeart/2008/layout/VerticalCurvedList"/>
    <dgm:cxn modelId="{EE2904CB-93BB-1C49-961A-FD1E4A83A0EE}" srcId="{BEA245E2-2811-CF4A-9DE9-B875304968BD}" destId="{5D3D77E0-C2C5-944E-AD49-2BFD76C26B4D}" srcOrd="4" destOrd="0" parTransId="{E2088748-CF30-6D42-8E4C-22B508BF2006}" sibTransId="{819D7CC8-CB0E-E643-863C-54D8FC4592CA}"/>
    <dgm:cxn modelId="{7B4998D0-505C-B14E-9775-B567703D7227}" srcId="{BEA245E2-2811-CF4A-9DE9-B875304968BD}" destId="{2A4C5183-9238-0543-B657-4F7E7BC99276}" srcOrd="1" destOrd="0" parTransId="{C68B6776-2D9B-0241-9E0B-23DD24E4A6CF}" sibTransId="{87338B0B-C6F4-1C4A-8697-3A01A6F95E12}"/>
    <dgm:cxn modelId="{79C895CA-DD06-F04C-8480-B03D6E0838E2}" type="presParOf" srcId="{8A0330DD-D0DE-DF4E-9BF2-D41CBF5E967C}" destId="{C1926DDA-62B7-5C46-AC4C-C9DCD5EBB9E7}" srcOrd="0" destOrd="0" presId="urn:microsoft.com/office/officeart/2008/layout/VerticalCurvedList"/>
    <dgm:cxn modelId="{8AC23F5A-2EE0-4245-934D-0FFB720E8ACA}" type="presParOf" srcId="{C1926DDA-62B7-5C46-AC4C-C9DCD5EBB9E7}" destId="{BB784C57-FA36-F743-A5E4-7C142318443D}" srcOrd="0" destOrd="0" presId="urn:microsoft.com/office/officeart/2008/layout/VerticalCurvedList"/>
    <dgm:cxn modelId="{DC07244C-8DD6-804A-A9CE-3719270871D0}" type="presParOf" srcId="{BB784C57-FA36-F743-A5E4-7C142318443D}" destId="{8F83F678-9632-FA4B-912E-07AAE4E90AA8}" srcOrd="0" destOrd="0" presId="urn:microsoft.com/office/officeart/2008/layout/VerticalCurvedList"/>
    <dgm:cxn modelId="{91577F7B-CD29-4547-A017-6086F99ED58C}" type="presParOf" srcId="{BB784C57-FA36-F743-A5E4-7C142318443D}" destId="{0CE99A7A-5EDB-F644-8A88-89222FF494A7}" srcOrd="1" destOrd="0" presId="urn:microsoft.com/office/officeart/2008/layout/VerticalCurvedList"/>
    <dgm:cxn modelId="{F9B0ADDF-5656-5742-A61B-A1D001C3CAAD}" type="presParOf" srcId="{BB784C57-FA36-F743-A5E4-7C142318443D}" destId="{BF504E41-D389-E247-B806-252DE8DA3104}" srcOrd="2" destOrd="0" presId="urn:microsoft.com/office/officeart/2008/layout/VerticalCurvedList"/>
    <dgm:cxn modelId="{52A99A5B-D5CE-0540-ABDA-F35AB56E5F71}" type="presParOf" srcId="{BB784C57-FA36-F743-A5E4-7C142318443D}" destId="{949C52BA-B09E-424B-8C7F-28D84F70A034}" srcOrd="3" destOrd="0" presId="urn:microsoft.com/office/officeart/2008/layout/VerticalCurvedList"/>
    <dgm:cxn modelId="{97981DE0-9CB6-DE46-B6BC-B2B90DC8DD7E}" type="presParOf" srcId="{C1926DDA-62B7-5C46-AC4C-C9DCD5EBB9E7}" destId="{881FBA25-8503-0B41-8162-41B0D7B27FBF}" srcOrd="1" destOrd="0" presId="urn:microsoft.com/office/officeart/2008/layout/VerticalCurvedList"/>
    <dgm:cxn modelId="{EE6EA76B-49FF-3D4C-AA06-91ECEE1059E2}" type="presParOf" srcId="{C1926DDA-62B7-5C46-AC4C-C9DCD5EBB9E7}" destId="{AC13FBF6-8AD9-5A43-913C-E391B5619760}" srcOrd="2" destOrd="0" presId="urn:microsoft.com/office/officeart/2008/layout/VerticalCurvedList"/>
    <dgm:cxn modelId="{94CF5E00-FDD0-2B4A-A5B5-BC1C657CB9DC}" type="presParOf" srcId="{AC13FBF6-8AD9-5A43-913C-E391B5619760}" destId="{D5474BE3-269A-7140-88C2-18FA0776EBD4}" srcOrd="0" destOrd="0" presId="urn:microsoft.com/office/officeart/2008/layout/VerticalCurvedList"/>
    <dgm:cxn modelId="{E4F342EF-FAEF-584A-AA55-6CBACEC7FEC0}" type="presParOf" srcId="{C1926DDA-62B7-5C46-AC4C-C9DCD5EBB9E7}" destId="{F5C01AB8-C941-174F-B90C-7278218A1E42}" srcOrd="3" destOrd="0" presId="urn:microsoft.com/office/officeart/2008/layout/VerticalCurvedList"/>
    <dgm:cxn modelId="{A17DAC5E-1C71-844F-A20E-458377DCBFD9}" type="presParOf" srcId="{C1926DDA-62B7-5C46-AC4C-C9DCD5EBB9E7}" destId="{A1030450-DDC0-BE4C-BC9A-51ABD8EEC336}" srcOrd="4" destOrd="0" presId="urn:microsoft.com/office/officeart/2008/layout/VerticalCurvedList"/>
    <dgm:cxn modelId="{C0A8E452-CE46-ED4D-958E-28DE9887F623}" type="presParOf" srcId="{A1030450-DDC0-BE4C-BC9A-51ABD8EEC336}" destId="{87C60B10-5E1B-7D4A-BAE0-1039FC65FC82}" srcOrd="0" destOrd="0" presId="urn:microsoft.com/office/officeart/2008/layout/VerticalCurvedList"/>
    <dgm:cxn modelId="{B0078B77-9895-2A47-BC7D-BECEEE03AFF6}" type="presParOf" srcId="{C1926DDA-62B7-5C46-AC4C-C9DCD5EBB9E7}" destId="{3315B840-EF1D-0541-9FBC-C83334DE89DA}" srcOrd="5" destOrd="0" presId="urn:microsoft.com/office/officeart/2008/layout/VerticalCurvedList"/>
    <dgm:cxn modelId="{58250C57-1F48-6149-BB5B-5FA4C87F5BD2}" type="presParOf" srcId="{C1926DDA-62B7-5C46-AC4C-C9DCD5EBB9E7}" destId="{A40E045B-BDE2-504D-8565-1DAA7840D421}" srcOrd="6" destOrd="0" presId="urn:microsoft.com/office/officeart/2008/layout/VerticalCurvedList"/>
    <dgm:cxn modelId="{DC915CD6-4274-364E-BCF4-079D989101B2}" type="presParOf" srcId="{A40E045B-BDE2-504D-8565-1DAA7840D421}" destId="{3DEA0585-0966-6F49-B71B-806750DDF65F}" srcOrd="0" destOrd="0" presId="urn:microsoft.com/office/officeart/2008/layout/VerticalCurvedList"/>
    <dgm:cxn modelId="{50F75868-0142-7546-9838-51BAF3014459}" type="presParOf" srcId="{C1926DDA-62B7-5C46-AC4C-C9DCD5EBB9E7}" destId="{995E4D0C-C0A1-6145-B351-5BAD212F45BE}" srcOrd="7" destOrd="0" presId="urn:microsoft.com/office/officeart/2008/layout/VerticalCurvedList"/>
    <dgm:cxn modelId="{72472366-9063-DF49-817B-832447799F3D}" type="presParOf" srcId="{C1926DDA-62B7-5C46-AC4C-C9DCD5EBB9E7}" destId="{F74137E9-2F67-024B-9AEB-3DCF971B3C27}" srcOrd="8" destOrd="0" presId="urn:microsoft.com/office/officeart/2008/layout/VerticalCurvedList"/>
    <dgm:cxn modelId="{691407DD-9750-9742-98A2-4E856B7C35B6}" type="presParOf" srcId="{F74137E9-2F67-024B-9AEB-3DCF971B3C27}" destId="{0C08346E-7098-2C4E-82EF-8F47E7A3D25E}" srcOrd="0" destOrd="0" presId="urn:microsoft.com/office/officeart/2008/layout/VerticalCurvedList"/>
    <dgm:cxn modelId="{CDFF1B90-3EDB-A340-A131-F299040D0857}" type="presParOf" srcId="{C1926DDA-62B7-5C46-AC4C-C9DCD5EBB9E7}" destId="{D09142A9-FCFB-A646-B9EE-597249DC585E}" srcOrd="9" destOrd="0" presId="urn:microsoft.com/office/officeart/2008/layout/VerticalCurvedList"/>
    <dgm:cxn modelId="{7AA5DFD7-6DA1-7340-8D34-857521FA8028}" type="presParOf" srcId="{C1926DDA-62B7-5C46-AC4C-C9DCD5EBB9E7}" destId="{FE6EA9E1-EE9A-9740-8CDC-01F04E5C36BF}" srcOrd="10" destOrd="0" presId="urn:microsoft.com/office/officeart/2008/layout/VerticalCurvedList"/>
    <dgm:cxn modelId="{A54BAE6F-8223-0B4B-8540-5A85C3E3D692}" type="presParOf" srcId="{FE6EA9E1-EE9A-9740-8CDC-01F04E5C36BF}" destId="{CD408B11-50BF-1148-B7F8-A3C766A2BE58}" srcOrd="0" destOrd="0" presId="urn:microsoft.com/office/officeart/2008/layout/VerticalCurve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F23FDEA-C690-4241-9840-BDF5250C5EAA}"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C910A338-5A30-0A43-833D-68C22429E62C}">
      <dgm:prSet phldrT="[Text]" custT="1"/>
      <dgm:spPr/>
      <dgm:t>
        <a:bodyPr/>
        <a:lstStyle/>
        <a:p>
          <a:r>
            <a:rPr lang="en-US" sz="2400"/>
            <a:t>Executive presence and matrix leadership</a:t>
          </a:r>
        </a:p>
      </dgm:t>
    </dgm:pt>
    <dgm:pt modelId="{D14EC2FE-81AE-D24B-992C-0CCC1D224799}" type="parTrans" cxnId="{1C4B60C5-1DAC-7C4F-B8F7-8E4F174CB4ED}">
      <dgm:prSet/>
      <dgm:spPr/>
      <dgm:t>
        <a:bodyPr/>
        <a:lstStyle/>
        <a:p>
          <a:endParaRPr lang="en-US" sz="2400"/>
        </a:p>
      </dgm:t>
    </dgm:pt>
    <dgm:pt modelId="{2ADA309D-5285-B645-80F8-8D260A684A59}" type="sibTrans" cxnId="{1C4B60C5-1DAC-7C4F-B8F7-8E4F174CB4ED}">
      <dgm:prSet/>
      <dgm:spPr/>
      <dgm:t>
        <a:bodyPr/>
        <a:lstStyle/>
        <a:p>
          <a:endParaRPr lang="en-US" sz="2400"/>
        </a:p>
      </dgm:t>
    </dgm:pt>
    <dgm:pt modelId="{46AA47D8-5CBD-8C49-B70F-AE2EBCF9327A}">
      <dgm:prSet phldrT="[Text]" custT="1"/>
      <dgm:spPr/>
      <dgm:t>
        <a:bodyPr/>
        <a:lstStyle/>
        <a:p>
          <a:r>
            <a:rPr lang="en-US" sz="2400"/>
            <a:t>Cultural agility</a:t>
          </a:r>
        </a:p>
      </dgm:t>
    </dgm:pt>
    <dgm:pt modelId="{EA23CD0F-8857-0C4A-9029-E6B85B748D45}" type="parTrans" cxnId="{74512E15-4793-AC46-A25F-F7067075F6E2}">
      <dgm:prSet/>
      <dgm:spPr/>
      <dgm:t>
        <a:bodyPr/>
        <a:lstStyle/>
        <a:p>
          <a:endParaRPr lang="en-US" sz="2400"/>
        </a:p>
      </dgm:t>
    </dgm:pt>
    <dgm:pt modelId="{84102C4B-99C2-CA48-B8AE-059D27C156B4}" type="sibTrans" cxnId="{74512E15-4793-AC46-A25F-F7067075F6E2}">
      <dgm:prSet/>
      <dgm:spPr/>
      <dgm:t>
        <a:bodyPr/>
        <a:lstStyle/>
        <a:p>
          <a:endParaRPr lang="en-US" sz="2400"/>
        </a:p>
      </dgm:t>
    </dgm:pt>
    <dgm:pt modelId="{4B985FDD-4864-C044-9F51-CA3E24812D90}">
      <dgm:prSet phldrT="[Text]" custT="1"/>
      <dgm:spPr/>
      <dgm:t>
        <a:bodyPr/>
        <a:lstStyle/>
        <a:p>
          <a:r>
            <a:rPr lang="en-US" sz="2400"/>
            <a:t>Transition planning</a:t>
          </a:r>
        </a:p>
      </dgm:t>
    </dgm:pt>
    <dgm:pt modelId="{766B4C8A-A114-924D-8F3E-7201F671F530}" type="parTrans" cxnId="{FE0DE1E9-B5F5-7A49-B61B-9889B529CC57}">
      <dgm:prSet/>
      <dgm:spPr/>
      <dgm:t>
        <a:bodyPr/>
        <a:lstStyle/>
        <a:p>
          <a:endParaRPr lang="en-US" sz="2400"/>
        </a:p>
      </dgm:t>
    </dgm:pt>
    <dgm:pt modelId="{6F8AE5D2-0044-C647-98F3-A1288446A1FB}" type="sibTrans" cxnId="{FE0DE1E9-B5F5-7A49-B61B-9889B529CC57}">
      <dgm:prSet/>
      <dgm:spPr/>
      <dgm:t>
        <a:bodyPr/>
        <a:lstStyle/>
        <a:p>
          <a:endParaRPr lang="en-US" sz="2400"/>
        </a:p>
      </dgm:t>
    </dgm:pt>
    <dgm:pt modelId="{2647AFC3-1AAE-AC48-A02A-65360A28121D}">
      <dgm:prSet phldrT="[Text]" custT="1"/>
      <dgm:spPr/>
      <dgm:t>
        <a:bodyPr/>
        <a:lstStyle/>
        <a:p>
          <a:r>
            <a:rPr lang="en-US" sz="2400"/>
            <a:t>Resilience</a:t>
          </a:r>
        </a:p>
      </dgm:t>
    </dgm:pt>
    <dgm:pt modelId="{950D5B8E-310B-1F41-8FE5-63B0781D69A2}" type="parTrans" cxnId="{6371492B-9ACD-054F-9489-22BCADB640E9}">
      <dgm:prSet/>
      <dgm:spPr/>
      <dgm:t>
        <a:bodyPr/>
        <a:lstStyle/>
        <a:p>
          <a:endParaRPr lang="en-US" sz="2400"/>
        </a:p>
      </dgm:t>
    </dgm:pt>
    <dgm:pt modelId="{3B66B3AD-A6FD-D143-8614-D2EE834DD050}" type="sibTrans" cxnId="{6371492B-9ACD-054F-9489-22BCADB640E9}">
      <dgm:prSet/>
      <dgm:spPr/>
      <dgm:t>
        <a:bodyPr/>
        <a:lstStyle/>
        <a:p>
          <a:endParaRPr lang="en-US" sz="2400"/>
        </a:p>
      </dgm:t>
    </dgm:pt>
    <dgm:pt modelId="{FF1B88F7-DFB9-D242-BE77-F667262BFF62}">
      <dgm:prSet phldrT="[Text]" custT="1"/>
      <dgm:spPr/>
      <dgm:t>
        <a:bodyPr/>
        <a:lstStyle/>
        <a:p>
          <a:r>
            <a:rPr lang="en-US" sz="2400"/>
            <a:t>Coaching</a:t>
          </a:r>
        </a:p>
      </dgm:t>
    </dgm:pt>
    <dgm:pt modelId="{911215D5-4FEF-A749-92A7-67BA286D1B25}" type="parTrans" cxnId="{86080105-70A5-294E-AFCF-01E54DA57038}">
      <dgm:prSet/>
      <dgm:spPr/>
      <dgm:t>
        <a:bodyPr/>
        <a:lstStyle/>
        <a:p>
          <a:endParaRPr lang="en-US" sz="2400"/>
        </a:p>
      </dgm:t>
    </dgm:pt>
    <dgm:pt modelId="{590B22B5-21F8-DE40-9660-BD3B5940959F}" type="sibTrans" cxnId="{86080105-70A5-294E-AFCF-01E54DA57038}">
      <dgm:prSet/>
      <dgm:spPr/>
      <dgm:t>
        <a:bodyPr/>
        <a:lstStyle/>
        <a:p>
          <a:endParaRPr lang="en-US" sz="2400"/>
        </a:p>
      </dgm:t>
    </dgm:pt>
    <dgm:pt modelId="{8EB3BAC4-95B6-B544-8763-BD3D59023B15}">
      <dgm:prSet phldrT="[Text]" custT="1"/>
      <dgm:spPr/>
      <dgm:t>
        <a:bodyPr/>
        <a:lstStyle/>
        <a:p>
          <a:r>
            <a:rPr lang="en-US" sz="2400"/>
            <a:t>Leadership identity</a:t>
          </a:r>
        </a:p>
      </dgm:t>
    </dgm:pt>
    <dgm:pt modelId="{3204FBD2-C710-424E-BAE6-0CD296DA2111}" type="parTrans" cxnId="{29BE40E2-2D6D-DD4F-AEE4-E52971EB5906}">
      <dgm:prSet/>
      <dgm:spPr/>
      <dgm:t>
        <a:bodyPr/>
        <a:lstStyle/>
        <a:p>
          <a:endParaRPr lang="en-US" sz="2400"/>
        </a:p>
      </dgm:t>
    </dgm:pt>
    <dgm:pt modelId="{2A04EADC-FC3F-2B47-9830-C5B4E60EEBD9}" type="sibTrans" cxnId="{29BE40E2-2D6D-DD4F-AEE4-E52971EB5906}">
      <dgm:prSet/>
      <dgm:spPr/>
      <dgm:t>
        <a:bodyPr/>
        <a:lstStyle/>
        <a:p>
          <a:endParaRPr lang="en-US" sz="2400"/>
        </a:p>
      </dgm:t>
    </dgm:pt>
    <dgm:pt modelId="{8D66F0E0-F537-284E-8CC9-727C86FC5043}" type="pres">
      <dgm:prSet presAssocID="{DF23FDEA-C690-4241-9840-BDF5250C5EAA}" presName="Name0" presStyleCnt="0">
        <dgm:presLayoutVars>
          <dgm:chPref val="1"/>
          <dgm:dir/>
          <dgm:animOne val="branch"/>
          <dgm:animLvl val="lvl"/>
          <dgm:resizeHandles/>
        </dgm:presLayoutVars>
      </dgm:prSet>
      <dgm:spPr/>
    </dgm:pt>
    <dgm:pt modelId="{73A389C7-2345-E64D-8D4C-1A59E487482B}" type="pres">
      <dgm:prSet presAssocID="{C910A338-5A30-0A43-833D-68C22429E62C}" presName="vertOne" presStyleCnt="0"/>
      <dgm:spPr/>
    </dgm:pt>
    <dgm:pt modelId="{45DB0496-0289-8648-A506-2FCFAE489F35}" type="pres">
      <dgm:prSet presAssocID="{C910A338-5A30-0A43-833D-68C22429E62C}" presName="txOne" presStyleLbl="node0" presStyleIdx="0" presStyleCnt="1">
        <dgm:presLayoutVars>
          <dgm:chPref val="3"/>
        </dgm:presLayoutVars>
      </dgm:prSet>
      <dgm:spPr/>
    </dgm:pt>
    <dgm:pt modelId="{C9B221F4-9EDE-A34B-BBCB-FC8D179A50EA}" type="pres">
      <dgm:prSet presAssocID="{C910A338-5A30-0A43-833D-68C22429E62C}" presName="parTransOne" presStyleCnt="0"/>
      <dgm:spPr/>
    </dgm:pt>
    <dgm:pt modelId="{8563DB16-C0C8-7F40-A900-3803A2D842CF}" type="pres">
      <dgm:prSet presAssocID="{C910A338-5A30-0A43-833D-68C22429E62C}" presName="horzOne" presStyleCnt="0"/>
      <dgm:spPr/>
    </dgm:pt>
    <dgm:pt modelId="{45FCB214-D6CB-9748-9DAA-E08FB0E494E4}" type="pres">
      <dgm:prSet presAssocID="{46AA47D8-5CBD-8C49-B70F-AE2EBCF9327A}" presName="vertTwo" presStyleCnt="0"/>
      <dgm:spPr/>
    </dgm:pt>
    <dgm:pt modelId="{DD8D86C1-6298-8446-BE76-E15840E4C5C7}" type="pres">
      <dgm:prSet presAssocID="{46AA47D8-5CBD-8C49-B70F-AE2EBCF9327A}" presName="txTwo" presStyleLbl="node2" presStyleIdx="0" presStyleCnt="2">
        <dgm:presLayoutVars>
          <dgm:chPref val="3"/>
        </dgm:presLayoutVars>
      </dgm:prSet>
      <dgm:spPr/>
    </dgm:pt>
    <dgm:pt modelId="{97A5046D-C3A8-D14E-B567-6C49681BAC35}" type="pres">
      <dgm:prSet presAssocID="{46AA47D8-5CBD-8C49-B70F-AE2EBCF9327A}" presName="parTransTwo" presStyleCnt="0"/>
      <dgm:spPr/>
    </dgm:pt>
    <dgm:pt modelId="{A63586AC-706A-E746-87CD-D00C89E3DE3D}" type="pres">
      <dgm:prSet presAssocID="{46AA47D8-5CBD-8C49-B70F-AE2EBCF9327A}" presName="horzTwo" presStyleCnt="0"/>
      <dgm:spPr/>
    </dgm:pt>
    <dgm:pt modelId="{FC0685C0-5154-394C-A62F-2DF225E90CC7}" type="pres">
      <dgm:prSet presAssocID="{4B985FDD-4864-C044-9F51-CA3E24812D90}" presName="vertThree" presStyleCnt="0"/>
      <dgm:spPr/>
    </dgm:pt>
    <dgm:pt modelId="{CC75E25A-2570-8042-B865-C61106E5E5F3}" type="pres">
      <dgm:prSet presAssocID="{4B985FDD-4864-C044-9F51-CA3E24812D90}" presName="txThree" presStyleLbl="node3" presStyleIdx="0" presStyleCnt="3">
        <dgm:presLayoutVars>
          <dgm:chPref val="3"/>
        </dgm:presLayoutVars>
      </dgm:prSet>
      <dgm:spPr/>
    </dgm:pt>
    <dgm:pt modelId="{C7C7176C-2371-EC4F-867F-88E1A5A2B4C1}" type="pres">
      <dgm:prSet presAssocID="{4B985FDD-4864-C044-9F51-CA3E24812D90}" presName="horzThree" presStyleCnt="0"/>
      <dgm:spPr/>
    </dgm:pt>
    <dgm:pt modelId="{2F70C180-C014-5942-8D44-5048E660EDFB}" type="pres">
      <dgm:prSet presAssocID="{6F8AE5D2-0044-C647-98F3-A1288446A1FB}" presName="sibSpaceThree" presStyleCnt="0"/>
      <dgm:spPr/>
    </dgm:pt>
    <dgm:pt modelId="{B5B3165F-55ED-3B48-A6DD-C1C028548666}" type="pres">
      <dgm:prSet presAssocID="{2647AFC3-1AAE-AC48-A02A-65360A28121D}" presName="vertThree" presStyleCnt="0"/>
      <dgm:spPr/>
    </dgm:pt>
    <dgm:pt modelId="{9912C67A-D21A-4647-82D7-05601F75DF4A}" type="pres">
      <dgm:prSet presAssocID="{2647AFC3-1AAE-AC48-A02A-65360A28121D}" presName="txThree" presStyleLbl="node3" presStyleIdx="1" presStyleCnt="3">
        <dgm:presLayoutVars>
          <dgm:chPref val="3"/>
        </dgm:presLayoutVars>
      </dgm:prSet>
      <dgm:spPr/>
    </dgm:pt>
    <dgm:pt modelId="{D6443872-3D08-0046-B97F-A447F79D6352}" type="pres">
      <dgm:prSet presAssocID="{2647AFC3-1AAE-AC48-A02A-65360A28121D}" presName="horzThree" presStyleCnt="0"/>
      <dgm:spPr/>
    </dgm:pt>
    <dgm:pt modelId="{968B1BB4-AFAC-EF45-9631-65CE7F241DD8}" type="pres">
      <dgm:prSet presAssocID="{84102C4B-99C2-CA48-B8AE-059D27C156B4}" presName="sibSpaceTwo" presStyleCnt="0"/>
      <dgm:spPr/>
    </dgm:pt>
    <dgm:pt modelId="{B4A01D3B-1D7C-4E45-8589-E21A6810A5E8}" type="pres">
      <dgm:prSet presAssocID="{FF1B88F7-DFB9-D242-BE77-F667262BFF62}" presName="vertTwo" presStyleCnt="0"/>
      <dgm:spPr/>
    </dgm:pt>
    <dgm:pt modelId="{28E7CD11-1A6E-DE47-B592-C86E96876276}" type="pres">
      <dgm:prSet presAssocID="{FF1B88F7-DFB9-D242-BE77-F667262BFF62}" presName="txTwo" presStyleLbl="node2" presStyleIdx="1" presStyleCnt="2">
        <dgm:presLayoutVars>
          <dgm:chPref val="3"/>
        </dgm:presLayoutVars>
      </dgm:prSet>
      <dgm:spPr/>
    </dgm:pt>
    <dgm:pt modelId="{1F655D8D-DF82-B841-A7A2-8568312FF622}" type="pres">
      <dgm:prSet presAssocID="{FF1B88F7-DFB9-D242-BE77-F667262BFF62}" presName="parTransTwo" presStyleCnt="0"/>
      <dgm:spPr/>
    </dgm:pt>
    <dgm:pt modelId="{8891FAF1-9B11-D34A-9F38-DA7DBA98F779}" type="pres">
      <dgm:prSet presAssocID="{FF1B88F7-DFB9-D242-BE77-F667262BFF62}" presName="horzTwo" presStyleCnt="0"/>
      <dgm:spPr/>
    </dgm:pt>
    <dgm:pt modelId="{36FC2540-68F0-4841-8CC8-4D822B87EBDD}" type="pres">
      <dgm:prSet presAssocID="{8EB3BAC4-95B6-B544-8763-BD3D59023B15}" presName="vertThree" presStyleCnt="0"/>
      <dgm:spPr/>
    </dgm:pt>
    <dgm:pt modelId="{78FDC742-575D-2940-8573-058DFBB8C7BA}" type="pres">
      <dgm:prSet presAssocID="{8EB3BAC4-95B6-B544-8763-BD3D59023B15}" presName="txThree" presStyleLbl="node3" presStyleIdx="2" presStyleCnt="3">
        <dgm:presLayoutVars>
          <dgm:chPref val="3"/>
        </dgm:presLayoutVars>
      </dgm:prSet>
      <dgm:spPr/>
    </dgm:pt>
    <dgm:pt modelId="{CF3F4723-A9C7-C348-906F-D3BE012C51F3}" type="pres">
      <dgm:prSet presAssocID="{8EB3BAC4-95B6-B544-8763-BD3D59023B15}" presName="horzThree" presStyleCnt="0"/>
      <dgm:spPr/>
    </dgm:pt>
  </dgm:ptLst>
  <dgm:cxnLst>
    <dgm:cxn modelId="{86080105-70A5-294E-AFCF-01E54DA57038}" srcId="{C910A338-5A30-0A43-833D-68C22429E62C}" destId="{FF1B88F7-DFB9-D242-BE77-F667262BFF62}" srcOrd="1" destOrd="0" parTransId="{911215D5-4FEF-A749-92A7-67BA286D1B25}" sibTransId="{590B22B5-21F8-DE40-9660-BD3B5940959F}"/>
    <dgm:cxn modelId="{74512E15-4793-AC46-A25F-F7067075F6E2}" srcId="{C910A338-5A30-0A43-833D-68C22429E62C}" destId="{46AA47D8-5CBD-8C49-B70F-AE2EBCF9327A}" srcOrd="0" destOrd="0" parTransId="{EA23CD0F-8857-0C4A-9029-E6B85B748D45}" sibTransId="{84102C4B-99C2-CA48-B8AE-059D27C156B4}"/>
    <dgm:cxn modelId="{0E19CA29-ED2D-CE45-BF6C-6048148DE34C}" type="presOf" srcId="{4B985FDD-4864-C044-9F51-CA3E24812D90}" destId="{CC75E25A-2570-8042-B865-C61106E5E5F3}" srcOrd="0" destOrd="0" presId="urn:microsoft.com/office/officeart/2005/8/layout/hierarchy4"/>
    <dgm:cxn modelId="{6371492B-9ACD-054F-9489-22BCADB640E9}" srcId="{46AA47D8-5CBD-8C49-B70F-AE2EBCF9327A}" destId="{2647AFC3-1AAE-AC48-A02A-65360A28121D}" srcOrd="1" destOrd="0" parTransId="{950D5B8E-310B-1F41-8FE5-63B0781D69A2}" sibTransId="{3B66B3AD-A6FD-D143-8614-D2EE834DD050}"/>
    <dgm:cxn modelId="{B4BD4557-4BFE-554F-B479-B43399FA628F}" type="presOf" srcId="{DF23FDEA-C690-4241-9840-BDF5250C5EAA}" destId="{8D66F0E0-F537-284E-8CC9-727C86FC5043}" srcOrd="0" destOrd="0" presId="urn:microsoft.com/office/officeart/2005/8/layout/hierarchy4"/>
    <dgm:cxn modelId="{52BFD877-B78D-B141-A1ED-AD1457140CBF}" type="presOf" srcId="{C910A338-5A30-0A43-833D-68C22429E62C}" destId="{45DB0496-0289-8648-A506-2FCFAE489F35}" srcOrd="0" destOrd="0" presId="urn:microsoft.com/office/officeart/2005/8/layout/hierarchy4"/>
    <dgm:cxn modelId="{E7779A7F-4251-3F4F-A337-8797756878E1}" type="presOf" srcId="{46AA47D8-5CBD-8C49-B70F-AE2EBCF9327A}" destId="{DD8D86C1-6298-8446-BE76-E15840E4C5C7}" srcOrd="0" destOrd="0" presId="urn:microsoft.com/office/officeart/2005/8/layout/hierarchy4"/>
    <dgm:cxn modelId="{DF31EF97-9905-1B44-A079-6D31CB08409B}" type="presOf" srcId="{FF1B88F7-DFB9-D242-BE77-F667262BFF62}" destId="{28E7CD11-1A6E-DE47-B592-C86E96876276}" srcOrd="0" destOrd="0" presId="urn:microsoft.com/office/officeart/2005/8/layout/hierarchy4"/>
    <dgm:cxn modelId="{37C934A5-2B02-D142-8F68-2F69D2A88651}" type="presOf" srcId="{2647AFC3-1AAE-AC48-A02A-65360A28121D}" destId="{9912C67A-D21A-4647-82D7-05601F75DF4A}" srcOrd="0" destOrd="0" presId="urn:microsoft.com/office/officeart/2005/8/layout/hierarchy4"/>
    <dgm:cxn modelId="{1C4B60C5-1DAC-7C4F-B8F7-8E4F174CB4ED}" srcId="{DF23FDEA-C690-4241-9840-BDF5250C5EAA}" destId="{C910A338-5A30-0A43-833D-68C22429E62C}" srcOrd="0" destOrd="0" parTransId="{D14EC2FE-81AE-D24B-992C-0CCC1D224799}" sibTransId="{2ADA309D-5285-B645-80F8-8D260A684A59}"/>
    <dgm:cxn modelId="{55B74DD8-C202-EA41-8B4B-E97FE7DD6C4D}" type="presOf" srcId="{8EB3BAC4-95B6-B544-8763-BD3D59023B15}" destId="{78FDC742-575D-2940-8573-058DFBB8C7BA}" srcOrd="0" destOrd="0" presId="urn:microsoft.com/office/officeart/2005/8/layout/hierarchy4"/>
    <dgm:cxn modelId="{29BE40E2-2D6D-DD4F-AEE4-E52971EB5906}" srcId="{FF1B88F7-DFB9-D242-BE77-F667262BFF62}" destId="{8EB3BAC4-95B6-B544-8763-BD3D59023B15}" srcOrd="0" destOrd="0" parTransId="{3204FBD2-C710-424E-BAE6-0CD296DA2111}" sibTransId="{2A04EADC-FC3F-2B47-9830-C5B4E60EEBD9}"/>
    <dgm:cxn modelId="{FE0DE1E9-B5F5-7A49-B61B-9889B529CC57}" srcId="{46AA47D8-5CBD-8C49-B70F-AE2EBCF9327A}" destId="{4B985FDD-4864-C044-9F51-CA3E24812D90}" srcOrd="0" destOrd="0" parTransId="{766B4C8A-A114-924D-8F3E-7201F671F530}" sibTransId="{6F8AE5D2-0044-C647-98F3-A1288446A1FB}"/>
    <dgm:cxn modelId="{21B43947-945E-FA41-A14B-90CABFFEC822}" type="presParOf" srcId="{8D66F0E0-F537-284E-8CC9-727C86FC5043}" destId="{73A389C7-2345-E64D-8D4C-1A59E487482B}" srcOrd="0" destOrd="0" presId="urn:microsoft.com/office/officeart/2005/8/layout/hierarchy4"/>
    <dgm:cxn modelId="{1519EE1D-338B-3345-818E-66A81C39914D}" type="presParOf" srcId="{73A389C7-2345-E64D-8D4C-1A59E487482B}" destId="{45DB0496-0289-8648-A506-2FCFAE489F35}" srcOrd="0" destOrd="0" presId="urn:microsoft.com/office/officeart/2005/8/layout/hierarchy4"/>
    <dgm:cxn modelId="{399A0D5D-81A7-4F40-B835-737A8D7277D8}" type="presParOf" srcId="{73A389C7-2345-E64D-8D4C-1A59E487482B}" destId="{C9B221F4-9EDE-A34B-BBCB-FC8D179A50EA}" srcOrd="1" destOrd="0" presId="urn:microsoft.com/office/officeart/2005/8/layout/hierarchy4"/>
    <dgm:cxn modelId="{1964945D-E3CF-444F-A7CB-7DF62839BF8F}" type="presParOf" srcId="{73A389C7-2345-E64D-8D4C-1A59E487482B}" destId="{8563DB16-C0C8-7F40-A900-3803A2D842CF}" srcOrd="2" destOrd="0" presId="urn:microsoft.com/office/officeart/2005/8/layout/hierarchy4"/>
    <dgm:cxn modelId="{F4A924B8-62FE-4147-B3E7-CC655354C4FD}" type="presParOf" srcId="{8563DB16-C0C8-7F40-A900-3803A2D842CF}" destId="{45FCB214-D6CB-9748-9DAA-E08FB0E494E4}" srcOrd="0" destOrd="0" presId="urn:microsoft.com/office/officeart/2005/8/layout/hierarchy4"/>
    <dgm:cxn modelId="{F4DAF4E6-D4A3-824B-BB80-C020EDAD640F}" type="presParOf" srcId="{45FCB214-D6CB-9748-9DAA-E08FB0E494E4}" destId="{DD8D86C1-6298-8446-BE76-E15840E4C5C7}" srcOrd="0" destOrd="0" presId="urn:microsoft.com/office/officeart/2005/8/layout/hierarchy4"/>
    <dgm:cxn modelId="{7FD0DF67-0660-2A41-B75A-C60A8B11714F}" type="presParOf" srcId="{45FCB214-D6CB-9748-9DAA-E08FB0E494E4}" destId="{97A5046D-C3A8-D14E-B567-6C49681BAC35}" srcOrd="1" destOrd="0" presId="urn:microsoft.com/office/officeart/2005/8/layout/hierarchy4"/>
    <dgm:cxn modelId="{FD86EB19-678C-8746-B24A-A478EA95E504}" type="presParOf" srcId="{45FCB214-D6CB-9748-9DAA-E08FB0E494E4}" destId="{A63586AC-706A-E746-87CD-D00C89E3DE3D}" srcOrd="2" destOrd="0" presId="urn:microsoft.com/office/officeart/2005/8/layout/hierarchy4"/>
    <dgm:cxn modelId="{A0C8E6CC-526E-B245-A540-8343DB89241A}" type="presParOf" srcId="{A63586AC-706A-E746-87CD-D00C89E3DE3D}" destId="{FC0685C0-5154-394C-A62F-2DF225E90CC7}" srcOrd="0" destOrd="0" presId="urn:microsoft.com/office/officeart/2005/8/layout/hierarchy4"/>
    <dgm:cxn modelId="{81719C8F-F9E3-E044-9219-5AFA3E64DD80}" type="presParOf" srcId="{FC0685C0-5154-394C-A62F-2DF225E90CC7}" destId="{CC75E25A-2570-8042-B865-C61106E5E5F3}" srcOrd="0" destOrd="0" presId="urn:microsoft.com/office/officeart/2005/8/layout/hierarchy4"/>
    <dgm:cxn modelId="{7B4D6FD5-5AA5-B14E-8E85-71301EF7EF99}" type="presParOf" srcId="{FC0685C0-5154-394C-A62F-2DF225E90CC7}" destId="{C7C7176C-2371-EC4F-867F-88E1A5A2B4C1}" srcOrd="1" destOrd="0" presId="urn:microsoft.com/office/officeart/2005/8/layout/hierarchy4"/>
    <dgm:cxn modelId="{3AB3A6EB-DC88-6846-B3A7-DB0350012C9A}" type="presParOf" srcId="{A63586AC-706A-E746-87CD-D00C89E3DE3D}" destId="{2F70C180-C014-5942-8D44-5048E660EDFB}" srcOrd="1" destOrd="0" presId="urn:microsoft.com/office/officeart/2005/8/layout/hierarchy4"/>
    <dgm:cxn modelId="{371E124C-2FF0-3440-9B6A-D5062A732C3E}" type="presParOf" srcId="{A63586AC-706A-E746-87CD-D00C89E3DE3D}" destId="{B5B3165F-55ED-3B48-A6DD-C1C028548666}" srcOrd="2" destOrd="0" presId="urn:microsoft.com/office/officeart/2005/8/layout/hierarchy4"/>
    <dgm:cxn modelId="{21F0A91C-E5DC-B74E-867C-61C68E296BBA}" type="presParOf" srcId="{B5B3165F-55ED-3B48-A6DD-C1C028548666}" destId="{9912C67A-D21A-4647-82D7-05601F75DF4A}" srcOrd="0" destOrd="0" presId="urn:microsoft.com/office/officeart/2005/8/layout/hierarchy4"/>
    <dgm:cxn modelId="{758E7CF2-C01E-EA43-BF93-C860547B43F4}" type="presParOf" srcId="{B5B3165F-55ED-3B48-A6DD-C1C028548666}" destId="{D6443872-3D08-0046-B97F-A447F79D6352}" srcOrd="1" destOrd="0" presId="urn:microsoft.com/office/officeart/2005/8/layout/hierarchy4"/>
    <dgm:cxn modelId="{4A361CE5-D56B-3143-9818-00FCB4EE47D8}" type="presParOf" srcId="{8563DB16-C0C8-7F40-A900-3803A2D842CF}" destId="{968B1BB4-AFAC-EF45-9631-65CE7F241DD8}" srcOrd="1" destOrd="0" presId="urn:microsoft.com/office/officeart/2005/8/layout/hierarchy4"/>
    <dgm:cxn modelId="{F9AC0893-D764-AB4E-854D-9E6451643E60}" type="presParOf" srcId="{8563DB16-C0C8-7F40-A900-3803A2D842CF}" destId="{B4A01D3B-1D7C-4E45-8589-E21A6810A5E8}" srcOrd="2" destOrd="0" presId="urn:microsoft.com/office/officeart/2005/8/layout/hierarchy4"/>
    <dgm:cxn modelId="{D1A9CB5B-7BED-5042-8CA4-43ECC225B2E1}" type="presParOf" srcId="{B4A01D3B-1D7C-4E45-8589-E21A6810A5E8}" destId="{28E7CD11-1A6E-DE47-B592-C86E96876276}" srcOrd="0" destOrd="0" presId="urn:microsoft.com/office/officeart/2005/8/layout/hierarchy4"/>
    <dgm:cxn modelId="{5A34EC9F-4050-2B46-9831-AAEE08E447AF}" type="presParOf" srcId="{B4A01D3B-1D7C-4E45-8589-E21A6810A5E8}" destId="{1F655D8D-DF82-B841-A7A2-8568312FF622}" srcOrd="1" destOrd="0" presId="urn:microsoft.com/office/officeart/2005/8/layout/hierarchy4"/>
    <dgm:cxn modelId="{3240A806-1C47-9447-8A7C-463E8FB4E5D3}" type="presParOf" srcId="{B4A01D3B-1D7C-4E45-8589-E21A6810A5E8}" destId="{8891FAF1-9B11-D34A-9F38-DA7DBA98F779}" srcOrd="2" destOrd="0" presId="urn:microsoft.com/office/officeart/2005/8/layout/hierarchy4"/>
    <dgm:cxn modelId="{41474338-2E38-204A-BD42-C75D299D3374}" type="presParOf" srcId="{8891FAF1-9B11-D34A-9F38-DA7DBA98F779}" destId="{36FC2540-68F0-4841-8CC8-4D822B87EBDD}" srcOrd="0" destOrd="0" presId="urn:microsoft.com/office/officeart/2005/8/layout/hierarchy4"/>
    <dgm:cxn modelId="{E1032AE6-61A1-F447-9862-4A53506816C5}" type="presParOf" srcId="{36FC2540-68F0-4841-8CC8-4D822B87EBDD}" destId="{78FDC742-575D-2940-8573-058DFBB8C7BA}" srcOrd="0" destOrd="0" presId="urn:microsoft.com/office/officeart/2005/8/layout/hierarchy4"/>
    <dgm:cxn modelId="{7945B759-8614-5247-BF78-D156DB2E0074}" type="presParOf" srcId="{36FC2540-68F0-4841-8CC8-4D822B87EBDD}" destId="{CF3F4723-A9C7-C348-906F-D3BE012C51F3}" srcOrd="1" destOrd="0" presId="urn:microsoft.com/office/officeart/2005/8/layout/hierarchy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E99A7A-5EDB-F644-8A88-89222FF494A7}">
      <dsp:nvSpPr>
        <dsp:cNvPr id="0" name=""/>
        <dsp:cNvSpPr/>
      </dsp:nvSpPr>
      <dsp:spPr>
        <a:xfrm>
          <a:off x="-4926637" y="-754926"/>
          <a:ext cx="5867566" cy="5867566"/>
        </a:xfrm>
        <a:prstGeom prst="blockArc">
          <a:avLst>
            <a:gd name="adj1" fmla="val 18900000"/>
            <a:gd name="adj2" fmla="val 2700000"/>
            <a:gd name="adj3" fmla="val 368"/>
          </a:avLst>
        </a:prstGeom>
        <a:noFill/>
        <a:ln w="12700" cap="flat" cmpd="sng" algn="ctr">
          <a:solidFill>
            <a:schemeClr val="accent5"/>
          </a:solidFill>
          <a:prstDash val="solid"/>
          <a:miter lim="800000"/>
        </a:ln>
        <a:effectLst/>
      </dsp:spPr>
      <dsp:style>
        <a:lnRef idx="2">
          <a:scrgbClr r="0" g="0" b="0"/>
        </a:lnRef>
        <a:fillRef idx="0">
          <a:scrgbClr r="0" g="0" b="0"/>
        </a:fillRef>
        <a:effectRef idx="0">
          <a:scrgbClr r="0" g="0" b="0"/>
        </a:effectRef>
        <a:fontRef idx="minor"/>
      </dsp:style>
    </dsp:sp>
    <dsp:sp modelId="{881FBA25-8503-0B41-8162-41B0D7B27FBF}">
      <dsp:nvSpPr>
        <dsp:cNvPr id="0" name=""/>
        <dsp:cNvSpPr/>
      </dsp:nvSpPr>
      <dsp:spPr>
        <a:xfrm>
          <a:off x="411679" y="224673"/>
          <a:ext cx="10669568" cy="6400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2505" tIns="40640" rIns="40640" bIns="40640" numCol="1" spcCol="1270" anchor="ctr" anchorCtr="0">
          <a:noAutofit/>
        </a:bodyPr>
        <a:lstStyle/>
        <a:p>
          <a:pPr marL="0" lvl="0" indent="0" algn="l" defTabSz="711200">
            <a:lnSpc>
              <a:spcPct val="100000"/>
            </a:lnSpc>
            <a:spcBef>
              <a:spcPts val="0"/>
            </a:spcBef>
            <a:spcAft>
              <a:spcPts val="0"/>
            </a:spcAft>
            <a:buNone/>
          </a:pPr>
          <a:r>
            <a:rPr lang="en-US" sz="1600" b="1" i="0" u="none" kern="1200"/>
            <a:t>From Alignment to Enterprise Ownership</a:t>
          </a:r>
          <a:r>
            <a:rPr lang="en-US" sz="1600" b="0" i="0" u="none" kern="1200"/>
            <a:t>  </a:t>
          </a:r>
        </a:p>
        <a:p>
          <a:pPr marL="0" lvl="0" indent="0" algn="l" defTabSz="711200">
            <a:lnSpc>
              <a:spcPct val="100000"/>
            </a:lnSpc>
            <a:spcBef>
              <a:spcPts val="0"/>
            </a:spcBef>
            <a:spcAft>
              <a:spcPts val="0"/>
            </a:spcAft>
            <a:buNone/>
          </a:pPr>
          <a:r>
            <a:rPr lang="en-US" sz="1600" b="0" i="0" u="none" kern="1200"/>
            <a:t>Shift Directors from strategy recipients to co-architects who shape direction based on enterprise needs.</a:t>
          </a:r>
          <a:endParaRPr lang="en-US" sz="1600" kern="1200"/>
        </a:p>
      </dsp:txBody>
      <dsp:txXfrm>
        <a:off x="411679" y="224673"/>
        <a:ext cx="10669568" cy="640080"/>
      </dsp:txXfrm>
    </dsp:sp>
    <dsp:sp modelId="{D5474BE3-269A-7140-88C2-18FA0776EBD4}">
      <dsp:nvSpPr>
        <dsp:cNvPr id="0" name=""/>
        <dsp:cNvSpPr/>
      </dsp:nvSpPr>
      <dsp:spPr>
        <a:xfrm>
          <a:off x="71123" y="204158"/>
          <a:ext cx="681110" cy="681110"/>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5C01AB8-C941-174F-B90C-7278218A1E42}">
      <dsp:nvSpPr>
        <dsp:cNvPr id="0" name=""/>
        <dsp:cNvSpPr/>
      </dsp:nvSpPr>
      <dsp:spPr>
        <a:xfrm>
          <a:off x="802130" y="1041745"/>
          <a:ext cx="10279117" cy="6400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2505" tIns="40640" rIns="40640" bIns="40640" numCol="1" spcCol="1270" anchor="ctr" anchorCtr="0">
          <a:noAutofit/>
        </a:bodyPr>
        <a:lstStyle/>
        <a:p>
          <a:pPr marL="0" lvl="0" indent="0" algn="l" defTabSz="711200">
            <a:lnSpc>
              <a:spcPct val="100000"/>
            </a:lnSpc>
            <a:spcBef>
              <a:spcPts val="0"/>
            </a:spcBef>
            <a:spcAft>
              <a:spcPts val="0"/>
            </a:spcAft>
            <a:buNone/>
          </a:pPr>
          <a:r>
            <a:rPr lang="en-US" sz="1600" b="1" i="0" u="none" kern="1200"/>
            <a:t>Connecting GCC Value to Global Priorities</a:t>
          </a:r>
          <a:r>
            <a:rPr lang="en-US" sz="1600" b="0" i="0" u="none" kern="1200"/>
            <a:t> </a:t>
          </a:r>
        </a:p>
        <a:p>
          <a:pPr marL="0" lvl="0" indent="0" algn="l" defTabSz="711200">
            <a:lnSpc>
              <a:spcPct val="100000"/>
            </a:lnSpc>
            <a:spcBef>
              <a:spcPts val="0"/>
            </a:spcBef>
            <a:spcAft>
              <a:spcPts val="0"/>
            </a:spcAft>
            <a:buNone/>
          </a:pPr>
          <a:r>
            <a:rPr lang="en-US" sz="1600" b="0" i="0" u="none" kern="1200"/>
            <a:t>Translate GCC strengths into measurable strategic advantage across regions and functions.</a:t>
          </a:r>
          <a:endParaRPr lang="en-US" sz="1600" kern="1200"/>
        </a:p>
      </dsp:txBody>
      <dsp:txXfrm>
        <a:off x="802130" y="1041745"/>
        <a:ext cx="10279117" cy="640080"/>
      </dsp:txXfrm>
    </dsp:sp>
    <dsp:sp modelId="{87C60B10-5E1B-7D4A-BAE0-1039FC65FC82}">
      <dsp:nvSpPr>
        <dsp:cNvPr id="0" name=""/>
        <dsp:cNvSpPr/>
      </dsp:nvSpPr>
      <dsp:spPr>
        <a:xfrm>
          <a:off x="461574" y="1021230"/>
          <a:ext cx="681110" cy="681110"/>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315B840-EF1D-0541-9FBC-C83334DE89DA}">
      <dsp:nvSpPr>
        <dsp:cNvPr id="0" name=""/>
        <dsp:cNvSpPr/>
      </dsp:nvSpPr>
      <dsp:spPr>
        <a:xfrm>
          <a:off x="921967" y="1858816"/>
          <a:ext cx="10159280" cy="6400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2505" tIns="40640" rIns="40640" bIns="40640" numCol="1" spcCol="1270" anchor="ctr" anchorCtr="0">
          <a:noAutofit/>
        </a:bodyPr>
        <a:lstStyle/>
        <a:p>
          <a:pPr marL="0" lvl="0" indent="0" algn="l" defTabSz="711200">
            <a:lnSpc>
              <a:spcPct val="100000"/>
            </a:lnSpc>
            <a:spcBef>
              <a:spcPts val="0"/>
            </a:spcBef>
            <a:spcAft>
              <a:spcPts val="0"/>
            </a:spcAft>
            <a:buNone/>
          </a:pPr>
          <a:r>
            <a:rPr lang="en-US" sz="1600" b="1" i="0" u="none" kern="1200"/>
            <a:t>Strategic Insight from Enterprise Data</a:t>
          </a:r>
          <a:r>
            <a:rPr lang="en-US" sz="1600" b="0" i="0" u="none" kern="1200"/>
            <a:t> </a:t>
          </a:r>
        </a:p>
        <a:p>
          <a:pPr marL="0" lvl="0" indent="0" algn="l" defTabSz="711200">
            <a:lnSpc>
              <a:spcPct val="100000"/>
            </a:lnSpc>
            <a:spcBef>
              <a:spcPts val="0"/>
            </a:spcBef>
            <a:spcAft>
              <a:spcPts val="0"/>
            </a:spcAft>
            <a:buNone/>
          </a:pPr>
          <a:r>
            <a:rPr lang="en-US" sz="1600" b="0" i="0" u="none" kern="1200"/>
            <a:t>Generate forward-looking insights that inform decisions, not just report performance.</a:t>
          </a:r>
          <a:endParaRPr lang="en-US" sz="1600" kern="1200"/>
        </a:p>
      </dsp:txBody>
      <dsp:txXfrm>
        <a:off x="921967" y="1858816"/>
        <a:ext cx="10159280" cy="640080"/>
      </dsp:txXfrm>
    </dsp:sp>
    <dsp:sp modelId="{3DEA0585-0966-6F49-B71B-806750DDF65F}">
      <dsp:nvSpPr>
        <dsp:cNvPr id="0" name=""/>
        <dsp:cNvSpPr/>
      </dsp:nvSpPr>
      <dsp:spPr>
        <a:xfrm>
          <a:off x="581412" y="1838301"/>
          <a:ext cx="681110" cy="681110"/>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95E4D0C-C0A1-6145-B351-5BAD212F45BE}">
      <dsp:nvSpPr>
        <dsp:cNvPr id="0" name=""/>
        <dsp:cNvSpPr/>
      </dsp:nvSpPr>
      <dsp:spPr>
        <a:xfrm>
          <a:off x="802130" y="2675887"/>
          <a:ext cx="10279117" cy="6400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2505" tIns="40640" rIns="40640" bIns="40640" numCol="1" spcCol="1270" anchor="ctr" anchorCtr="0">
          <a:noAutofit/>
        </a:bodyPr>
        <a:lstStyle/>
        <a:p>
          <a:pPr marL="0" lvl="0" indent="0" algn="l" defTabSz="711200">
            <a:lnSpc>
              <a:spcPct val="100000"/>
            </a:lnSpc>
            <a:spcBef>
              <a:spcPts val="0"/>
            </a:spcBef>
            <a:spcAft>
              <a:spcPts val="0"/>
            </a:spcAft>
            <a:buNone/>
          </a:pPr>
          <a:r>
            <a:rPr lang="en-US" sz="1600" b="1" i="0" u="none" kern="1200"/>
            <a:t>Scenario Thinking and Trade-Off Navigation</a:t>
          </a:r>
          <a:r>
            <a:rPr lang="en-US" sz="1600" b="0" i="0" u="none" kern="1200"/>
            <a:t> </a:t>
          </a:r>
        </a:p>
        <a:p>
          <a:pPr marL="0" lvl="0" indent="0" algn="l" defTabSz="711200">
            <a:lnSpc>
              <a:spcPct val="100000"/>
            </a:lnSpc>
            <a:spcBef>
              <a:spcPts val="0"/>
            </a:spcBef>
            <a:spcAft>
              <a:spcPts val="0"/>
            </a:spcAft>
            <a:buNone/>
          </a:pPr>
          <a:r>
            <a:rPr lang="en-US" sz="1600" b="0" i="0" u="none" kern="1200"/>
            <a:t>Build and evaluate strategic options across markets, risks, and resource constraints.</a:t>
          </a:r>
          <a:endParaRPr lang="en-US" sz="1600" kern="1200"/>
        </a:p>
      </dsp:txBody>
      <dsp:txXfrm>
        <a:off x="802130" y="2675887"/>
        <a:ext cx="10279117" cy="640080"/>
      </dsp:txXfrm>
    </dsp:sp>
    <dsp:sp modelId="{0C08346E-7098-2C4E-82EF-8F47E7A3D25E}">
      <dsp:nvSpPr>
        <dsp:cNvPr id="0" name=""/>
        <dsp:cNvSpPr/>
      </dsp:nvSpPr>
      <dsp:spPr>
        <a:xfrm>
          <a:off x="461574" y="2655372"/>
          <a:ext cx="681110" cy="681110"/>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09142A9-FCFB-A646-B9EE-597249DC585E}">
      <dsp:nvSpPr>
        <dsp:cNvPr id="0" name=""/>
        <dsp:cNvSpPr/>
      </dsp:nvSpPr>
      <dsp:spPr>
        <a:xfrm>
          <a:off x="411679" y="3492958"/>
          <a:ext cx="10669568" cy="6400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2505" tIns="40640" rIns="40640" bIns="40640" numCol="1" spcCol="1270" anchor="ctr" anchorCtr="0">
          <a:noAutofit/>
        </a:bodyPr>
        <a:lstStyle/>
        <a:p>
          <a:pPr marL="0" lvl="0" indent="0" algn="l" defTabSz="711200">
            <a:lnSpc>
              <a:spcPct val="100000"/>
            </a:lnSpc>
            <a:spcBef>
              <a:spcPts val="0"/>
            </a:spcBef>
            <a:spcAft>
              <a:spcPts val="0"/>
            </a:spcAft>
            <a:buNone/>
          </a:pPr>
          <a:r>
            <a:rPr lang="en-US" sz="1600" b="1" i="0" u="none" kern="1200"/>
            <a:t>Commercial Acumen and Strategic Language</a:t>
          </a:r>
          <a:r>
            <a:rPr lang="en-US" sz="1600" b="0" i="0" u="none" kern="1200"/>
            <a:t> </a:t>
          </a:r>
        </a:p>
        <a:p>
          <a:pPr marL="0" lvl="0" indent="0" algn="l" defTabSz="711200">
            <a:lnSpc>
              <a:spcPct val="100000"/>
            </a:lnSpc>
            <a:spcBef>
              <a:spcPts val="0"/>
            </a:spcBef>
            <a:spcAft>
              <a:spcPts val="0"/>
            </a:spcAft>
            <a:buNone/>
          </a:pPr>
          <a:r>
            <a:rPr lang="en-US" sz="1600" b="0" i="0" u="none" kern="1200"/>
            <a:t>Expand financial, strategic, and commercial fluency to engage credibly with global executives.</a:t>
          </a:r>
          <a:endParaRPr lang="en-US" sz="1600" kern="1200"/>
        </a:p>
      </dsp:txBody>
      <dsp:txXfrm>
        <a:off x="411679" y="3492958"/>
        <a:ext cx="10669568" cy="640080"/>
      </dsp:txXfrm>
    </dsp:sp>
    <dsp:sp modelId="{CD408B11-50BF-1148-B7F8-A3C766A2BE58}">
      <dsp:nvSpPr>
        <dsp:cNvPr id="0" name=""/>
        <dsp:cNvSpPr/>
      </dsp:nvSpPr>
      <dsp:spPr>
        <a:xfrm>
          <a:off x="71123" y="3472443"/>
          <a:ext cx="681110" cy="681110"/>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DB0496-0289-8648-A506-2FCFAE489F35}">
      <dsp:nvSpPr>
        <dsp:cNvPr id="0" name=""/>
        <dsp:cNvSpPr/>
      </dsp:nvSpPr>
      <dsp:spPr>
        <a:xfrm>
          <a:off x="932" y="2948"/>
          <a:ext cx="8126134" cy="127956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Executive presence and matrix leadership</a:t>
          </a:r>
        </a:p>
      </dsp:txBody>
      <dsp:txXfrm>
        <a:off x="38409" y="40425"/>
        <a:ext cx="8051180" cy="1204615"/>
      </dsp:txXfrm>
    </dsp:sp>
    <dsp:sp modelId="{DD8D86C1-6298-8446-BE76-E15840E4C5C7}">
      <dsp:nvSpPr>
        <dsp:cNvPr id="0" name=""/>
        <dsp:cNvSpPr/>
      </dsp:nvSpPr>
      <dsp:spPr>
        <a:xfrm>
          <a:off x="932" y="1423647"/>
          <a:ext cx="5308242" cy="127956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Cultural agility</a:t>
          </a:r>
        </a:p>
      </dsp:txBody>
      <dsp:txXfrm>
        <a:off x="38409" y="1461124"/>
        <a:ext cx="5233288" cy="1204615"/>
      </dsp:txXfrm>
    </dsp:sp>
    <dsp:sp modelId="{CC75E25A-2570-8042-B865-C61106E5E5F3}">
      <dsp:nvSpPr>
        <dsp:cNvPr id="0" name=""/>
        <dsp:cNvSpPr/>
      </dsp:nvSpPr>
      <dsp:spPr>
        <a:xfrm>
          <a:off x="932" y="2844345"/>
          <a:ext cx="2599531" cy="127956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Transition planning</a:t>
          </a:r>
        </a:p>
      </dsp:txBody>
      <dsp:txXfrm>
        <a:off x="38409" y="2881822"/>
        <a:ext cx="2524577" cy="1204615"/>
      </dsp:txXfrm>
    </dsp:sp>
    <dsp:sp modelId="{9912C67A-D21A-4647-82D7-05601F75DF4A}">
      <dsp:nvSpPr>
        <dsp:cNvPr id="0" name=""/>
        <dsp:cNvSpPr/>
      </dsp:nvSpPr>
      <dsp:spPr>
        <a:xfrm>
          <a:off x="2709644" y="2844345"/>
          <a:ext cx="2599531" cy="127956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Resilience</a:t>
          </a:r>
        </a:p>
      </dsp:txBody>
      <dsp:txXfrm>
        <a:off x="2747121" y="2881822"/>
        <a:ext cx="2524577" cy="1204615"/>
      </dsp:txXfrm>
    </dsp:sp>
    <dsp:sp modelId="{28E7CD11-1A6E-DE47-B592-C86E96876276}">
      <dsp:nvSpPr>
        <dsp:cNvPr id="0" name=""/>
        <dsp:cNvSpPr/>
      </dsp:nvSpPr>
      <dsp:spPr>
        <a:xfrm>
          <a:off x="5527536" y="1423647"/>
          <a:ext cx="2599531" cy="127956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Coaching</a:t>
          </a:r>
        </a:p>
      </dsp:txBody>
      <dsp:txXfrm>
        <a:off x="5565013" y="1461124"/>
        <a:ext cx="2524577" cy="1204615"/>
      </dsp:txXfrm>
    </dsp:sp>
    <dsp:sp modelId="{78FDC742-575D-2940-8573-058DFBB8C7BA}">
      <dsp:nvSpPr>
        <dsp:cNvPr id="0" name=""/>
        <dsp:cNvSpPr/>
      </dsp:nvSpPr>
      <dsp:spPr>
        <a:xfrm>
          <a:off x="5527536" y="2844345"/>
          <a:ext cx="2599531" cy="127956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Leadership identity</a:t>
          </a:r>
        </a:p>
      </dsp:txBody>
      <dsp:txXfrm>
        <a:off x="5565013" y="2881822"/>
        <a:ext cx="2524577" cy="1204615"/>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de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derat" pitchFamily="2" charset="77"/>
              </a:defRPr>
            </a:lvl1pPr>
          </a:lstStyle>
          <a:p>
            <a:fld id="{10E9C538-C8E4-C149-A79A-26FC6BA40608}" type="datetimeFigureOut">
              <a:rPr lang="en-US" smtClean="0"/>
              <a:pPr/>
              <a:t>1/14/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de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derat" pitchFamily="2" charset="77"/>
              </a:defRPr>
            </a:lvl1pPr>
          </a:lstStyle>
          <a:p>
            <a:fld id="{28EB7FDC-256D-4F41-82E5-7B6D0C44132D}" type="slidenum">
              <a:rPr lang="en-US" smtClean="0"/>
              <a:pPr/>
              <a:t>‹#›</a:t>
            </a:fld>
            <a:endParaRPr lang="en-US"/>
          </a:p>
        </p:txBody>
      </p:sp>
    </p:spTree>
    <p:extLst>
      <p:ext uri="{BB962C8B-B14F-4D97-AF65-F5344CB8AC3E}">
        <p14:creationId xmlns:p14="http://schemas.microsoft.com/office/powerpoint/2010/main" val="4163334376"/>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derat" pitchFamily="2" charset="77"/>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l">
              <a:buAutoNum type="arabicPeriod"/>
            </a:pPr>
            <a:r>
              <a:rPr lang="en-US">
                <a:solidFill>
                  <a:schemeClr val="accent6"/>
                </a:solidFill>
              </a:rPr>
              <a:t>GCCs are a growing industry</a:t>
            </a:r>
          </a:p>
          <a:p>
            <a:pPr marL="342900" indent="-342900" algn="l">
              <a:buAutoNum type="arabicPeriod"/>
            </a:pPr>
            <a:r>
              <a:rPr lang="en-US">
                <a:solidFill>
                  <a:schemeClr val="accent6"/>
                </a:solidFill>
              </a:rPr>
              <a:t>ANSR is a market leader in the GCC domain</a:t>
            </a:r>
          </a:p>
          <a:p>
            <a:pPr marL="342900" indent="-342900" algn="l">
              <a:buAutoNum type="arabicPeriod"/>
            </a:pPr>
            <a:r>
              <a:rPr lang="en-US">
                <a:solidFill>
                  <a:schemeClr val="accent6"/>
                </a:solidFill>
              </a:rPr>
              <a:t>Common challenges by GCCS</a:t>
            </a:r>
          </a:p>
          <a:p>
            <a:pPr marL="342900" indent="-342900" algn="l">
              <a:buAutoNum type="arabicPeriod"/>
            </a:pPr>
            <a:r>
              <a:rPr lang="en-US">
                <a:solidFill>
                  <a:schemeClr val="accent6"/>
                </a:solidFill>
              </a:rPr>
              <a:t>What is the long term, sustainable solution?</a:t>
            </a:r>
          </a:p>
          <a:p>
            <a:pPr marL="342900" indent="-342900" algn="l">
              <a:buAutoNum type="arabicPeriod"/>
            </a:pPr>
            <a:r>
              <a:rPr lang="en-US">
                <a:solidFill>
                  <a:schemeClr val="accent6"/>
                </a:solidFill>
              </a:rPr>
              <a:t>What are our offers?</a:t>
            </a:r>
          </a:p>
          <a:p>
            <a:pPr marL="342900" indent="-342900" algn="l">
              <a:buAutoNum type="arabicPeriod"/>
            </a:pPr>
            <a:r>
              <a:rPr lang="en-US">
                <a:solidFill>
                  <a:schemeClr val="accent6"/>
                </a:solidFill>
              </a:rPr>
              <a:t>What do they cost?</a:t>
            </a:r>
          </a:p>
          <a:p>
            <a:endParaRPr lang="en-IN"/>
          </a:p>
          <a:p>
            <a:endParaRPr lang="en-IN"/>
          </a:p>
        </p:txBody>
      </p:sp>
      <p:sp>
        <p:nvSpPr>
          <p:cNvPr id="4" name="Slide Number Placeholder 3"/>
          <p:cNvSpPr>
            <a:spLocks noGrp="1"/>
          </p:cNvSpPr>
          <p:nvPr>
            <p:ph type="sldNum" sz="quarter" idx="5"/>
          </p:nvPr>
        </p:nvSpPr>
        <p:spPr/>
        <p:txBody>
          <a:bodyPr/>
          <a:lstStyle/>
          <a:p>
            <a:fld id="{28EB7FDC-256D-4F41-82E5-7B6D0C44132D}" type="slidenum">
              <a:rPr lang="en-US" smtClean="0"/>
              <a:pPr/>
              <a:t>1</a:t>
            </a:fld>
            <a:endParaRPr lang="en-US"/>
          </a:p>
        </p:txBody>
      </p:sp>
    </p:spTree>
    <p:extLst>
      <p:ext uri="{BB962C8B-B14F-4D97-AF65-F5344CB8AC3E}">
        <p14:creationId xmlns:p14="http://schemas.microsoft.com/office/powerpoint/2010/main" val="2597969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28EB7FDC-256D-4F41-82E5-7B6D0C44132D}" type="slidenum">
              <a:rPr lang="en-US" smtClean="0"/>
              <a:pPr/>
              <a:t>32</a:t>
            </a:fld>
            <a:endParaRPr lang="en-US" dirty="0"/>
          </a:p>
        </p:txBody>
      </p:sp>
    </p:spTree>
    <p:extLst>
      <p:ext uri="{BB962C8B-B14F-4D97-AF65-F5344CB8AC3E}">
        <p14:creationId xmlns:p14="http://schemas.microsoft.com/office/powerpoint/2010/main" val="2199664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28EB7FDC-256D-4F41-82E5-7B6D0C44132D}" type="slidenum">
              <a:rPr lang="en-US" smtClean="0"/>
              <a:pPr/>
              <a:t>33</a:t>
            </a:fld>
            <a:endParaRPr lang="en-US" dirty="0"/>
          </a:p>
        </p:txBody>
      </p:sp>
    </p:spTree>
    <p:extLst>
      <p:ext uri="{BB962C8B-B14F-4D97-AF65-F5344CB8AC3E}">
        <p14:creationId xmlns:p14="http://schemas.microsoft.com/office/powerpoint/2010/main" val="30978683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28EB7FDC-256D-4F41-82E5-7B6D0C44132D}" type="slidenum">
              <a:rPr lang="en-US" smtClean="0"/>
              <a:pPr/>
              <a:t>34</a:t>
            </a:fld>
            <a:endParaRPr lang="en-US" dirty="0"/>
          </a:p>
        </p:txBody>
      </p:sp>
    </p:spTree>
    <p:extLst>
      <p:ext uri="{BB962C8B-B14F-4D97-AF65-F5344CB8AC3E}">
        <p14:creationId xmlns:p14="http://schemas.microsoft.com/office/powerpoint/2010/main" val="42761897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28EB7FDC-256D-4F41-82E5-7B6D0C44132D}" type="slidenum">
              <a:rPr lang="en-US" smtClean="0"/>
              <a:pPr/>
              <a:t>35</a:t>
            </a:fld>
            <a:endParaRPr lang="en-US" dirty="0"/>
          </a:p>
        </p:txBody>
      </p:sp>
    </p:spTree>
    <p:extLst>
      <p:ext uri="{BB962C8B-B14F-4D97-AF65-F5344CB8AC3E}">
        <p14:creationId xmlns:p14="http://schemas.microsoft.com/office/powerpoint/2010/main" val="33167660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28EB7FDC-256D-4F41-82E5-7B6D0C44132D}" type="slidenum">
              <a:rPr lang="en-US" smtClean="0"/>
              <a:pPr/>
              <a:t>36</a:t>
            </a:fld>
            <a:endParaRPr lang="en-US" dirty="0"/>
          </a:p>
        </p:txBody>
      </p:sp>
    </p:spTree>
    <p:extLst>
      <p:ext uri="{BB962C8B-B14F-4D97-AF65-F5344CB8AC3E}">
        <p14:creationId xmlns:p14="http://schemas.microsoft.com/office/powerpoint/2010/main" val="34572387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8EB7FDC-256D-4F41-82E5-7B6D0C44132D}" type="slidenum">
              <a:rPr lang="en-US" smtClean="0"/>
              <a:pPr/>
              <a:t>11</a:t>
            </a:fld>
            <a:endParaRPr lang="en-US"/>
          </a:p>
        </p:txBody>
      </p:sp>
    </p:spTree>
    <p:extLst>
      <p:ext uri="{BB962C8B-B14F-4D97-AF65-F5344CB8AC3E}">
        <p14:creationId xmlns:p14="http://schemas.microsoft.com/office/powerpoint/2010/main" val="32616170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8EB7FDC-256D-4F41-82E5-7B6D0C44132D}" type="slidenum">
              <a:rPr lang="en-US" smtClean="0"/>
              <a:pPr/>
              <a:t>18</a:t>
            </a:fld>
            <a:endParaRPr lang="en-US"/>
          </a:p>
        </p:txBody>
      </p:sp>
    </p:spTree>
    <p:extLst>
      <p:ext uri="{BB962C8B-B14F-4D97-AF65-F5344CB8AC3E}">
        <p14:creationId xmlns:p14="http://schemas.microsoft.com/office/powerpoint/2010/main" val="11322935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90CC53-8AF4-5C84-0EE4-90E5068984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C23B53-96F5-2608-6995-5940921920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1C6CE3-5B7E-9460-B562-FB101B29182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8140A37-1151-C12F-FB63-804C9C38F976}"/>
              </a:ext>
            </a:extLst>
          </p:cNvPr>
          <p:cNvSpPr>
            <a:spLocks noGrp="1"/>
          </p:cNvSpPr>
          <p:nvPr>
            <p:ph type="sldNum" sz="quarter" idx="5"/>
          </p:nvPr>
        </p:nvSpPr>
        <p:spPr/>
        <p:txBody>
          <a:bodyPr/>
          <a:lstStyle/>
          <a:p>
            <a:fld id="{28EB7FDC-256D-4F41-82E5-7B6D0C44132D}" type="slidenum">
              <a:rPr lang="en-US" smtClean="0"/>
              <a:pPr/>
              <a:t>23</a:t>
            </a:fld>
            <a:endParaRPr lang="en-US"/>
          </a:p>
        </p:txBody>
      </p:sp>
    </p:spTree>
    <p:extLst>
      <p:ext uri="{BB962C8B-B14F-4D97-AF65-F5344CB8AC3E}">
        <p14:creationId xmlns:p14="http://schemas.microsoft.com/office/powerpoint/2010/main" val="10964031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err="1"/>
              <a:t>oo</a:t>
            </a:r>
            <a:endParaRPr lang="en-US"/>
          </a:p>
          <a:p>
            <a:endParaRPr lang="en-IN"/>
          </a:p>
        </p:txBody>
      </p:sp>
      <p:sp>
        <p:nvSpPr>
          <p:cNvPr id="4" name="Slide Number Placeholder 3"/>
          <p:cNvSpPr>
            <a:spLocks noGrp="1"/>
          </p:cNvSpPr>
          <p:nvPr>
            <p:ph type="sldNum" sz="quarter" idx="5"/>
          </p:nvPr>
        </p:nvSpPr>
        <p:spPr/>
        <p:txBody>
          <a:bodyPr/>
          <a:lstStyle/>
          <a:p>
            <a:fld id="{28EB7FDC-256D-4F41-82E5-7B6D0C44132D}" type="slidenum">
              <a:rPr lang="en-US" smtClean="0"/>
              <a:pPr/>
              <a:t>27</a:t>
            </a:fld>
            <a:endParaRPr lang="en-US"/>
          </a:p>
        </p:txBody>
      </p:sp>
    </p:spTree>
    <p:extLst>
      <p:ext uri="{BB962C8B-B14F-4D97-AF65-F5344CB8AC3E}">
        <p14:creationId xmlns:p14="http://schemas.microsoft.com/office/powerpoint/2010/main" val="34892443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28EB7FDC-256D-4F41-82E5-7B6D0C44132D}" type="slidenum">
              <a:rPr lang="en-US" smtClean="0"/>
              <a:pPr/>
              <a:t>29</a:t>
            </a:fld>
            <a:endParaRPr lang="en-US" dirty="0"/>
          </a:p>
        </p:txBody>
      </p:sp>
    </p:spTree>
    <p:extLst>
      <p:ext uri="{BB962C8B-B14F-4D97-AF65-F5344CB8AC3E}">
        <p14:creationId xmlns:p14="http://schemas.microsoft.com/office/powerpoint/2010/main" val="31735791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28EB7FDC-256D-4F41-82E5-7B6D0C44132D}" type="slidenum">
              <a:rPr lang="en-US" smtClean="0"/>
              <a:pPr/>
              <a:t>30</a:t>
            </a:fld>
            <a:endParaRPr lang="en-US" dirty="0"/>
          </a:p>
        </p:txBody>
      </p:sp>
    </p:spTree>
    <p:extLst>
      <p:ext uri="{BB962C8B-B14F-4D97-AF65-F5344CB8AC3E}">
        <p14:creationId xmlns:p14="http://schemas.microsoft.com/office/powerpoint/2010/main" val="42359788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107C54-4B8A-39DC-FA69-6A57657EAC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924A78-D71D-A9FC-73A6-E399047FB2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7D5695-4724-346C-C7F5-494A3871A1CB}"/>
              </a:ext>
            </a:extLst>
          </p:cNvPr>
          <p:cNvSpPr>
            <a:spLocks noGrp="1"/>
          </p:cNvSpPr>
          <p:nvPr>
            <p:ph type="body" idx="1"/>
          </p:nvPr>
        </p:nvSpPr>
        <p:spPr/>
        <p:txBody>
          <a:bodyPr/>
          <a:lstStyle/>
          <a:p>
            <a:endParaRPr lang="en-IN" dirty="0"/>
          </a:p>
        </p:txBody>
      </p:sp>
      <p:sp>
        <p:nvSpPr>
          <p:cNvPr id="4" name="Slide Number Placeholder 3">
            <a:extLst>
              <a:ext uri="{FF2B5EF4-FFF2-40B4-BE49-F238E27FC236}">
                <a16:creationId xmlns:a16="http://schemas.microsoft.com/office/drawing/2014/main" id="{887B0AA3-7D99-B535-8F7D-237ABBD0C6A3}"/>
              </a:ext>
            </a:extLst>
          </p:cNvPr>
          <p:cNvSpPr>
            <a:spLocks noGrp="1"/>
          </p:cNvSpPr>
          <p:nvPr>
            <p:ph type="sldNum" sz="quarter" idx="5"/>
          </p:nvPr>
        </p:nvSpPr>
        <p:spPr/>
        <p:txBody>
          <a:bodyPr/>
          <a:lstStyle/>
          <a:p>
            <a:fld id="{28EB7FDC-256D-4F41-82E5-7B6D0C44132D}" type="slidenum">
              <a:rPr lang="en-US" smtClean="0"/>
              <a:pPr/>
              <a:t>31</a:t>
            </a:fld>
            <a:endParaRPr lang="en-US" dirty="0"/>
          </a:p>
        </p:txBody>
      </p:sp>
    </p:spTree>
    <p:extLst>
      <p:ext uri="{BB962C8B-B14F-4D97-AF65-F5344CB8AC3E}">
        <p14:creationId xmlns:p14="http://schemas.microsoft.com/office/powerpoint/2010/main" val="14231704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13.svg"/><Relationship Id="rId4" Type="http://schemas.openxmlformats.org/officeDocument/2006/relationships/image" Target="../media/image8.pn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2.xml"/><Relationship Id="rId7" Type="http://schemas.openxmlformats.org/officeDocument/2006/relationships/image" Target="../media/image12.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2.bin"/><Relationship Id="rId9" Type="http://schemas.openxmlformats.org/officeDocument/2006/relationships/image" Target="../media/image3.sv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2.bin"/><Relationship Id="rId9" Type="http://schemas.openxmlformats.org/officeDocument/2006/relationships/image" Target="../media/image5.sv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png"/><Relationship Id="rId11" Type="http://schemas.openxmlformats.org/officeDocument/2006/relationships/image" Target="../media/image12.svg"/><Relationship Id="rId5" Type="http://schemas.openxmlformats.org/officeDocument/2006/relationships/image" Target="../media/image10.emf"/><Relationship Id="rId10" Type="http://schemas.openxmlformats.org/officeDocument/2006/relationships/image" Target="../media/image11.png"/><Relationship Id="rId4" Type="http://schemas.openxmlformats.org/officeDocument/2006/relationships/oleObject" Target="../embeddings/oleObject2.bin"/><Relationship Id="rId9" Type="http://schemas.openxmlformats.org/officeDocument/2006/relationships/image" Target="../media/image5.sv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sv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sv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12.sv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2.bin"/><Relationship Id="rId9"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7.sv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6.png"/><Relationship Id="rId1" Type="http://schemas.openxmlformats.org/officeDocument/2006/relationships/slideMaster" Target="../slideMasters/slideMaster3.xml"/><Relationship Id="rId5" Type="http://schemas.openxmlformats.org/officeDocument/2006/relationships/image" Target="../media/image13.svg"/><Relationship Id="rId4" Type="http://schemas.openxmlformats.org/officeDocument/2006/relationships/image" Target="../media/image8.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3.xml"/><Relationship Id="rId7" Type="http://schemas.openxmlformats.org/officeDocument/2006/relationships/image" Target="../media/image12.sv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2.bin"/><Relationship Id="rId9" Type="http://schemas.openxmlformats.org/officeDocument/2006/relationships/image" Target="../media/image3.sv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3.xml"/><Relationship Id="rId7" Type="http://schemas.openxmlformats.org/officeDocument/2006/relationships/image" Target="../media/image3.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2.bin"/><Relationship Id="rId9" Type="http://schemas.openxmlformats.org/officeDocument/2006/relationships/image" Target="../media/image5.sv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3.xml"/><Relationship Id="rId7" Type="http://schemas.openxmlformats.org/officeDocument/2006/relationships/image" Target="../media/image3.sv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2.png"/><Relationship Id="rId11" Type="http://schemas.openxmlformats.org/officeDocument/2006/relationships/image" Target="../media/image12.svg"/><Relationship Id="rId5" Type="http://schemas.openxmlformats.org/officeDocument/2006/relationships/image" Target="../media/image10.emf"/><Relationship Id="rId10" Type="http://schemas.openxmlformats.org/officeDocument/2006/relationships/image" Target="../media/image11.png"/><Relationship Id="rId4" Type="http://schemas.openxmlformats.org/officeDocument/2006/relationships/oleObject" Target="../embeddings/oleObject2.bin"/><Relationship Id="rId9" Type="http://schemas.openxmlformats.org/officeDocument/2006/relationships/image" Target="../media/image5.sv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3.sv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2.bin"/><Relationship Id="rId9" Type="http://schemas.openxmlformats.org/officeDocument/2006/relationships/image" Target="../media/image5.svg"/></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3.sv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11" Type="http://schemas.openxmlformats.org/officeDocument/2006/relationships/image" Target="../media/image12.svg"/><Relationship Id="rId5" Type="http://schemas.openxmlformats.org/officeDocument/2006/relationships/image" Target="../media/image10.emf"/><Relationship Id="rId10" Type="http://schemas.openxmlformats.org/officeDocument/2006/relationships/image" Target="../media/image11.png"/><Relationship Id="rId4" Type="http://schemas.openxmlformats.org/officeDocument/2006/relationships/oleObject" Target="../embeddings/oleObject2.bin"/><Relationship Id="rId9" Type="http://schemas.openxmlformats.org/officeDocument/2006/relationships/image" Target="../media/image5.sv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17.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6.png"/><Relationship Id="rId1" Type="http://schemas.openxmlformats.org/officeDocument/2006/relationships/slideMaster" Target="../slideMasters/slideMaster4.xml"/><Relationship Id="rId5" Type="http://schemas.openxmlformats.org/officeDocument/2006/relationships/image" Target="../media/image13.svg"/><Relationship Id="rId4" Type="http://schemas.openxmlformats.org/officeDocument/2006/relationships/image" Target="../media/image8.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4.xml"/><Relationship Id="rId7" Type="http://schemas.openxmlformats.org/officeDocument/2006/relationships/image" Target="../media/image12.sv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2.bin"/><Relationship Id="rId9" Type="http://schemas.openxmlformats.org/officeDocument/2006/relationships/image" Target="../media/image3.svg"/></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4.xml"/><Relationship Id="rId7" Type="http://schemas.openxmlformats.org/officeDocument/2006/relationships/image" Target="../media/image3.sv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2.bin"/><Relationship Id="rId9" Type="http://schemas.openxmlformats.org/officeDocument/2006/relationships/image" Target="../media/image19.sv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4.xml"/><Relationship Id="rId7" Type="http://schemas.openxmlformats.org/officeDocument/2006/relationships/image" Target="../media/image3.sv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2.png"/><Relationship Id="rId11" Type="http://schemas.openxmlformats.org/officeDocument/2006/relationships/image" Target="../media/image12.svg"/><Relationship Id="rId5" Type="http://schemas.openxmlformats.org/officeDocument/2006/relationships/image" Target="../media/image10.emf"/><Relationship Id="rId10" Type="http://schemas.openxmlformats.org/officeDocument/2006/relationships/image" Target="../media/image11.png"/><Relationship Id="rId4" Type="http://schemas.openxmlformats.org/officeDocument/2006/relationships/oleObject" Target="../embeddings/oleObject2.bin"/><Relationship Id="rId9" Type="http://schemas.openxmlformats.org/officeDocument/2006/relationships/image" Target="../media/image19.svg"/></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3.sv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sv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3.sv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3.sv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sv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742251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lide 1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txBody>
          <a:bodyPr/>
          <a:lstStyle/>
          <a:p>
            <a:endParaRPr lang="en-US" sz="1200" b="0" i="0">
              <a:latin typeface="Moderat" pitchFamily="2" charset="77"/>
            </a:endParaRPr>
          </a:p>
        </p:txBody>
      </p:sp>
      <p:sp>
        <p:nvSpPr>
          <p:cNvPr id="3" name="Shape 1"/>
          <p:cNvSpPr/>
          <p:nvPr userDrawn="1"/>
        </p:nvSpPr>
        <p:spPr>
          <a:xfrm>
            <a:off x="0" y="0"/>
            <a:ext cx="12192000" cy="6858000"/>
          </a:xfrm>
          <a:prstGeom prst="rect">
            <a:avLst/>
          </a:prstGeom>
          <a:solidFill>
            <a:schemeClr val="bg1"/>
          </a:solidFill>
          <a:ln/>
        </p:spPr>
        <p:txBody>
          <a:bodyPr/>
          <a:lstStyle/>
          <a:p>
            <a:endParaRPr lang="en-US" sz="1200" b="0" i="0">
              <a:latin typeface="Moderat" pitchFamily="2" charset="77"/>
            </a:endParaRPr>
          </a:p>
        </p:txBody>
      </p:sp>
      <p:pic>
        <p:nvPicPr>
          <p:cNvPr id="4" name="Graphic 3">
            <a:extLst>
              <a:ext uri="{FF2B5EF4-FFF2-40B4-BE49-F238E27FC236}">
                <a16:creationId xmlns:a16="http://schemas.microsoft.com/office/drawing/2014/main" id="{13169B8B-20BD-A1AE-56E1-E6B6D61719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9116" y="209498"/>
            <a:ext cx="1528946" cy="547891"/>
          </a:xfrm>
          <a:prstGeom prst="rect">
            <a:avLst/>
          </a:prstGeom>
        </p:spPr>
      </p:pic>
    </p:spTree>
    <p:extLst>
      <p:ext uri="{BB962C8B-B14F-4D97-AF65-F5344CB8AC3E}">
        <p14:creationId xmlns:p14="http://schemas.microsoft.com/office/powerpoint/2010/main" val="36910472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Slide 1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txBody>
          <a:bodyPr/>
          <a:lstStyle/>
          <a:p>
            <a:endParaRPr lang="en-US" sz="1200" b="0" i="0">
              <a:latin typeface="Moderat" pitchFamily="2" charset="77"/>
            </a:endParaRPr>
          </a:p>
        </p:txBody>
      </p:sp>
      <p:sp>
        <p:nvSpPr>
          <p:cNvPr id="3" name="Shape 1"/>
          <p:cNvSpPr/>
          <p:nvPr userDrawn="1"/>
        </p:nvSpPr>
        <p:spPr>
          <a:xfrm>
            <a:off x="0" y="0"/>
            <a:ext cx="12192000" cy="6858000"/>
          </a:xfrm>
          <a:prstGeom prst="rect">
            <a:avLst/>
          </a:prstGeom>
          <a:solidFill>
            <a:schemeClr val="bg1"/>
          </a:solidFill>
          <a:ln/>
        </p:spPr>
        <p:txBody>
          <a:bodyPr/>
          <a:lstStyle/>
          <a:p>
            <a:endParaRPr lang="en-US" sz="1200" b="0" i="0">
              <a:latin typeface="Moderat" pitchFamily="2" charset="77"/>
            </a:endParaRPr>
          </a:p>
        </p:txBody>
      </p:sp>
    </p:spTree>
    <p:extLst>
      <p:ext uri="{BB962C8B-B14F-4D97-AF65-F5344CB8AC3E}">
        <p14:creationId xmlns:p14="http://schemas.microsoft.com/office/powerpoint/2010/main" val="22432175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Slide 1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txBody>
          <a:bodyPr/>
          <a:lstStyle/>
          <a:p>
            <a:endParaRPr lang="en-US" sz="1200" b="0" i="0">
              <a:latin typeface="Moderat" pitchFamily="2" charset="77"/>
            </a:endParaRPr>
          </a:p>
        </p:txBody>
      </p:sp>
      <p:sp>
        <p:nvSpPr>
          <p:cNvPr id="3" name="Shape 1"/>
          <p:cNvSpPr/>
          <p:nvPr userDrawn="1"/>
        </p:nvSpPr>
        <p:spPr>
          <a:xfrm>
            <a:off x="0" y="0"/>
            <a:ext cx="12192000" cy="6858000"/>
          </a:xfrm>
          <a:prstGeom prst="rect">
            <a:avLst/>
          </a:prstGeom>
          <a:solidFill>
            <a:schemeClr val="bg1"/>
          </a:solidFill>
          <a:ln/>
        </p:spPr>
        <p:txBody>
          <a:bodyPr/>
          <a:lstStyle/>
          <a:p>
            <a:endParaRPr lang="en-US" sz="1200" b="0" i="0">
              <a:latin typeface="Moderat" pitchFamily="2" charset="77"/>
            </a:endParaRPr>
          </a:p>
        </p:txBody>
      </p:sp>
    </p:spTree>
    <p:extLst>
      <p:ext uri="{BB962C8B-B14F-4D97-AF65-F5344CB8AC3E}">
        <p14:creationId xmlns:p14="http://schemas.microsoft.com/office/powerpoint/2010/main" val="29730664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lide 2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37360559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lide 3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17260288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lide 4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18569376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lide 5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17061191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lide 6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20988597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lide 7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19019266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lide 8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11235698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Slide - Option 3">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858EFAB-9CC3-E4AB-000E-7600123E5884}"/>
              </a:ext>
            </a:extLst>
          </p:cNvPr>
          <p:cNvSpPr/>
          <p:nvPr userDrawn="1"/>
        </p:nvSpPr>
        <p:spPr>
          <a:xfrm>
            <a:off x="-69573" y="0"/>
            <a:ext cx="12261574" cy="6858000"/>
          </a:xfrm>
          <a:prstGeom prst="rect">
            <a:avLst/>
          </a:prstGeom>
          <a:gradFill flip="none" rotWithShape="1">
            <a:gsLst>
              <a:gs pos="0">
                <a:schemeClr val="accent6"/>
              </a:gs>
              <a:gs pos="21000">
                <a:schemeClr val="accent6"/>
              </a:gs>
              <a:gs pos="100000">
                <a:schemeClr val="tx1"/>
              </a:gs>
            </a:gsLst>
            <a:path path="circle">
              <a:fillToRect l="100000" t="100000"/>
            </a:path>
            <a:tileRect r="-100000" b="-10000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pic>
        <p:nvPicPr>
          <p:cNvPr id="15" name="Graphic 14">
            <a:extLst>
              <a:ext uri="{FF2B5EF4-FFF2-40B4-BE49-F238E27FC236}">
                <a16:creationId xmlns:a16="http://schemas.microsoft.com/office/drawing/2014/main" id="{A01BE783-CD6E-1E96-645E-599A232F897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30609" y="2529407"/>
            <a:ext cx="5020819" cy="1799191"/>
          </a:xfrm>
          <a:prstGeom prst="rect">
            <a:avLst/>
          </a:prstGeom>
        </p:spPr>
      </p:pic>
      <p:pic>
        <p:nvPicPr>
          <p:cNvPr id="17" name="Graphic 16">
            <a:extLst>
              <a:ext uri="{FF2B5EF4-FFF2-40B4-BE49-F238E27FC236}">
                <a16:creationId xmlns:a16="http://schemas.microsoft.com/office/drawing/2014/main" id="{E5377D23-7D4A-BA09-CAE1-A10B62FEA6C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240159" y="1764195"/>
            <a:ext cx="7911549" cy="8191603"/>
          </a:xfrm>
          <a:prstGeom prst="rect">
            <a:avLst/>
          </a:prstGeom>
        </p:spPr>
      </p:pic>
    </p:spTree>
    <p:extLst>
      <p:ext uri="{BB962C8B-B14F-4D97-AF65-F5344CB8AC3E}">
        <p14:creationId xmlns:p14="http://schemas.microsoft.com/office/powerpoint/2010/main" val="13725013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afterEffect">
                                  <p:stCondLst>
                                    <p:cond delay="0"/>
                                  </p:stCondLst>
                                  <p:childTnLst>
                                    <p:animRot by="21600000">
                                      <p:cBhvr>
                                        <p:cTn id="6" dur="40000" fill="hold"/>
                                        <p:tgtEl>
                                          <p:spTgt spid="1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lide 9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17279137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lide 10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1701178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lide 11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30536244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61269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ver Slide - Option 3">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858EFAB-9CC3-E4AB-000E-7600123E5884}"/>
              </a:ext>
            </a:extLst>
          </p:cNvPr>
          <p:cNvSpPr/>
          <p:nvPr userDrawn="1"/>
        </p:nvSpPr>
        <p:spPr>
          <a:xfrm>
            <a:off x="-69574" y="0"/>
            <a:ext cx="12261574" cy="6858000"/>
          </a:xfrm>
          <a:prstGeom prst="rect">
            <a:avLst/>
          </a:prstGeom>
          <a:gradFill flip="none" rotWithShape="1">
            <a:gsLst>
              <a:gs pos="0">
                <a:schemeClr val="accent6"/>
              </a:gs>
              <a:gs pos="21000">
                <a:schemeClr val="accent6"/>
              </a:gs>
              <a:gs pos="100000">
                <a:schemeClr val="tx1"/>
              </a:gs>
            </a:gsLst>
            <a:path path="circle">
              <a:fillToRect l="100000" t="100000"/>
            </a:path>
            <a:tileRect r="-100000" b="-10000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pic>
        <p:nvPicPr>
          <p:cNvPr id="15" name="Graphic 14">
            <a:extLst>
              <a:ext uri="{FF2B5EF4-FFF2-40B4-BE49-F238E27FC236}">
                <a16:creationId xmlns:a16="http://schemas.microsoft.com/office/drawing/2014/main" id="{A01BE783-CD6E-1E96-645E-599A232F897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30607" y="2529406"/>
            <a:ext cx="5020819" cy="1799191"/>
          </a:xfrm>
          <a:prstGeom prst="rect">
            <a:avLst/>
          </a:prstGeom>
        </p:spPr>
      </p:pic>
      <p:pic>
        <p:nvPicPr>
          <p:cNvPr id="17" name="Graphic 16">
            <a:extLst>
              <a:ext uri="{FF2B5EF4-FFF2-40B4-BE49-F238E27FC236}">
                <a16:creationId xmlns:a16="http://schemas.microsoft.com/office/drawing/2014/main" id="{E5377D23-7D4A-BA09-CAE1-A10B62FEA6C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240158" y="1764194"/>
            <a:ext cx="7911548" cy="8191603"/>
          </a:xfrm>
          <a:prstGeom prst="rect">
            <a:avLst/>
          </a:prstGeom>
        </p:spPr>
      </p:pic>
    </p:spTree>
    <p:extLst>
      <p:ext uri="{BB962C8B-B14F-4D97-AF65-F5344CB8AC3E}">
        <p14:creationId xmlns:p14="http://schemas.microsoft.com/office/powerpoint/2010/main" val="2272895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afterEffect">
                                  <p:stCondLst>
                                    <p:cond delay="0"/>
                                  </p:stCondLst>
                                  <p:childTnLst>
                                    <p:animRot by="21600000">
                                      <p:cBhvr>
                                        <p:cTn id="6" dur="40000" fill="hold"/>
                                        <p:tgtEl>
                                          <p:spTgt spid="1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Slide - Option 6">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FA3C78D8-A713-F476-D34B-636F595B80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25935" y="739756"/>
            <a:ext cx="5020819" cy="5198547"/>
          </a:xfrm>
          <a:prstGeom prst="rect">
            <a:avLst/>
          </a:prstGeom>
        </p:spPr>
      </p:pic>
      <p:pic>
        <p:nvPicPr>
          <p:cNvPr id="4" name="Graphic 3">
            <a:extLst>
              <a:ext uri="{FF2B5EF4-FFF2-40B4-BE49-F238E27FC236}">
                <a16:creationId xmlns:a16="http://schemas.microsoft.com/office/drawing/2014/main" id="{E5CA6CA0-5864-EB66-40E1-3C91689ADD8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752883" y="209497"/>
            <a:ext cx="1135179" cy="406787"/>
          </a:xfrm>
          <a:prstGeom prst="rect">
            <a:avLst/>
          </a:prstGeom>
        </p:spPr>
      </p:pic>
      <p:cxnSp>
        <p:nvCxnSpPr>
          <p:cNvPr id="5" name="Straight Connector 4">
            <a:extLst>
              <a:ext uri="{FF2B5EF4-FFF2-40B4-BE49-F238E27FC236}">
                <a16:creationId xmlns:a16="http://schemas.microsoft.com/office/drawing/2014/main" id="{DA129EFA-886A-FCA0-8534-CAE9C1D592B8}"/>
              </a:ext>
            </a:extLst>
          </p:cNvPr>
          <p:cNvCxnSpPr>
            <a:cxnSpLocks/>
          </p:cNvCxnSpPr>
          <p:nvPr userDrawn="1"/>
        </p:nvCxnSpPr>
        <p:spPr>
          <a:xfrm>
            <a:off x="225397" y="6275562"/>
            <a:ext cx="1165186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22878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4B354C-42BE-652A-D346-D7A43BA2023F}"/>
              </a:ext>
            </a:extLst>
          </p:cNvPr>
          <p:cNvSpPr/>
          <p:nvPr userDrawn="1"/>
        </p:nvSpPr>
        <p:spPr>
          <a:xfrm>
            <a:off x="-69574" y="0"/>
            <a:ext cx="12261574" cy="6858000"/>
          </a:xfrm>
          <a:prstGeom prst="rect">
            <a:avLst/>
          </a:prstGeom>
          <a:gradFill flip="none" rotWithShape="1">
            <a:gsLst>
              <a:gs pos="0">
                <a:schemeClr val="accent6"/>
              </a:gs>
              <a:gs pos="21000">
                <a:schemeClr val="accent6"/>
              </a:gs>
              <a:gs pos="100000">
                <a:schemeClr val="tx1"/>
              </a:gs>
            </a:gsLst>
            <a:path path="circle">
              <a:fillToRect l="100000" t="100000"/>
            </a:path>
            <a:tileRect r="-100000" b="-10000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graphicFrame>
        <p:nvGraphicFramePr>
          <p:cNvPr id="13" name="Object 12" hidden="1">
            <a:extLst>
              <a:ext uri="{FF2B5EF4-FFF2-40B4-BE49-F238E27FC236}">
                <a16:creationId xmlns:a16="http://schemas.microsoft.com/office/drawing/2014/main" id="{41EA3683-38AC-4146-9920-CD1009D111A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41EA3683-38AC-4146-9920-CD1009D111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42BF874-8D4A-4A2B-BC9A-086A7D8531F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IN" sz="3200" b="1" i="0" baseline="0">
              <a:latin typeface="Mont Regular" pitchFamily="2" charset="0"/>
              <a:ea typeface="+mj-ea"/>
              <a:cs typeface="+mj-cs"/>
              <a:sym typeface="Roboto" pitchFamily="2" charset="0"/>
            </a:endParaRPr>
          </a:p>
        </p:txBody>
      </p:sp>
      <p:sp>
        <p:nvSpPr>
          <p:cNvPr id="10" name="Footer Placeholder 4">
            <a:extLst>
              <a:ext uri="{FF2B5EF4-FFF2-40B4-BE49-F238E27FC236}">
                <a16:creationId xmlns:a16="http://schemas.microsoft.com/office/drawing/2014/main" id="{4B5A5E8B-62A3-E2C7-3765-431720C49555}"/>
              </a:ext>
            </a:extLst>
          </p:cNvPr>
          <p:cNvSpPr txBox="1">
            <a:spLocks/>
          </p:cNvSpPr>
          <p:nvPr userDrawn="1"/>
        </p:nvSpPr>
        <p:spPr>
          <a:xfrm>
            <a:off x="9551503" y="6430411"/>
            <a:ext cx="2325757" cy="163827"/>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ANSR.COM</a:t>
            </a:r>
            <a:endParaRPr lang="en-IN" sz="1000" b="0" i="0">
              <a:solidFill>
                <a:schemeClr val="bg1"/>
              </a:solidFill>
              <a:latin typeface="Moderat" pitchFamily="2" charset="77"/>
            </a:endParaRPr>
          </a:p>
        </p:txBody>
      </p:sp>
      <p:sp>
        <p:nvSpPr>
          <p:cNvPr id="14" name="Footer Placeholder 4">
            <a:extLst>
              <a:ext uri="{FF2B5EF4-FFF2-40B4-BE49-F238E27FC236}">
                <a16:creationId xmlns:a16="http://schemas.microsoft.com/office/drawing/2014/main" id="{D2DDA43D-015A-9066-9393-5C1235ECEF38}"/>
              </a:ext>
            </a:extLst>
          </p:cNvPr>
          <p:cNvSpPr txBox="1">
            <a:spLocks/>
          </p:cNvSpPr>
          <p:nvPr userDrawn="1"/>
        </p:nvSpPr>
        <p:spPr>
          <a:xfrm>
            <a:off x="5446643" y="6430410"/>
            <a:ext cx="1769165" cy="163826"/>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BETTER OUTCOMES.</a:t>
            </a:r>
            <a:endParaRPr lang="en-IN" sz="1000" b="0" i="0">
              <a:solidFill>
                <a:schemeClr val="bg1"/>
              </a:solidFill>
              <a:latin typeface="Moderat" pitchFamily="2" charset="77"/>
            </a:endParaRPr>
          </a:p>
        </p:txBody>
      </p:sp>
      <p:cxnSp>
        <p:nvCxnSpPr>
          <p:cNvPr id="16" name="Straight Connector 15">
            <a:extLst>
              <a:ext uri="{FF2B5EF4-FFF2-40B4-BE49-F238E27FC236}">
                <a16:creationId xmlns:a16="http://schemas.microsoft.com/office/drawing/2014/main" id="{916A0C90-F3CE-D930-A10A-9D170E8723E9}"/>
              </a:ext>
            </a:extLst>
          </p:cNvPr>
          <p:cNvCxnSpPr>
            <a:cxnSpLocks/>
          </p:cNvCxnSpPr>
          <p:nvPr userDrawn="1"/>
        </p:nvCxnSpPr>
        <p:spPr>
          <a:xfrm>
            <a:off x="225397" y="6275562"/>
            <a:ext cx="11651865"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D24B0A79-9692-0DC0-56BD-139DE972B8D2}"/>
              </a:ext>
            </a:extLst>
          </p:cNvPr>
          <p:cNvPicPr>
            <a:picLocks noChangeAspect="1"/>
          </p:cNvPicPr>
          <p:nvPr userDrawn="1"/>
        </p:nvPicPr>
        <p:blipFill>
          <a:blip r:embed="rId6">
            <a:extLst>
              <a:ext uri="{96DAC541-7B7A-43D3-8B79-37D633B846F1}">
                <asvg:svgBlip xmlns:asvg="http://schemas.microsoft.com/office/drawing/2016/SVG/main" r:embed="rId7"/>
              </a:ext>
            </a:extLst>
          </a:blip>
          <a:srcRect l="37031"/>
          <a:stretch/>
        </p:blipFill>
        <p:spPr>
          <a:xfrm>
            <a:off x="225395" y="6318690"/>
            <a:ext cx="738168" cy="420078"/>
          </a:xfrm>
          <a:prstGeom prst="rect">
            <a:avLst/>
          </a:prstGeom>
        </p:spPr>
      </p:pic>
      <p:pic>
        <p:nvPicPr>
          <p:cNvPr id="25" name="Graphic 24">
            <a:extLst>
              <a:ext uri="{FF2B5EF4-FFF2-40B4-BE49-F238E27FC236}">
                <a16:creationId xmlns:a16="http://schemas.microsoft.com/office/drawing/2014/main" id="{00882F37-A5EB-C317-5C60-CEE42404FF0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58611" y="659698"/>
            <a:ext cx="2605547" cy="933688"/>
          </a:xfrm>
          <a:prstGeom prst="rect">
            <a:avLst/>
          </a:prstGeom>
        </p:spPr>
      </p:pic>
      <p:sp>
        <p:nvSpPr>
          <p:cNvPr id="26" name="Footer Placeholder 4">
            <a:extLst>
              <a:ext uri="{FF2B5EF4-FFF2-40B4-BE49-F238E27FC236}">
                <a16:creationId xmlns:a16="http://schemas.microsoft.com/office/drawing/2014/main" id="{BA5D6940-8AD1-C383-9784-C6691B42A7C9}"/>
              </a:ext>
            </a:extLst>
          </p:cNvPr>
          <p:cNvSpPr txBox="1">
            <a:spLocks/>
          </p:cNvSpPr>
          <p:nvPr userDrawn="1"/>
        </p:nvSpPr>
        <p:spPr>
          <a:xfrm>
            <a:off x="7275485" y="6430410"/>
            <a:ext cx="1946082" cy="163826"/>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 COPYRIGHT ANSR INC.</a:t>
            </a:r>
            <a:endParaRPr lang="en-IN" sz="1000" b="0" i="0">
              <a:solidFill>
                <a:schemeClr val="bg1"/>
              </a:solidFill>
              <a:latin typeface="Moderat" pitchFamily="2" charset="77"/>
            </a:endParaRPr>
          </a:p>
        </p:txBody>
      </p:sp>
    </p:spTree>
    <p:extLst>
      <p:ext uri="{BB962C8B-B14F-4D97-AF65-F5344CB8AC3E}">
        <p14:creationId xmlns:p14="http://schemas.microsoft.com/office/powerpoint/2010/main" val="29043725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Divider -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4B354C-42BE-652A-D346-D7A43BA2023F}"/>
              </a:ext>
            </a:extLst>
          </p:cNvPr>
          <p:cNvSpPr/>
          <p:nvPr userDrawn="1"/>
        </p:nvSpPr>
        <p:spPr>
          <a:xfrm>
            <a:off x="-69574" y="0"/>
            <a:ext cx="12261574" cy="6858000"/>
          </a:xfrm>
          <a:prstGeom prst="rect">
            <a:avLst/>
          </a:prstGeom>
          <a:gradFill flip="none" rotWithShape="1">
            <a:gsLst>
              <a:gs pos="0">
                <a:schemeClr val="accent6"/>
              </a:gs>
              <a:gs pos="21000">
                <a:schemeClr val="accent6"/>
              </a:gs>
              <a:gs pos="100000">
                <a:schemeClr val="tx1"/>
              </a:gs>
            </a:gsLst>
            <a:path path="circle">
              <a:fillToRect t="100000" r="100000"/>
            </a:path>
            <a:tileRect l="-100000" b="-10000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graphicFrame>
        <p:nvGraphicFramePr>
          <p:cNvPr id="13" name="Object 12" hidden="1">
            <a:extLst>
              <a:ext uri="{FF2B5EF4-FFF2-40B4-BE49-F238E27FC236}">
                <a16:creationId xmlns:a16="http://schemas.microsoft.com/office/drawing/2014/main" id="{41EA3683-38AC-4146-9920-CD1009D111A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41EA3683-38AC-4146-9920-CD1009D111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42BF874-8D4A-4A2B-BC9A-086A7D8531F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IN" sz="3200" b="1" i="0" baseline="0">
              <a:latin typeface="Mont Regular" pitchFamily="2" charset="0"/>
              <a:ea typeface="+mj-ea"/>
              <a:cs typeface="+mj-cs"/>
              <a:sym typeface="Roboto" pitchFamily="2" charset="0"/>
            </a:endParaRPr>
          </a:p>
        </p:txBody>
      </p:sp>
      <p:pic>
        <p:nvPicPr>
          <p:cNvPr id="2" name="Graphic 1">
            <a:extLst>
              <a:ext uri="{FF2B5EF4-FFF2-40B4-BE49-F238E27FC236}">
                <a16:creationId xmlns:a16="http://schemas.microsoft.com/office/drawing/2014/main" id="{559286CD-B938-C8F3-76B3-FED00326B6C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66512" y="253827"/>
            <a:ext cx="1510564" cy="541305"/>
          </a:xfrm>
          <a:prstGeom prst="rect">
            <a:avLst/>
          </a:prstGeom>
        </p:spPr>
      </p:pic>
      <p:pic>
        <p:nvPicPr>
          <p:cNvPr id="5" name="Graphic 4">
            <a:extLst>
              <a:ext uri="{FF2B5EF4-FFF2-40B4-BE49-F238E27FC236}">
                <a16:creationId xmlns:a16="http://schemas.microsoft.com/office/drawing/2014/main" id="{B8C8C085-D472-90A5-6E85-252F1C99405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3588027" y="889553"/>
            <a:ext cx="7911548" cy="8191603"/>
          </a:xfrm>
          <a:prstGeom prst="rect">
            <a:avLst/>
          </a:prstGeom>
        </p:spPr>
      </p:pic>
    </p:spTree>
    <p:extLst>
      <p:ext uri="{BB962C8B-B14F-4D97-AF65-F5344CB8AC3E}">
        <p14:creationId xmlns:p14="http://schemas.microsoft.com/office/powerpoint/2010/main" val="3158374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afterEffect">
                                  <p:stCondLst>
                                    <p:cond delay="0"/>
                                  </p:stCondLst>
                                  <p:childTnLst>
                                    <p:animRot by="21600000">
                                      <p:cBhvr>
                                        <p:cTn id="6" dur="40000" fill="hold"/>
                                        <p:tgtEl>
                                          <p:spTgt spid="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Section Divider -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4B354C-42BE-652A-D346-D7A43BA2023F}"/>
              </a:ext>
            </a:extLst>
          </p:cNvPr>
          <p:cNvSpPr/>
          <p:nvPr userDrawn="1"/>
        </p:nvSpPr>
        <p:spPr>
          <a:xfrm>
            <a:off x="-69574" y="0"/>
            <a:ext cx="12261574" cy="6858000"/>
          </a:xfrm>
          <a:prstGeom prst="rect">
            <a:avLst/>
          </a:prstGeom>
          <a:gradFill flip="none" rotWithShape="1">
            <a:gsLst>
              <a:gs pos="0">
                <a:schemeClr val="accent6"/>
              </a:gs>
              <a:gs pos="21000">
                <a:schemeClr val="accent6"/>
              </a:gs>
              <a:gs pos="100000">
                <a:schemeClr val="tx1"/>
              </a:gs>
            </a:gsLst>
            <a:path path="circle">
              <a:fillToRect t="100000" r="100000"/>
            </a:path>
            <a:tileRect l="-100000" b="-10000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graphicFrame>
        <p:nvGraphicFramePr>
          <p:cNvPr id="13" name="Object 12" hidden="1">
            <a:extLst>
              <a:ext uri="{FF2B5EF4-FFF2-40B4-BE49-F238E27FC236}">
                <a16:creationId xmlns:a16="http://schemas.microsoft.com/office/drawing/2014/main" id="{41EA3683-38AC-4146-9920-CD1009D111A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41EA3683-38AC-4146-9920-CD1009D111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42BF874-8D4A-4A2B-BC9A-086A7D8531F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IN" sz="3200" b="1" i="0" baseline="0">
              <a:latin typeface="Mont Regular" pitchFamily="2" charset="0"/>
              <a:ea typeface="+mj-ea"/>
              <a:cs typeface="+mj-cs"/>
              <a:sym typeface="Roboto" pitchFamily="2" charset="0"/>
            </a:endParaRPr>
          </a:p>
        </p:txBody>
      </p:sp>
      <p:pic>
        <p:nvPicPr>
          <p:cNvPr id="2" name="Graphic 1">
            <a:extLst>
              <a:ext uri="{FF2B5EF4-FFF2-40B4-BE49-F238E27FC236}">
                <a16:creationId xmlns:a16="http://schemas.microsoft.com/office/drawing/2014/main" id="{559286CD-B938-C8F3-76B3-FED00326B6C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66512" y="253827"/>
            <a:ext cx="1510564" cy="541305"/>
          </a:xfrm>
          <a:prstGeom prst="rect">
            <a:avLst/>
          </a:prstGeom>
        </p:spPr>
      </p:pic>
      <p:pic>
        <p:nvPicPr>
          <p:cNvPr id="5" name="Graphic 4">
            <a:extLst>
              <a:ext uri="{FF2B5EF4-FFF2-40B4-BE49-F238E27FC236}">
                <a16:creationId xmlns:a16="http://schemas.microsoft.com/office/drawing/2014/main" id="{B8C8C085-D472-90A5-6E85-252F1C99405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3588027" y="889553"/>
            <a:ext cx="7911548" cy="8191603"/>
          </a:xfrm>
          <a:prstGeom prst="rect">
            <a:avLst/>
          </a:prstGeom>
        </p:spPr>
      </p:pic>
      <p:sp>
        <p:nvSpPr>
          <p:cNvPr id="3" name="Footer Placeholder 4">
            <a:extLst>
              <a:ext uri="{FF2B5EF4-FFF2-40B4-BE49-F238E27FC236}">
                <a16:creationId xmlns:a16="http://schemas.microsoft.com/office/drawing/2014/main" id="{D61A8FFA-5E6E-A68A-AA25-4A73C1D501AF}"/>
              </a:ext>
            </a:extLst>
          </p:cNvPr>
          <p:cNvSpPr txBox="1">
            <a:spLocks/>
          </p:cNvSpPr>
          <p:nvPr userDrawn="1"/>
        </p:nvSpPr>
        <p:spPr>
          <a:xfrm>
            <a:off x="9551503" y="6430411"/>
            <a:ext cx="2325757" cy="163827"/>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ANSR.COM</a:t>
            </a:r>
            <a:endParaRPr lang="en-IN" sz="1000" b="0" i="0">
              <a:solidFill>
                <a:schemeClr val="bg1"/>
              </a:solidFill>
              <a:latin typeface="Moderat" pitchFamily="2" charset="77"/>
            </a:endParaRPr>
          </a:p>
        </p:txBody>
      </p:sp>
      <p:sp>
        <p:nvSpPr>
          <p:cNvPr id="6" name="Footer Placeholder 4">
            <a:extLst>
              <a:ext uri="{FF2B5EF4-FFF2-40B4-BE49-F238E27FC236}">
                <a16:creationId xmlns:a16="http://schemas.microsoft.com/office/drawing/2014/main" id="{A6C667F5-76DD-B76D-7547-2358840DA234}"/>
              </a:ext>
            </a:extLst>
          </p:cNvPr>
          <p:cNvSpPr txBox="1">
            <a:spLocks/>
          </p:cNvSpPr>
          <p:nvPr userDrawn="1"/>
        </p:nvSpPr>
        <p:spPr>
          <a:xfrm>
            <a:off x="5446643" y="6430410"/>
            <a:ext cx="1769165" cy="163826"/>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BETTER OUTCOMES.</a:t>
            </a:r>
            <a:endParaRPr lang="en-IN" sz="1000" b="0" i="0">
              <a:solidFill>
                <a:schemeClr val="bg1"/>
              </a:solidFill>
              <a:latin typeface="Moderat" pitchFamily="2" charset="77"/>
            </a:endParaRPr>
          </a:p>
        </p:txBody>
      </p:sp>
      <p:cxnSp>
        <p:nvCxnSpPr>
          <p:cNvPr id="7" name="Straight Connector 6">
            <a:extLst>
              <a:ext uri="{FF2B5EF4-FFF2-40B4-BE49-F238E27FC236}">
                <a16:creationId xmlns:a16="http://schemas.microsoft.com/office/drawing/2014/main" id="{671671E5-40A6-1577-F7F7-6904E1EECAFF}"/>
              </a:ext>
            </a:extLst>
          </p:cNvPr>
          <p:cNvCxnSpPr>
            <a:cxnSpLocks/>
          </p:cNvCxnSpPr>
          <p:nvPr userDrawn="1"/>
        </p:nvCxnSpPr>
        <p:spPr>
          <a:xfrm>
            <a:off x="225397" y="6275562"/>
            <a:ext cx="11651865"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8E7A769-ACE4-F381-DA1C-AEA4CE721489}"/>
              </a:ext>
            </a:extLst>
          </p:cNvPr>
          <p:cNvPicPr>
            <a:picLocks noChangeAspect="1"/>
          </p:cNvPicPr>
          <p:nvPr userDrawn="1"/>
        </p:nvPicPr>
        <p:blipFill>
          <a:blip r:embed="rId10">
            <a:extLst>
              <a:ext uri="{96DAC541-7B7A-43D3-8B79-37D633B846F1}">
                <asvg:svgBlip xmlns:asvg="http://schemas.microsoft.com/office/drawing/2016/SVG/main" r:embed="rId11"/>
              </a:ext>
            </a:extLst>
          </a:blip>
          <a:srcRect l="37031"/>
          <a:stretch/>
        </p:blipFill>
        <p:spPr>
          <a:xfrm>
            <a:off x="225395" y="6318690"/>
            <a:ext cx="738168" cy="420078"/>
          </a:xfrm>
          <a:prstGeom prst="rect">
            <a:avLst/>
          </a:prstGeom>
        </p:spPr>
      </p:pic>
      <p:sp>
        <p:nvSpPr>
          <p:cNvPr id="9" name="Footer Placeholder 4">
            <a:extLst>
              <a:ext uri="{FF2B5EF4-FFF2-40B4-BE49-F238E27FC236}">
                <a16:creationId xmlns:a16="http://schemas.microsoft.com/office/drawing/2014/main" id="{EC860F48-17A5-9DFC-51D6-AA9A4F6FC43F}"/>
              </a:ext>
            </a:extLst>
          </p:cNvPr>
          <p:cNvSpPr txBox="1">
            <a:spLocks/>
          </p:cNvSpPr>
          <p:nvPr userDrawn="1"/>
        </p:nvSpPr>
        <p:spPr>
          <a:xfrm>
            <a:off x="7275485" y="6430410"/>
            <a:ext cx="1946082" cy="163826"/>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 COPYRIGHT ANSR INC.</a:t>
            </a:r>
            <a:endParaRPr lang="en-IN" sz="1000" b="0" i="0">
              <a:solidFill>
                <a:schemeClr val="bg1"/>
              </a:solidFill>
              <a:latin typeface="Moderat" pitchFamily="2" charset="77"/>
            </a:endParaRPr>
          </a:p>
        </p:txBody>
      </p:sp>
    </p:spTree>
    <p:extLst>
      <p:ext uri="{BB962C8B-B14F-4D97-AF65-F5344CB8AC3E}">
        <p14:creationId xmlns:p14="http://schemas.microsoft.com/office/powerpoint/2010/main" val="3117357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afterEffect">
                                  <p:stCondLst>
                                    <p:cond delay="0"/>
                                  </p:stCondLst>
                                  <p:childTnLst>
                                    <p:animRot by="21600000">
                                      <p:cBhvr>
                                        <p:cTn id="6" dur="40000" fill="hold"/>
                                        <p:tgtEl>
                                          <p:spTgt spid="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 Option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F408877-090F-006B-CF6E-C6D3B9CD5D47}"/>
              </a:ext>
              <a:ext uri="{C183D7F6-B498-43B3-948B-1728B52AA6E4}">
                <adec:decorative xmlns:adec="http://schemas.microsoft.com/office/drawing/2017/decorative" val="1"/>
              </a:ext>
            </a:extLst>
          </p:cNvPr>
          <p:cNvSpPr>
            <a:spLocks/>
          </p:cNvSpPr>
          <p:nvPr userDrawn="1"/>
        </p:nvSpPr>
        <p:spPr>
          <a:xfrm flipH="1">
            <a:off x="-6" y="2"/>
            <a:ext cx="12193723" cy="6858001"/>
          </a:xfrm>
          <a:prstGeom prst="rect">
            <a:avLst/>
          </a:prstGeom>
          <a:solidFill>
            <a:srgbClr val="F5F5F5"/>
          </a:solidFill>
          <a:ln>
            <a:noFill/>
          </a:ln>
          <a:effectLst>
            <a:outerShdw blurRad="730711" dist="200717" dir="4980000" sx="100964" sy="100964" algn="ctr" rotWithShape="0">
              <a:srgbClr val="000000">
                <a:alpha val="27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1">
              <a:latin typeface="Mont SemiBold" pitchFamily="2" charset="0"/>
            </a:endParaRPr>
          </a:p>
        </p:txBody>
      </p:sp>
      <p:graphicFrame>
        <p:nvGraphicFramePr>
          <p:cNvPr id="8" name="Object 7" hidden="1">
            <a:extLst>
              <a:ext uri="{FF2B5EF4-FFF2-40B4-BE49-F238E27FC236}">
                <a16:creationId xmlns:a16="http://schemas.microsoft.com/office/drawing/2014/main" id="{907B5108-41D4-4E8A-9210-597DB9ABD28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907B5108-41D4-4E8A-9210-597DB9ABD2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82325A6-7F1A-4939-A691-F78CC00FAC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Mont Regular" pitchFamily="2" charset="0"/>
              <a:ea typeface="+mj-ea"/>
              <a:cs typeface="+mj-cs"/>
              <a:sym typeface="Roboto" pitchFamily="2" charset="0"/>
            </a:endParaRPr>
          </a:p>
        </p:txBody>
      </p:sp>
      <p:pic>
        <p:nvPicPr>
          <p:cNvPr id="37" name="Graphic 36">
            <a:extLst>
              <a:ext uri="{FF2B5EF4-FFF2-40B4-BE49-F238E27FC236}">
                <a16:creationId xmlns:a16="http://schemas.microsoft.com/office/drawing/2014/main" id="{84585CC5-E5CA-2A08-3A9C-8CC25A3CBF1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59115" y="209497"/>
            <a:ext cx="1528946" cy="547892"/>
          </a:xfrm>
          <a:prstGeom prst="rect">
            <a:avLst/>
          </a:prstGeom>
        </p:spPr>
      </p:pic>
    </p:spTree>
    <p:extLst>
      <p:ext uri="{BB962C8B-B14F-4D97-AF65-F5344CB8AC3E}">
        <p14:creationId xmlns:p14="http://schemas.microsoft.com/office/powerpoint/2010/main" val="33845078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 Option 6">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FA3C78D8-A713-F476-D34B-636F595B80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25934" y="739756"/>
            <a:ext cx="5020819" cy="5198547"/>
          </a:xfrm>
          <a:prstGeom prst="rect">
            <a:avLst/>
          </a:prstGeom>
        </p:spPr>
      </p:pic>
      <p:pic>
        <p:nvPicPr>
          <p:cNvPr id="4" name="Graphic 3">
            <a:extLst>
              <a:ext uri="{FF2B5EF4-FFF2-40B4-BE49-F238E27FC236}">
                <a16:creationId xmlns:a16="http://schemas.microsoft.com/office/drawing/2014/main" id="{E5CA6CA0-5864-EB66-40E1-3C91689ADD8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752885" y="209497"/>
            <a:ext cx="1135179" cy="406787"/>
          </a:xfrm>
          <a:prstGeom prst="rect">
            <a:avLst/>
          </a:prstGeom>
        </p:spPr>
      </p:pic>
      <p:cxnSp>
        <p:nvCxnSpPr>
          <p:cNvPr id="5" name="Straight Connector 4">
            <a:extLst>
              <a:ext uri="{FF2B5EF4-FFF2-40B4-BE49-F238E27FC236}">
                <a16:creationId xmlns:a16="http://schemas.microsoft.com/office/drawing/2014/main" id="{DA129EFA-886A-FCA0-8534-CAE9C1D592B8}"/>
              </a:ext>
            </a:extLst>
          </p:cNvPr>
          <p:cNvCxnSpPr>
            <a:cxnSpLocks/>
          </p:cNvCxnSpPr>
          <p:nvPr userDrawn="1"/>
        </p:nvCxnSpPr>
        <p:spPr>
          <a:xfrm>
            <a:off x="225397" y="6275562"/>
            <a:ext cx="1165186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4902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Agenda - Option 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EBD5335-9A21-E3D2-D464-5687317A87DE}"/>
              </a:ext>
            </a:extLst>
          </p:cNvPr>
          <p:cNvSpPr/>
          <p:nvPr userDrawn="1"/>
        </p:nvSpPr>
        <p:spPr>
          <a:xfrm>
            <a:off x="0" y="-1"/>
            <a:ext cx="12192000" cy="685800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graphicFrame>
        <p:nvGraphicFramePr>
          <p:cNvPr id="8" name="Object 7" hidden="1">
            <a:extLst>
              <a:ext uri="{FF2B5EF4-FFF2-40B4-BE49-F238E27FC236}">
                <a16:creationId xmlns:a16="http://schemas.microsoft.com/office/drawing/2014/main" id="{907B5108-41D4-4E8A-9210-597DB9ABD28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907B5108-41D4-4E8A-9210-597DB9ABD2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82325A6-7F1A-4939-A691-F78CC00FAC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Mont Regular" pitchFamily="2" charset="0"/>
              <a:ea typeface="+mj-ea"/>
              <a:cs typeface="+mj-cs"/>
              <a:sym typeface="Roboto" pitchFamily="2" charset="0"/>
            </a:endParaRPr>
          </a:p>
        </p:txBody>
      </p:sp>
      <p:sp>
        <p:nvSpPr>
          <p:cNvPr id="10" name="Rectangle 9">
            <a:extLst>
              <a:ext uri="{FF2B5EF4-FFF2-40B4-BE49-F238E27FC236}">
                <a16:creationId xmlns:a16="http://schemas.microsoft.com/office/drawing/2014/main" id="{648F0C79-D068-1B8C-F65E-D0F6CF8338CD}"/>
              </a:ext>
            </a:extLst>
          </p:cNvPr>
          <p:cNvSpPr/>
          <p:nvPr userDrawn="1"/>
        </p:nvSpPr>
        <p:spPr>
          <a:xfrm>
            <a:off x="0" y="854717"/>
            <a:ext cx="12192000" cy="5518863"/>
          </a:xfrm>
          <a:prstGeom prst="rect">
            <a:avLst/>
          </a:prstGeom>
          <a:solidFill>
            <a:schemeClr val="bg1"/>
          </a:solidFill>
          <a:ln>
            <a:noFill/>
          </a:ln>
          <a:effectLst>
            <a:outerShdw blurRad="352297" sx="101881" sy="101881" algn="ctr" rotWithShape="0">
              <a:prstClr val="black">
                <a:alpha val="1126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333" b="0" i="0">
              <a:solidFill>
                <a:schemeClr val="bg1"/>
              </a:solidFill>
              <a:latin typeface="Moderat" pitchFamily="2" charset="77"/>
            </a:endParaRPr>
          </a:p>
        </p:txBody>
      </p:sp>
      <p:grpSp>
        <p:nvGrpSpPr>
          <p:cNvPr id="12" name="Group 11">
            <a:extLst>
              <a:ext uri="{FF2B5EF4-FFF2-40B4-BE49-F238E27FC236}">
                <a16:creationId xmlns:a16="http://schemas.microsoft.com/office/drawing/2014/main" id="{DBAF48E4-903D-8DE6-50BC-C8D46628DCF4}"/>
              </a:ext>
            </a:extLst>
          </p:cNvPr>
          <p:cNvGrpSpPr/>
          <p:nvPr userDrawn="1"/>
        </p:nvGrpSpPr>
        <p:grpSpPr>
          <a:xfrm>
            <a:off x="450000" y="854716"/>
            <a:ext cx="720000" cy="0"/>
            <a:chOff x="540000" y="1025659"/>
            <a:chExt cx="864000" cy="0"/>
          </a:xfrm>
        </p:grpSpPr>
        <p:cxnSp>
          <p:nvCxnSpPr>
            <p:cNvPr id="13" name="Straight Connector 12">
              <a:extLst>
                <a:ext uri="{FF2B5EF4-FFF2-40B4-BE49-F238E27FC236}">
                  <a16:creationId xmlns:a16="http://schemas.microsoft.com/office/drawing/2014/main" id="{8502B58F-9312-2C17-2DA1-E6DA1799F3E6}"/>
                </a:ext>
              </a:extLst>
            </p:cNvPr>
            <p:cNvCxnSpPr/>
            <p:nvPr/>
          </p:nvCxnSpPr>
          <p:spPr bwMode="auto">
            <a:xfrm>
              <a:off x="540000" y="1025659"/>
              <a:ext cx="432000" cy="0"/>
            </a:xfrm>
            <a:prstGeom prst="line">
              <a:avLst/>
            </a:prstGeom>
            <a:solidFill>
              <a:schemeClr val="accent1"/>
            </a:solidFill>
            <a:ln w="57150" cap="flat" cmpd="sng" algn="ctr">
              <a:solidFill>
                <a:srgbClr val="FF5400"/>
              </a:solidFill>
              <a:prstDash val="solid"/>
              <a:round/>
              <a:headEnd type="none" w="med" len="med"/>
              <a:tailEnd type="none" w="med" len="med"/>
            </a:ln>
            <a:effectLst/>
          </p:spPr>
        </p:cxnSp>
        <p:cxnSp>
          <p:nvCxnSpPr>
            <p:cNvPr id="14" name="Straight Connector 13">
              <a:extLst>
                <a:ext uri="{FF2B5EF4-FFF2-40B4-BE49-F238E27FC236}">
                  <a16:creationId xmlns:a16="http://schemas.microsoft.com/office/drawing/2014/main" id="{20B19F3B-1490-43CB-EF1A-7B725BB23A0A}"/>
                </a:ext>
              </a:extLst>
            </p:cNvPr>
            <p:cNvCxnSpPr/>
            <p:nvPr/>
          </p:nvCxnSpPr>
          <p:spPr bwMode="auto">
            <a:xfrm>
              <a:off x="972000" y="1025659"/>
              <a:ext cx="432000" cy="0"/>
            </a:xfrm>
            <a:prstGeom prst="line">
              <a:avLst/>
            </a:prstGeom>
            <a:solidFill>
              <a:schemeClr val="accent1"/>
            </a:solidFill>
            <a:ln w="57150" cap="flat" cmpd="sng" algn="ctr">
              <a:solidFill>
                <a:srgbClr val="005465"/>
              </a:solidFill>
              <a:prstDash val="solid"/>
              <a:round/>
              <a:headEnd type="none" w="med" len="med"/>
              <a:tailEnd type="none" w="med" len="med"/>
            </a:ln>
            <a:effectLst/>
          </p:spPr>
        </p:cxnSp>
      </p:grpSp>
      <p:pic>
        <p:nvPicPr>
          <p:cNvPr id="17" name="Graphic 16">
            <a:extLst>
              <a:ext uri="{FF2B5EF4-FFF2-40B4-BE49-F238E27FC236}">
                <a16:creationId xmlns:a16="http://schemas.microsoft.com/office/drawing/2014/main" id="{D961578E-11FD-1FBD-C241-82994B4FC9B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59115" y="209497"/>
            <a:ext cx="1528946" cy="547892"/>
          </a:xfrm>
          <a:prstGeom prst="rect">
            <a:avLst/>
          </a:prstGeom>
        </p:spPr>
      </p:pic>
      <p:cxnSp>
        <p:nvCxnSpPr>
          <p:cNvPr id="18" name="Straight Connector 17">
            <a:extLst>
              <a:ext uri="{FF2B5EF4-FFF2-40B4-BE49-F238E27FC236}">
                <a16:creationId xmlns:a16="http://schemas.microsoft.com/office/drawing/2014/main" id="{D0098E04-BF17-7694-3BF2-B1F6B22BC697}"/>
              </a:ext>
            </a:extLst>
          </p:cNvPr>
          <p:cNvCxnSpPr>
            <a:cxnSpLocks/>
          </p:cNvCxnSpPr>
          <p:nvPr userDrawn="1"/>
        </p:nvCxnSpPr>
        <p:spPr>
          <a:xfrm>
            <a:off x="360418" y="6361662"/>
            <a:ext cx="1128729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46874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lide 1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txBody>
          <a:bodyPr/>
          <a:lstStyle/>
          <a:p>
            <a:endParaRPr lang="en-US" b="0" i="0">
              <a:latin typeface="Moderat" pitchFamily="2" charset="77"/>
            </a:endParaRPr>
          </a:p>
        </p:txBody>
      </p:sp>
      <p:sp>
        <p:nvSpPr>
          <p:cNvPr id="3" name="Shape 1"/>
          <p:cNvSpPr/>
          <p:nvPr/>
        </p:nvSpPr>
        <p:spPr>
          <a:xfrm>
            <a:off x="0" y="0"/>
            <a:ext cx="12192000" cy="6858000"/>
          </a:xfrm>
          <a:prstGeom prst="rect">
            <a:avLst/>
          </a:prstGeom>
          <a:solidFill>
            <a:srgbClr val="F9F8F5"/>
          </a:solidFill>
          <a:ln/>
        </p:spPr>
        <p:txBody>
          <a:bodyPr/>
          <a:lstStyle/>
          <a:p>
            <a:endParaRPr lang="en-US" b="0" i="0">
              <a:latin typeface="Moderat" pitchFamily="2" charset="77"/>
            </a:endParaRPr>
          </a:p>
        </p:txBody>
      </p:sp>
    </p:spTree>
    <p:extLst>
      <p:ext uri="{BB962C8B-B14F-4D97-AF65-F5344CB8AC3E}">
        <p14:creationId xmlns:p14="http://schemas.microsoft.com/office/powerpoint/2010/main" val="28636922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lide 2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24891619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lide 3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32289454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lide 4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3004481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lide 5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15023003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lide 6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27007427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lide 7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34299331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lide 8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13638407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lide 9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368114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4B354C-42BE-652A-D346-D7A43BA2023F}"/>
              </a:ext>
            </a:extLst>
          </p:cNvPr>
          <p:cNvSpPr/>
          <p:nvPr userDrawn="1"/>
        </p:nvSpPr>
        <p:spPr>
          <a:xfrm>
            <a:off x="-69573" y="0"/>
            <a:ext cx="12261574" cy="6858000"/>
          </a:xfrm>
          <a:prstGeom prst="rect">
            <a:avLst/>
          </a:prstGeom>
          <a:gradFill flip="none" rotWithShape="1">
            <a:gsLst>
              <a:gs pos="0">
                <a:schemeClr val="accent6"/>
              </a:gs>
              <a:gs pos="21000">
                <a:schemeClr val="accent6"/>
              </a:gs>
              <a:gs pos="100000">
                <a:schemeClr val="tx1"/>
              </a:gs>
            </a:gsLst>
            <a:path path="circle">
              <a:fillToRect l="100000" t="100000"/>
            </a:path>
            <a:tileRect r="-100000" b="-10000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graphicFrame>
        <p:nvGraphicFramePr>
          <p:cNvPr id="13" name="Object 12" hidden="1">
            <a:extLst>
              <a:ext uri="{FF2B5EF4-FFF2-40B4-BE49-F238E27FC236}">
                <a16:creationId xmlns:a16="http://schemas.microsoft.com/office/drawing/2014/main" id="{41EA3683-38AC-4146-9920-CD1009D111AA}"/>
              </a:ext>
            </a:extLst>
          </p:cNvPr>
          <p:cNvGraphicFramePr>
            <a:graphicFrameLocks noChangeAspect="1"/>
          </p:cNvGraphicFramePr>
          <p:nvPr userDrawn="1">
            <p:custDataLst>
              <p:tags r:id="rId1"/>
            </p:custDataLst>
            <p:extLst>
              <p:ext uri="{D42A27DB-BD31-4B8C-83A1-F6EECF244321}">
                <p14:modId xmlns:p14="http://schemas.microsoft.com/office/powerpoint/2010/main" val="1093373546"/>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41EA3683-38AC-4146-9920-CD1009D111AA}"/>
                          </a:ext>
                        </a:extLst>
                      </p:cNvPr>
                      <p:cNvPicPr/>
                      <p:nvPr/>
                    </p:nvPicPr>
                    <p:blipFill>
                      <a:blip r:embed="rId5"/>
                      <a:stretch>
                        <a:fillRect/>
                      </a:stretch>
                    </p:blipFill>
                    <p:spPr>
                      <a:xfrm>
                        <a:off x="1588" y="1588"/>
                        <a:ext cx="1589"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42BF874-8D4A-4A2B-BC9A-086A7D8531F0}"/>
              </a:ext>
            </a:extLst>
          </p:cNvPr>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IN" sz="3200" b="0" i="0" baseline="0">
              <a:latin typeface="Moderat" pitchFamily="2" charset="77"/>
              <a:ea typeface="+mj-ea"/>
              <a:cs typeface="+mj-cs"/>
              <a:sym typeface="Roboto" pitchFamily="2" charset="0"/>
            </a:endParaRPr>
          </a:p>
        </p:txBody>
      </p:sp>
      <p:sp>
        <p:nvSpPr>
          <p:cNvPr id="10" name="Footer Placeholder 4">
            <a:extLst>
              <a:ext uri="{FF2B5EF4-FFF2-40B4-BE49-F238E27FC236}">
                <a16:creationId xmlns:a16="http://schemas.microsoft.com/office/drawing/2014/main" id="{4B5A5E8B-62A3-E2C7-3765-431720C49555}"/>
              </a:ext>
            </a:extLst>
          </p:cNvPr>
          <p:cNvSpPr txBox="1">
            <a:spLocks/>
          </p:cNvSpPr>
          <p:nvPr userDrawn="1"/>
        </p:nvSpPr>
        <p:spPr>
          <a:xfrm>
            <a:off x="9551504" y="6430411"/>
            <a:ext cx="2325757" cy="163827"/>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ANSR.COM</a:t>
            </a:r>
            <a:endParaRPr lang="en-IN" sz="1000" b="0" i="0">
              <a:solidFill>
                <a:schemeClr val="bg1"/>
              </a:solidFill>
              <a:latin typeface="Moderat" pitchFamily="2" charset="77"/>
            </a:endParaRPr>
          </a:p>
        </p:txBody>
      </p:sp>
      <p:sp>
        <p:nvSpPr>
          <p:cNvPr id="14" name="Footer Placeholder 4">
            <a:extLst>
              <a:ext uri="{FF2B5EF4-FFF2-40B4-BE49-F238E27FC236}">
                <a16:creationId xmlns:a16="http://schemas.microsoft.com/office/drawing/2014/main" id="{D2DDA43D-015A-9066-9393-5C1235ECEF38}"/>
              </a:ext>
            </a:extLst>
          </p:cNvPr>
          <p:cNvSpPr txBox="1">
            <a:spLocks/>
          </p:cNvSpPr>
          <p:nvPr userDrawn="1"/>
        </p:nvSpPr>
        <p:spPr>
          <a:xfrm>
            <a:off x="5446644" y="6430410"/>
            <a:ext cx="1769165" cy="163826"/>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BETTER OUTCOMES.</a:t>
            </a:r>
            <a:endParaRPr lang="en-IN" sz="1000" b="0" i="0">
              <a:solidFill>
                <a:schemeClr val="bg1"/>
              </a:solidFill>
              <a:latin typeface="Moderat" pitchFamily="2" charset="77"/>
            </a:endParaRPr>
          </a:p>
        </p:txBody>
      </p:sp>
      <p:cxnSp>
        <p:nvCxnSpPr>
          <p:cNvPr id="16" name="Straight Connector 15">
            <a:extLst>
              <a:ext uri="{FF2B5EF4-FFF2-40B4-BE49-F238E27FC236}">
                <a16:creationId xmlns:a16="http://schemas.microsoft.com/office/drawing/2014/main" id="{916A0C90-F3CE-D930-A10A-9D170E8723E9}"/>
              </a:ext>
            </a:extLst>
          </p:cNvPr>
          <p:cNvCxnSpPr>
            <a:cxnSpLocks/>
          </p:cNvCxnSpPr>
          <p:nvPr userDrawn="1"/>
        </p:nvCxnSpPr>
        <p:spPr>
          <a:xfrm>
            <a:off x="225397" y="6275562"/>
            <a:ext cx="11651865"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D24B0A79-9692-0DC0-56BD-139DE972B8D2}"/>
              </a:ext>
            </a:extLst>
          </p:cNvPr>
          <p:cNvPicPr>
            <a:picLocks noChangeAspect="1"/>
          </p:cNvPicPr>
          <p:nvPr userDrawn="1"/>
        </p:nvPicPr>
        <p:blipFill>
          <a:blip r:embed="rId6">
            <a:extLst>
              <a:ext uri="{96DAC541-7B7A-43D3-8B79-37D633B846F1}">
                <asvg:svgBlip xmlns:asvg="http://schemas.microsoft.com/office/drawing/2016/SVG/main" r:embed="rId7"/>
              </a:ext>
            </a:extLst>
          </a:blip>
          <a:srcRect l="37031"/>
          <a:stretch/>
        </p:blipFill>
        <p:spPr>
          <a:xfrm>
            <a:off x="225395" y="6318690"/>
            <a:ext cx="738169" cy="420078"/>
          </a:xfrm>
          <a:prstGeom prst="rect">
            <a:avLst/>
          </a:prstGeom>
        </p:spPr>
      </p:pic>
      <p:pic>
        <p:nvPicPr>
          <p:cNvPr id="25" name="Graphic 24">
            <a:extLst>
              <a:ext uri="{FF2B5EF4-FFF2-40B4-BE49-F238E27FC236}">
                <a16:creationId xmlns:a16="http://schemas.microsoft.com/office/drawing/2014/main" id="{00882F37-A5EB-C317-5C60-CEE42404FF0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58613" y="659698"/>
            <a:ext cx="2605547" cy="933689"/>
          </a:xfrm>
          <a:prstGeom prst="rect">
            <a:avLst/>
          </a:prstGeom>
        </p:spPr>
      </p:pic>
      <p:sp>
        <p:nvSpPr>
          <p:cNvPr id="26" name="Footer Placeholder 4">
            <a:extLst>
              <a:ext uri="{FF2B5EF4-FFF2-40B4-BE49-F238E27FC236}">
                <a16:creationId xmlns:a16="http://schemas.microsoft.com/office/drawing/2014/main" id="{BA5D6940-8AD1-C383-9784-C6691B42A7C9}"/>
              </a:ext>
            </a:extLst>
          </p:cNvPr>
          <p:cNvSpPr txBox="1">
            <a:spLocks/>
          </p:cNvSpPr>
          <p:nvPr userDrawn="1"/>
        </p:nvSpPr>
        <p:spPr>
          <a:xfrm>
            <a:off x="7275485" y="6430410"/>
            <a:ext cx="1946082" cy="163826"/>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 COPYRIGHT ANSR INC.</a:t>
            </a:r>
            <a:endParaRPr lang="en-IN" sz="1000" b="0" i="0">
              <a:solidFill>
                <a:schemeClr val="bg1"/>
              </a:solidFill>
              <a:latin typeface="Moderat" pitchFamily="2" charset="77"/>
            </a:endParaRPr>
          </a:p>
        </p:txBody>
      </p:sp>
    </p:spTree>
    <p:extLst>
      <p:ext uri="{BB962C8B-B14F-4D97-AF65-F5344CB8AC3E}">
        <p14:creationId xmlns:p14="http://schemas.microsoft.com/office/powerpoint/2010/main" val="87403040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lide 10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6761452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lide 11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41188979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hankyou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89E6902-BAD3-6395-AA43-92C02332A8D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5" name="Text Placeholder 1">
            <a:extLst>
              <a:ext uri="{FF2B5EF4-FFF2-40B4-BE49-F238E27FC236}">
                <a16:creationId xmlns:a16="http://schemas.microsoft.com/office/drawing/2014/main" id="{0C652E29-E73B-AFDE-E126-1A4F5BEE3338}"/>
              </a:ext>
            </a:extLst>
          </p:cNvPr>
          <p:cNvSpPr>
            <a:spLocks noGrp="1"/>
          </p:cNvSpPr>
          <p:nvPr>
            <p:ph type="body" sz="quarter" idx="23" hasCustomPrompt="1"/>
          </p:nvPr>
        </p:nvSpPr>
        <p:spPr>
          <a:xfrm>
            <a:off x="5691294" y="3062280"/>
            <a:ext cx="1707884" cy="400110"/>
          </a:xfrm>
          <a:prstGeom prst="rect">
            <a:avLst/>
          </a:prstGeom>
        </p:spPr>
        <p:txBody>
          <a:bodyPr anchor="ctr"/>
          <a:lstStyle>
            <a:lvl1pPr marL="0" indent="0" algn="ctr">
              <a:buNone/>
              <a:defRPr sz="2400" b="0" i="0">
                <a:solidFill>
                  <a:schemeClr val="bg1"/>
                </a:solidFill>
                <a:latin typeface="Moderat" pitchFamily="2" charset="77"/>
                <a:ea typeface="Roboto" panose="02000000000000000000" pitchFamily="2" charset="0"/>
              </a:defRPr>
            </a:lvl1pPr>
          </a:lstStyle>
          <a:p>
            <a:r>
              <a:rPr lang="en-US"/>
              <a:t>Thank you</a:t>
            </a:r>
          </a:p>
        </p:txBody>
      </p:sp>
      <p:sp>
        <p:nvSpPr>
          <p:cNvPr id="7" name="Rectangle 6">
            <a:extLst>
              <a:ext uri="{FF2B5EF4-FFF2-40B4-BE49-F238E27FC236}">
                <a16:creationId xmlns:a16="http://schemas.microsoft.com/office/drawing/2014/main" id="{2FD04011-3DCD-223D-B72D-602D965D60E7}"/>
              </a:ext>
            </a:extLst>
          </p:cNvPr>
          <p:cNvSpPr/>
          <p:nvPr userDrawn="1"/>
        </p:nvSpPr>
        <p:spPr>
          <a:xfrm>
            <a:off x="503856" y="5789767"/>
            <a:ext cx="11280709"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467"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oderat" panose="020B0604020202020204" charset="0"/>
              <a:ea typeface="Helvetica Neue Medium"/>
              <a:cs typeface="Helvetica Neue Medium"/>
              <a:sym typeface="Helvetica Neue Medium"/>
            </a:endParaRPr>
          </a:p>
        </p:txBody>
      </p:sp>
      <p:cxnSp>
        <p:nvCxnSpPr>
          <p:cNvPr id="8" name="Straight Connector 7">
            <a:extLst>
              <a:ext uri="{FF2B5EF4-FFF2-40B4-BE49-F238E27FC236}">
                <a16:creationId xmlns:a16="http://schemas.microsoft.com/office/drawing/2014/main" id="{4465B65A-5200-F3A7-ED17-4CF5AFFD32FF}"/>
              </a:ext>
            </a:extLst>
          </p:cNvPr>
          <p:cNvCxnSpPr>
            <a:cxnSpLocks/>
          </p:cNvCxnSpPr>
          <p:nvPr userDrawn="1"/>
        </p:nvCxnSpPr>
        <p:spPr>
          <a:xfrm>
            <a:off x="5499842" y="3012035"/>
            <a:ext cx="0" cy="444617"/>
          </a:xfrm>
          <a:prstGeom prst="line">
            <a:avLst/>
          </a:prstGeom>
          <a:noFill/>
          <a:ln w="6350"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9" name="Graphic 8">
            <a:extLst>
              <a:ext uri="{FF2B5EF4-FFF2-40B4-BE49-F238E27FC236}">
                <a16:creationId xmlns:a16="http://schemas.microsoft.com/office/drawing/2014/main" id="{A67B6124-C7DC-E620-EFD8-DEFCC8557003}"/>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39853" t="32864" r="40191" b="32292"/>
          <a:stretch/>
        </p:blipFill>
        <p:spPr>
          <a:xfrm>
            <a:off x="4549206" y="2870261"/>
            <a:ext cx="751406" cy="787188"/>
          </a:xfrm>
          <a:prstGeom prst="rect">
            <a:avLst/>
          </a:prstGeom>
        </p:spPr>
      </p:pic>
      <p:sp>
        <p:nvSpPr>
          <p:cNvPr id="2" name="TextBox 1">
            <a:extLst>
              <a:ext uri="{FF2B5EF4-FFF2-40B4-BE49-F238E27FC236}">
                <a16:creationId xmlns:a16="http://schemas.microsoft.com/office/drawing/2014/main" id="{557D1D34-A0A5-889F-EC40-A06860CAD805}"/>
              </a:ext>
            </a:extLst>
          </p:cNvPr>
          <p:cNvSpPr txBox="1"/>
          <p:nvPr userDrawn="1"/>
        </p:nvSpPr>
        <p:spPr>
          <a:xfrm>
            <a:off x="4029741" y="6523816"/>
            <a:ext cx="3870251" cy="25648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467" rtl="0" fontAlgn="auto" latinLnBrk="0" hangingPunct="0">
              <a:lnSpc>
                <a:spcPct val="100000"/>
              </a:lnSpc>
              <a:spcBef>
                <a:spcPts val="0"/>
              </a:spcBef>
              <a:spcAft>
                <a:spcPts val="0"/>
              </a:spcAft>
              <a:buClrTx/>
              <a:buSzTx/>
              <a:buFontTx/>
              <a:buNone/>
              <a:tabLst/>
            </a:pPr>
            <a:r>
              <a:rPr kumimoji="0" lang="en-US" sz="1000" b="0" i="0" u="none" strike="noStrike" cap="none" spc="0" normalizeH="0" baseline="0">
                <a:ln>
                  <a:noFill/>
                </a:ln>
                <a:solidFill>
                  <a:schemeClr val="bg1"/>
                </a:solidFill>
                <a:effectLst/>
                <a:uFillTx/>
                <a:latin typeface="Moderat Regular"/>
                <a:ea typeface="Moderat Regular"/>
                <a:cs typeface="Moderat Regular"/>
                <a:sym typeface="Moderat Regular"/>
              </a:rPr>
              <a:t>2023 © Copyright ANSR. All rights reserved.</a:t>
            </a:r>
          </a:p>
        </p:txBody>
      </p:sp>
    </p:spTree>
    <p:extLst>
      <p:ext uri="{BB962C8B-B14F-4D97-AF65-F5344CB8AC3E}">
        <p14:creationId xmlns:p14="http://schemas.microsoft.com/office/powerpoint/2010/main" val="38017948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5459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over Slide - Option 3">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858EFAB-9CC3-E4AB-000E-7600123E5884}"/>
              </a:ext>
            </a:extLst>
          </p:cNvPr>
          <p:cNvSpPr/>
          <p:nvPr userDrawn="1"/>
        </p:nvSpPr>
        <p:spPr>
          <a:xfrm>
            <a:off x="-69574" y="0"/>
            <a:ext cx="12261574" cy="6858000"/>
          </a:xfrm>
          <a:prstGeom prst="rect">
            <a:avLst/>
          </a:prstGeom>
          <a:gradFill flip="none" rotWithShape="1">
            <a:gsLst>
              <a:gs pos="0">
                <a:schemeClr val="accent6"/>
              </a:gs>
              <a:gs pos="21000">
                <a:schemeClr val="accent6"/>
              </a:gs>
              <a:gs pos="100000">
                <a:schemeClr val="tx1"/>
              </a:gs>
            </a:gsLst>
            <a:path path="circle">
              <a:fillToRect l="100000" t="100000"/>
            </a:path>
            <a:tileRect r="-100000" b="-10000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pic>
        <p:nvPicPr>
          <p:cNvPr id="15" name="Graphic 14">
            <a:extLst>
              <a:ext uri="{FF2B5EF4-FFF2-40B4-BE49-F238E27FC236}">
                <a16:creationId xmlns:a16="http://schemas.microsoft.com/office/drawing/2014/main" id="{A01BE783-CD6E-1E96-645E-599A232F897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30607" y="2529406"/>
            <a:ext cx="5020819" cy="1799191"/>
          </a:xfrm>
          <a:prstGeom prst="rect">
            <a:avLst/>
          </a:prstGeom>
        </p:spPr>
      </p:pic>
      <p:pic>
        <p:nvPicPr>
          <p:cNvPr id="17" name="Graphic 16">
            <a:extLst>
              <a:ext uri="{FF2B5EF4-FFF2-40B4-BE49-F238E27FC236}">
                <a16:creationId xmlns:a16="http://schemas.microsoft.com/office/drawing/2014/main" id="{E5377D23-7D4A-BA09-CAE1-A10B62FEA6C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240158" y="1764194"/>
            <a:ext cx="7911548" cy="8191603"/>
          </a:xfrm>
          <a:prstGeom prst="rect">
            <a:avLst/>
          </a:prstGeom>
        </p:spPr>
      </p:pic>
    </p:spTree>
    <p:extLst>
      <p:ext uri="{BB962C8B-B14F-4D97-AF65-F5344CB8AC3E}">
        <p14:creationId xmlns:p14="http://schemas.microsoft.com/office/powerpoint/2010/main" val="3440920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afterEffect">
                                  <p:stCondLst>
                                    <p:cond delay="0"/>
                                  </p:stCondLst>
                                  <p:childTnLst>
                                    <p:animRot by="21600000">
                                      <p:cBhvr>
                                        <p:cTn id="6" dur="40000" fill="hold"/>
                                        <p:tgtEl>
                                          <p:spTgt spid="1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ver Slide - Option 6">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FA3C78D8-A713-F476-D34B-636F595B80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25935" y="739756"/>
            <a:ext cx="5020819" cy="5198547"/>
          </a:xfrm>
          <a:prstGeom prst="rect">
            <a:avLst/>
          </a:prstGeom>
        </p:spPr>
      </p:pic>
      <p:pic>
        <p:nvPicPr>
          <p:cNvPr id="4" name="Graphic 3">
            <a:extLst>
              <a:ext uri="{FF2B5EF4-FFF2-40B4-BE49-F238E27FC236}">
                <a16:creationId xmlns:a16="http://schemas.microsoft.com/office/drawing/2014/main" id="{E5CA6CA0-5864-EB66-40E1-3C91689ADD8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752883" y="209497"/>
            <a:ext cx="1135179" cy="406787"/>
          </a:xfrm>
          <a:prstGeom prst="rect">
            <a:avLst/>
          </a:prstGeom>
        </p:spPr>
      </p:pic>
      <p:cxnSp>
        <p:nvCxnSpPr>
          <p:cNvPr id="5" name="Straight Connector 4">
            <a:extLst>
              <a:ext uri="{FF2B5EF4-FFF2-40B4-BE49-F238E27FC236}">
                <a16:creationId xmlns:a16="http://schemas.microsoft.com/office/drawing/2014/main" id="{DA129EFA-886A-FCA0-8534-CAE9C1D592B8}"/>
              </a:ext>
            </a:extLst>
          </p:cNvPr>
          <p:cNvCxnSpPr>
            <a:cxnSpLocks/>
          </p:cNvCxnSpPr>
          <p:nvPr userDrawn="1"/>
        </p:nvCxnSpPr>
        <p:spPr>
          <a:xfrm>
            <a:off x="225397" y="6275562"/>
            <a:ext cx="1165186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57217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Divider -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4B354C-42BE-652A-D346-D7A43BA2023F}"/>
              </a:ext>
            </a:extLst>
          </p:cNvPr>
          <p:cNvSpPr/>
          <p:nvPr userDrawn="1"/>
        </p:nvSpPr>
        <p:spPr>
          <a:xfrm>
            <a:off x="-69574" y="0"/>
            <a:ext cx="12261574" cy="6858000"/>
          </a:xfrm>
          <a:prstGeom prst="rect">
            <a:avLst/>
          </a:prstGeom>
          <a:gradFill flip="none" rotWithShape="1">
            <a:gsLst>
              <a:gs pos="0">
                <a:schemeClr val="accent6"/>
              </a:gs>
              <a:gs pos="21000">
                <a:schemeClr val="accent6"/>
              </a:gs>
              <a:gs pos="100000">
                <a:schemeClr val="tx1"/>
              </a:gs>
            </a:gsLst>
            <a:path path="circle">
              <a:fillToRect l="100000" t="100000"/>
            </a:path>
            <a:tileRect r="-100000" b="-10000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graphicFrame>
        <p:nvGraphicFramePr>
          <p:cNvPr id="13" name="Object 12" hidden="1">
            <a:extLst>
              <a:ext uri="{FF2B5EF4-FFF2-40B4-BE49-F238E27FC236}">
                <a16:creationId xmlns:a16="http://schemas.microsoft.com/office/drawing/2014/main" id="{41EA3683-38AC-4146-9920-CD1009D111AA}"/>
              </a:ext>
            </a:extLst>
          </p:cNvPr>
          <p:cNvGraphicFramePr>
            <a:graphicFrameLocks noChangeAspect="1"/>
          </p:cNvGraphicFramePr>
          <p:nvPr userDrawn="1">
            <p:custDataLst>
              <p:tags r:id="rId1"/>
            </p:custDataLst>
            <p:extLst>
              <p:ext uri="{D42A27DB-BD31-4B8C-83A1-F6EECF244321}">
                <p14:modId xmlns:p14="http://schemas.microsoft.com/office/powerpoint/2010/main" val="1093373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41EA3683-38AC-4146-9920-CD1009D111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42BF874-8D4A-4A2B-BC9A-086A7D8531F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IN" sz="3200" b="1" i="0" baseline="0">
              <a:latin typeface="Mont Regular" pitchFamily="2" charset="0"/>
              <a:ea typeface="+mj-ea"/>
              <a:cs typeface="+mj-cs"/>
              <a:sym typeface="Roboto" pitchFamily="2" charset="0"/>
            </a:endParaRPr>
          </a:p>
        </p:txBody>
      </p:sp>
      <p:sp>
        <p:nvSpPr>
          <p:cNvPr id="10" name="Footer Placeholder 4">
            <a:extLst>
              <a:ext uri="{FF2B5EF4-FFF2-40B4-BE49-F238E27FC236}">
                <a16:creationId xmlns:a16="http://schemas.microsoft.com/office/drawing/2014/main" id="{4B5A5E8B-62A3-E2C7-3765-431720C49555}"/>
              </a:ext>
            </a:extLst>
          </p:cNvPr>
          <p:cNvSpPr txBox="1">
            <a:spLocks/>
          </p:cNvSpPr>
          <p:nvPr userDrawn="1"/>
        </p:nvSpPr>
        <p:spPr>
          <a:xfrm>
            <a:off x="9551503" y="6430411"/>
            <a:ext cx="2325757" cy="163827"/>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ANSR.COM</a:t>
            </a:r>
            <a:endParaRPr lang="en-IN" sz="1000" b="0" i="0">
              <a:solidFill>
                <a:schemeClr val="bg1"/>
              </a:solidFill>
              <a:latin typeface="Moderat" pitchFamily="2" charset="77"/>
            </a:endParaRPr>
          </a:p>
        </p:txBody>
      </p:sp>
      <p:sp>
        <p:nvSpPr>
          <p:cNvPr id="14" name="Footer Placeholder 4">
            <a:extLst>
              <a:ext uri="{FF2B5EF4-FFF2-40B4-BE49-F238E27FC236}">
                <a16:creationId xmlns:a16="http://schemas.microsoft.com/office/drawing/2014/main" id="{D2DDA43D-015A-9066-9393-5C1235ECEF38}"/>
              </a:ext>
            </a:extLst>
          </p:cNvPr>
          <p:cNvSpPr txBox="1">
            <a:spLocks/>
          </p:cNvSpPr>
          <p:nvPr userDrawn="1"/>
        </p:nvSpPr>
        <p:spPr>
          <a:xfrm>
            <a:off x="5446643" y="6430410"/>
            <a:ext cx="1769165" cy="163826"/>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BETTER OUTCOMES.</a:t>
            </a:r>
            <a:endParaRPr lang="en-IN" sz="1000" b="0" i="0">
              <a:solidFill>
                <a:schemeClr val="bg1"/>
              </a:solidFill>
              <a:latin typeface="Moderat" pitchFamily="2" charset="77"/>
            </a:endParaRPr>
          </a:p>
        </p:txBody>
      </p:sp>
      <p:cxnSp>
        <p:nvCxnSpPr>
          <p:cNvPr id="16" name="Straight Connector 15">
            <a:extLst>
              <a:ext uri="{FF2B5EF4-FFF2-40B4-BE49-F238E27FC236}">
                <a16:creationId xmlns:a16="http://schemas.microsoft.com/office/drawing/2014/main" id="{916A0C90-F3CE-D930-A10A-9D170E8723E9}"/>
              </a:ext>
            </a:extLst>
          </p:cNvPr>
          <p:cNvCxnSpPr>
            <a:cxnSpLocks/>
          </p:cNvCxnSpPr>
          <p:nvPr userDrawn="1"/>
        </p:nvCxnSpPr>
        <p:spPr>
          <a:xfrm>
            <a:off x="225397" y="6275562"/>
            <a:ext cx="11651865"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D24B0A79-9692-0DC0-56BD-139DE972B8D2}"/>
              </a:ext>
            </a:extLst>
          </p:cNvPr>
          <p:cNvPicPr>
            <a:picLocks noChangeAspect="1"/>
          </p:cNvPicPr>
          <p:nvPr userDrawn="1"/>
        </p:nvPicPr>
        <p:blipFill>
          <a:blip r:embed="rId6">
            <a:extLst>
              <a:ext uri="{96DAC541-7B7A-43D3-8B79-37D633B846F1}">
                <asvg:svgBlip xmlns:asvg="http://schemas.microsoft.com/office/drawing/2016/SVG/main" r:embed="rId7"/>
              </a:ext>
            </a:extLst>
          </a:blip>
          <a:srcRect l="37031"/>
          <a:stretch/>
        </p:blipFill>
        <p:spPr>
          <a:xfrm>
            <a:off x="225395" y="6318690"/>
            <a:ext cx="738168" cy="420078"/>
          </a:xfrm>
          <a:prstGeom prst="rect">
            <a:avLst/>
          </a:prstGeom>
        </p:spPr>
      </p:pic>
      <p:pic>
        <p:nvPicPr>
          <p:cNvPr id="25" name="Graphic 24">
            <a:extLst>
              <a:ext uri="{FF2B5EF4-FFF2-40B4-BE49-F238E27FC236}">
                <a16:creationId xmlns:a16="http://schemas.microsoft.com/office/drawing/2014/main" id="{00882F37-A5EB-C317-5C60-CEE42404FF0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58611" y="659698"/>
            <a:ext cx="2605547" cy="933688"/>
          </a:xfrm>
          <a:prstGeom prst="rect">
            <a:avLst/>
          </a:prstGeom>
        </p:spPr>
      </p:pic>
      <p:sp>
        <p:nvSpPr>
          <p:cNvPr id="26" name="Footer Placeholder 4">
            <a:extLst>
              <a:ext uri="{FF2B5EF4-FFF2-40B4-BE49-F238E27FC236}">
                <a16:creationId xmlns:a16="http://schemas.microsoft.com/office/drawing/2014/main" id="{BA5D6940-8AD1-C383-9784-C6691B42A7C9}"/>
              </a:ext>
            </a:extLst>
          </p:cNvPr>
          <p:cNvSpPr txBox="1">
            <a:spLocks/>
          </p:cNvSpPr>
          <p:nvPr userDrawn="1"/>
        </p:nvSpPr>
        <p:spPr>
          <a:xfrm>
            <a:off x="7275485" y="6430410"/>
            <a:ext cx="1946082" cy="163826"/>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 COPYRIGHT ANSR INC.</a:t>
            </a:r>
            <a:endParaRPr lang="en-IN" sz="1000" b="0" i="0">
              <a:solidFill>
                <a:schemeClr val="bg1"/>
              </a:solidFill>
              <a:latin typeface="Moderat" pitchFamily="2" charset="77"/>
            </a:endParaRPr>
          </a:p>
        </p:txBody>
      </p:sp>
    </p:spTree>
    <p:extLst>
      <p:ext uri="{BB962C8B-B14F-4D97-AF65-F5344CB8AC3E}">
        <p14:creationId xmlns:p14="http://schemas.microsoft.com/office/powerpoint/2010/main" val="5110416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Section Divider -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4B354C-42BE-652A-D346-D7A43BA2023F}"/>
              </a:ext>
            </a:extLst>
          </p:cNvPr>
          <p:cNvSpPr/>
          <p:nvPr userDrawn="1"/>
        </p:nvSpPr>
        <p:spPr>
          <a:xfrm>
            <a:off x="-69574" y="0"/>
            <a:ext cx="12261574" cy="6858000"/>
          </a:xfrm>
          <a:prstGeom prst="rect">
            <a:avLst/>
          </a:prstGeom>
          <a:gradFill flip="none" rotWithShape="1">
            <a:gsLst>
              <a:gs pos="0">
                <a:schemeClr val="accent6"/>
              </a:gs>
              <a:gs pos="21000">
                <a:schemeClr val="accent6"/>
              </a:gs>
              <a:gs pos="100000">
                <a:schemeClr val="tx1"/>
              </a:gs>
            </a:gsLst>
            <a:path path="circle">
              <a:fillToRect t="100000" r="100000"/>
            </a:path>
            <a:tileRect l="-100000" b="-10000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graphicFrame>
        <p:nvGraphicFramePr>
          <p:cNvPr id="13" name="Object 12" hidden="1">
            <a:extLst>
              <a:ext uri="{FF2B5EF4-FFF2-40B4-BE49-F238E27FC236}">
                <a16:creationId xmlns:a16="http://schemas.microsoft.com/office/drawing/2014/main" id="{41EA3683-38AC-4146-9920-CD1009D111AA}"/>
              </a:ext>
            </a:extLst>
          </p:cNvPr>
          <p:cNvGraphicFramePr>
            <a:graphicFrameLocks noChangeAspect="1"/>
          </p:cNvGraphicFramePr>
          <p:nvPr userDrawn="1">
            <p:custDataLst>
              <p:tags r:id="rId1"/>
            </p:custDataLst>
            <p:extLst>
              <p:ext uri="{D42A27DB-BD31-4B8C-83A1-F6EECF244321}">
                <p14:modId xmlns:p14="http://schemas.microsoft.com/office/powerpoint/2010/main" val="1093373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41EA3683-38AC-4146-9920-CD1009D111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42BF874-8D4A-4A2B-BC9A-086A7D8531F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IN" sz="3200" b="1" i="0" baseline="0">
              <a:latin typeface="Mont Regular" pitchFamily="2" charset="0"/>
              <a:ea typeface="+mj-ea"/>
              <a:cs typeface="+mj-cs"/>
              <a:sym typeface="Roboto" pitchFamily="2" charset="0"/>
            </a:endParaRPr>
          </a:p>
        </p:txBody>
      </p:sp>
      <p:pic>
        <p:nvPicPr>
          <p:cNvPr id="2" name="Graphic 1">
            <a:extLst>
              <a:ext uri="{FF2B5EF4-FFF2-40B4-BE49-F238E27FC236}">
                <a16:creationId xmlns:a16="http://schemas.microsoft.com/office/drawing/2014/main" id="{559286CD-B938-C8F3-76B3-FED00326B6C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66512" y="253827"/>
            <a:ext cx="1510564" cy="541305"/>
          </a:xfrm>
          <a:prstGeom prst="rect">
            <a:avLst/>
          </a:prstGeom>
        </p:spPr>
      </p:pic>
      <p:pic>
        <p:nvPicPr>
          <p:cNvPr id="5" name="Graphic 4">
            <a:extLst>
              <a:ext uri="{FF2B5EF4-FFF2-40B4-BE49-F238E27FC236}">
                <a16:creationId xmlns:a16="http://schemas.microsoft.com/office/drawing/2014/main" id="{B8C8C085-D472-90A5-6E85-252F1C99405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3588027" y="889553"/>
            <a:ext cx="7911548" cy="8191603"/>
          </a:xfrm>
          <a:prstGeom prst="rect">
            <a:avLst/>
          </a:prstGeom>
        </p:spPr>
      </p:pic>
    </p:spTree>
    <p:extLst>
      <p:ext uri="{BB962C8B-B14F-4D97-AF65-F5344CB8AC3E}">
        <p14:creationId xmlns:p14="http://schemas.microsoft.com/office/powerpoint/2010/main" val="3520386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afterEffect">
                                  <p:stCondLst>
                                    <p:cond delay="0"/>
                                  </p:stCondLst>
                                  <p:childTnLst>
                                    <p:animRot by="21600000">
                                      <p:cBhvr>
                                        <p:cTn id="6" dur="40000" fill="hold"/>
                                        <p:tgtEl>
                                          <p:spTgt spid="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Section Divider -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4B354C-42BE-652A-D346-D7A43BA2023F}"/>
              </a:ext>
            </a:extLst>
          </p:cNvPr>
          <p:cNvSpPr/>
          <p:nvPr userDrawn="1"/>
        </p:nvSpPr>
        <p:spPr>
          <a:xfrm>
            <a:off x="-69574" y="0"/>
            <a:ext cx="12261574" cy="6858000"/>
          </a:xfrm>
          <a:prstGeom prst="rect">
            <a:avLst/>
          </a:prstGeom>
          <a:gradFill flip="none" rotWithShape="1">
            <a:gsLst>
              <a:gs pos="0">
                <a:schemeClr val="accent6"/>
              </a:gs>
              <a:gs pos="21000">
                <a:schemeClr val="accent6"/>
              </a:gs>
              <a:gs pos="100000">
                <a:schemeClr val="tx1"/>
              </a:gs>
            </a:gsLst>
            <a:path path="circle">
              <a:fillToRect t="100000" r="100000"/>
            </a:path>
            <a:tileRect l="-100000" b="-10000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graphicFrame>
        <p:nvGraphicFramePr>
          <p:cNvPr id="13" name="Object 12" hidden="1">
            <a:extLst>
              <a:ext uri="{FF2B5EF4-FFF2-40B4-BE49-F238E27FC236}">
                <a16:creationId xmlns:a16="http://schemas.microsoft.com/office/drawing/2014/main" id="{41EA3683-38AC-4146-9920-CD1009D111AA}"/>
              </a:ext>
            </a:extLst>
          </p:cNvPr>
          <p:cNvGraphicFramePr>
            <a:graphicFrameLocks noChangeAspect="1"/>
          </p:cNvGraphicFramePr>
          <p:nvPr userDrawn="1">
            <p:custDataLst>
              <p:tags r:id="rId1"/>
            </p:custDataLst>
            <p:extLst>
              <p:ext uri="{D42A27DB-BD31-4B8C-83A1-F6EECF244321}">
                <p14:modId xmlns:p14="http://schemas.microsoft.com/office/powerpoint/2010/main" val="1093373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41EA3683-38AC-4146-9920-CD1009D111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42BF874-8D4A-4A2B-BC9A-086A7D8531F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IN" sz="3200" b="1" i="0" baseline="0">
              <a:latin typeface="Mont Regular" pitchFamily="2" charset="0"/>
              <a:ea typeface="+mj-ea"/>
              <a:cs typeface="+mj-cs"/>
              <a:sym typeface="Roboto" pitchFamily="2" charset="0"/>
            </a:endParaRPr>
          </a:p>
        </p:txBody>
      </p:sp>
      <p:pic>
        <p:nvPicPr>
          <p:cNvPr id="2" name="Graphic 1">
            <a:extLst>
              <a:ext uri="{FF2B5EF4-FFF2-40B4-BE49-F238E27FC236}">
                <a16:creationId xmlns:a16="http://schemas.microsoft.com/office/drawing/2014/main" id="{559286CD-B938-C8F3-76B3-FED00326B6C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66512" y="253827"/>
            <a:ext cx="1510564" cy="541305"/>
          </a:xfrm>
          <a:prstGeom prst="rect">
            <a:avLst/>
          </a:prstGeom>
        </p:spPr>
      </p:pic>
      <p:pic>
        <p:nvPicPr>
          <p:cNvPr id="5" name="Graphic 4">
            <a:extLst>
              <a:ext uri="{FF2B5EF4-FFF2-40B4-BE49-F238E27FC236}">
                <a16:creationId xmlns:a16="http://schemas.microsoft.com/office/drawing/2014/main" id="{B8C8C085-D472-90A5-6E85-252F1C99405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3588027" y="889553"/>
            <a:ext cx="7911548" cy="8191603"/>
          </a:xfrm>
          <a:prstGeom prst="rect">
            <a:avLst/>
          </a:prstGeom>
        </p:spPr>
      </p:pic>
      <p:sp>
        <p:nvSpPr>
          <p:cNvPr id="3" name="Footer Placeholder 4">
            <a:extLst>
              <a:ext uri="{FF2B5EF4-FFF2-40B4-BE49-F238E27FC236}">
                <a16:creationId xmlns:a16="http://schemas.microsoft.com/office/drawing/2014/main" id="{D61A8FFA-5E6E-A68A-AA25-4A73C1D501AF}"/>
              </a:ext>
            </a:extLst>
          </p:cNvPr>
          <p:cNvSpPr txBox="1">
            <a:spLocks/>
          </p:cNvSpPr>
          <p:nvPr userDrawn="1"/>
        </p:nvSpPr>
        <p:spPr>
          <a:xfrm>
            <a:off x="9551503" y="6430411"/>
            <a:ext cx="2325757" cy="163827"/>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ANSR.COM</a:t>
            </a:r>
            <a:endParaRPr lang="en-IN" sz="1000" b="0" i="0">
              <a:solidFill>
                <a:schemeClr val="bg1"/>
              </a:solidFill>
              <a:latin typeface="Moderat" pitchFamily="2" charset="77"/>
            </a:endParaRPr>
          </a:p>
        </p:txBody>
      </p:sp>
      <p:sp>
        <p:nvSpPr>
          <p:cNvPr id="6" name="Footer Placeholder 4">
            <a:extLst>
              <a:ext uri="{FF2B5EF4-FFF2-40B4-BE49-F238E27FC236}">
                <a16:creationId xmlns:a16="http://schemas.microsoft.com/office/drawing/2014/main" id="{A6C667F5-76DD-B76D-7547-2358840DA234}"/>
              </a:ext>
            </a:extLst>
          </p:cNvPr>
          <p:cNvSpPr txBox="1">
            <a:spLocks/>
          </p:cNvSpPr>
          <p:nvPr userDrawn="1"/>
        </p:nvSpPr>
        <p:spPr>
          <a:xfrm>
            <a:off x="5446643" y="6430410"/>
            <a:ext cx="1769165" cy="163826"/>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BETTER OUTCOMES.</a:t>
            </a:r>
            <a:endParaRPr lang="en-IN" sz="1000" b="0" i="0">
              <a:solidFill>
                <a:schemeClr val="bg1"/>
              </a:solidFill>
              <a:latin typeface="Moderat" pitchFamily="2" charset="77"/>
            </a:endParaRPr>
          </a:p>
        </p:txBody>
      </p:sp>
      <p:cxnSp>
        <p:nvCxnSpPr>
          <p:cNvPr id="7" name="Straight Connector 6">
            <a:extLst>
              <a:ext uri="{FF2B5EF4-FFF2-40B4-BE49-F238E27FC236}">
                <a16:creationId xmlns:a16="http://schemas.microsoft.com/office/drawing/2014/main" id="{671671E5-40A6-1577-F7F7-6904E1EECAFF}"/>
              </a:ext>
            </a:extLst>
          </p:cNvPr>
          <p:cNvCxnSpPr>
            <a:cxnSpLocks/>
          </p:cNvCxnSpPr>
          <p:nvPr userDrawn="1"/>
        </p:nvCxnSpPr>
        <p:spPr>
          <a:xfrm>
            <a:off x="225397" y="6275562"/>
            <a:ext cx="11651865"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8E7A769-ACE4-F381-DA1C-AEA4CE721489}"/>
              </a:ext>
            </a:extLst>
          </p:cNvPr>
          <p:cNvPicPr>
            <a:picLocks noChangeAspect="1"/>
          </p:cNvPicPr>
          <p:nvPr userDrawn="1"/>
        </p:nvPicPr>
        <p:blipFill>
          <a:blip r:embed="rId10">
            <a:extLst>
              <a:ext uri="{96DAC541-7B7A-43D3-8B79-37D633B846F1}">
                <asvg:svgBlip xmlns:asvg="http://schemas.microsoft.com/office/drawing/2016/SVG/main" r:embed="rId11"/>
              </a:ext>
            </a:extLst>
          </a:blip>
          <a:srcRect l="37031"/>
          <a:stretch/>
        </p:blipFill>
        <p:spPr>
          <a:xfrm>
            <a:off x="225395" y="6318690"/>
            <a:ext cx="738168" cy="420078"/>
          </a:xfrm>
          <a:prstGeom prst="rect">
            <a:avLst/>
          </a:prstGeom>
        </p:spPr>
      </p:pic>
      <p:sp>
        <p:nvSpPr>
          <p:cNvPr id="9" name="Footer Placeholder 4">
            <a:extLst>
              <a:ext uri="{FF2B5EF4-FFF2-40B4-BE49-F238E27FC236}">
                <a16:creationId xmlns:a16="http://schemas.microsoft.com/office/drawing/2014/main" id="{EC860F48-17A5-9DFC-51D6-AA9A4F6FC43F}"/>
              </a:ext>
            </a:extLst>
          </p:cNvPr>
          <p:cNvSpPr txBox="1">
            <a:spLocks/>
          </p:cNvSpPr>
          <p:nvPr userDrawn="1"/>
        </p:nvSpPr>
        <p:spPr>
          <a:xfrm>
            <a:off x="7275485" y="6430410"/>
            <a:ext cx="1946082" cy="163826"/>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 COPYRIGHT ANSR INC.</a:t>
            </a:r>
            <a:endParaRPr lang="en-IN" sz="1000" b="0" i="0">
              <a:solidFill>
                <a:schemeClr val="bg1"/>
              </a:solidFill>
              <a:latin typeface="Moderat" pitchFamily="2" charset="77"/>
            </a:endParaRPr>
          </a:p>
        </p:txBody>
      </p:sp>
    </p:spTree>
    <p:extLst>
      <p:ext uri="{BB962C8B-B14F-4D97-AF65-F5344CB8AC3E}">
        <p14:creationId xmlns:p14="http://schemas.microsoft.com/office/powerpoint/2010/main" val="39339560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afterEffect">
                                  <p:stCondLst>
                                    <p:cond delay="0"/>
                                  </p:stCondLst>
                                  <p:childTnLst>
                                    <p:animRot by="21600000">
                                      <p:cBhvr>
                                        <p:cTn id="6" dur="40000" fill="hold"/>
                                        <p:tgtEl>
                                          <p:spTgt spid="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 Option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F408877-090F-006B-CF6E-C6D3B9CD5D47}"/>
              </a:ext>
              <a:ext uri="{C183D7F6-B498-43B3-948B-1728B52AA6E4}">
                <adec:decorative xmlns:adec="http://schemas.microsoft.com/office/drawing/2017/decorative" val="1"/>
              </a:ext>
            </a:extLst>
          </p:cNvPr>
          <p:cNvSpPr>
            <a:spLocks/>
          </p:cNvSpPr>
          <p:nvPr userDrawn="1"/>
        </p:nvSpPr>
        <p:spPr>
          <a:xfrm flipH="1">
            <a:off x="-6" y="2"/>
            <a:ext cx="12193723" cy="6858001"/>
          </a:xfrm>
          <a:prstGeom prst="rect">
            <a:avLst/>
          </a:prstGeom>
          <a:solidFill>
            <a:schemeClr val="bg1"/>
          </a:solidFill>
          <a:ln>
            <a:noFill/>
          </a:ln>
          <a:effectLst>
            <a:outerShdw blurRad="730711" dist="200717" dir="4980000" sx="100964" sy="100964" algn="ctr" rotWithShape="0">
              <a:srgbClr val="000000">
                <a:alpha val="27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1">
              <a:latin typeface="Mont SemiBold" pitchFamily="2" charset="0"/>
            </a:endParaRPr>
          </a:p>
        </p:txBody>
      </p:sp>
      <p:graphicFrame>
        <p:nvGraphicFramePr>
          <p:cNvPr id="8" name="Object 7" hidden="1">
            <a:extLst>
              <a:ext uri="{FF2B5EF4-FFF2-40B4-BE49-F238E27FC236}">
                <a16:creationId xmlns:a16="http://schemas.microsoft.com/office/drawing/2014/main" id="{907B5108-41D4-4E8A-9210-597DB9ABD286}"/>
              </a:ext>
            </a:extLst>
          </p:cNvPr>
          <p:cNvGraphicFramePr>
            <a:graphicFrameLocks noChangeAspect="1"/>
          </p:cNvGraphicFramePr>
          <p:nvPr userDrawn="1">
            <p:custDataLst>
              <p:tags r:id="rId1"/>
            </p:custDataLst>
            <p:extLst>
              <p:ext uri="{D42A27DB-BD31-4B8C-83A1-F6EECF244321}">
                <p14:modId xmlns:p14="http://schemas.microsoft.com/office/powerpoint/2010/main" val="1525096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907B5108-41D4-4E8A-9210-597DB9ABD2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82325A6-7F1A-4939-A691-F78CC00FAC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Mont Regular" pitchFamily="2" charset="0"/>
              <a:ea typeface="+mj-ea"/>
              <a:cs typeface="+mj-cs"/>
              <a:sym typeface="Roboto" pitchFamily="2" charset="0"/>
            </a:endParaRPr>
          </a:p>
        </p:txBody>
      </p:sp>
      <p:pic>
        <p:nvPicPr>
          <p:cNvPr id="37" name="Graphic 36">
            <a:extLst>
              <a:ext uri="{FF2B5EF4-FFF2-40B4-BE49-F238E27FC236}">
                <a16:creationId xmlns:a16="http://schemas.microsoft.com/office/drawing/2014/main" id="{84585CC5-E5CA-2A08-3A9C-8CC25A3CBF1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59115" y="209497"/>
            <a:ext cx="1528946" cy="547892"/>
          </a:xfrm>
          <a:prstGeom prst="rect">
            <a:avLst/>
          </a:prstGeom>
        </p:spPr>
      </p:pic>
    </p:spTree>
    <p:extLst>
      <p:ext uri="{BB962C8B-B14F-4D97-AF65-F5344CB8AC3E}">
        <p14:creationId xmlns:p14="http://schemas.microsoft.com/office/powerpoint/2010/main" val="14990156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ection Divider -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4B354C-42BE-652A-D346-D7A43BA2023F}"/>
              </a:ext>
            </a:extLst>
          </p:cNvPr>
          <p:cNvSpPr/>
          <p:nvPr userDrawn="1"/>
        </p:nvSpPr>
        <p:spPr>
          <a:xfrm>
            <a:off x="-69573" y="0"/>
            <a:ext cx="12261574" cy="6858000"/>
          </a:xfrm>
          <a:prstGeom prst="rect">
            <a:avLst/>
          </a:prstGeom>
          <a:gradFill flip="none" rotWithShape="1">
            <a:gsLst>
              <a:gs pos="0">
                <a:schemeClr val="accent6"/>
              </a:gs>
              <a:gs pos="21000">
                <a:schemeClr val="accent6"/>
              </a:gs>
              <a:gs pos="100000">
                <a:schemeClr val="tx1"/>
              </a:gs>
            </a:gsLst>
            <a:path path="circle">
              <a:fillToRect t="100000" r="100000"/>
            </a:path>
            <a:tileRect l="-100000" b="-10000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graphicFrame>
        <p:nvGraphicFramePr>
          <p:cNvPr id="13" name="Object 12" hidden="1">
            <a:extLst>
              <a:ext uri="{FF2B5EF4-FFF2-40B4-BE49-F238E27FC236}">
                <a16:creationId xmlns:a16="http://schemas.microsoft.com/office/drawing/2014/main" id="{41EA3683-38AC-4146-9920-CD1009D111AA}"/>
              </a:ext>
            </a:extLst>
          </p:cNvPr>
          <p:cNvGraphicFramePr>
            <a:graphicFrameLocks noChangeAspect="1"/>
          </p:cNvGraphicFramePr>
          <p:nvPr userDrawn="1">
            <p:custDataLst>
              <p:tags r:id="rId1"/>
            </p:custDataLst>
            <p:extLst>
              <p:ext uri="{D42A27DB-BD31-4B8C-83A1-F6EECF244321}">
                <p14:modId xmlns:p14="http://schemas.microsoft.com/office/powerpoint/2010/main" val="1093373546"/>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41EA3683-38AC-4146-9920-CD1009D111AA}"/>
                          </a:ext>
                        </a:extLst>
                      </p:cNvPr>
                      <p:cNvPicPr/>
                      <p:nvPr/>
                    </p:nvPicPr>
                    <p:blipFill>
                      <a:blip r:embed="rId5"/>
                      <a:stretch>
                        <a:fillRect/>
                      </a:stretch>
                    </p:blipFill>
                    <p:spPr>
                      <a:xfrm>
                        <a:off x="1588" y="1588"/>
                        <a:ext cx="1589"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42BF874-8D4A-4A2B-BC9A-086A7D8531F0}"/>
              </a:ext>
            </a:extLst>
          </p:cNvPr>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IN" sz="3200" b="0" i="0" baseline="0">
              <a:latin typeface="Moderat" pitchFamily="2" charset="77"/>
              <a:ea typeface="+mj-ea"/>
              <a:cs typeface="+mj-cs"/>
              <a:sym typeface="Roboto" pitchFamily="2" charset="0"/>
            </a:endParaRPr>
          </a:p>
        </p:txBody>
      </p:sp>
      <p:pic>
        <p:nvPicPr>
          <p:cNvPr id="2" name="Graphic 1">
            <a:extLst>
              <a:ext uri="{FF2B5EF4-FFF2-40B4-BE49-F238E27FC236}">
                <a16:creationId xmlns:a16="http://schemas.microsoft.com/office/drawing/2014/main" id="{559286CD-B938-C8F3-76B3-FED00326B6C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66512" y="253828"/>
            <a:ext cx="1510564" cy="541305"/>
          </a:xfrm>
          <a:prstGeom prst="rect">
            <a:avLst/>
          </a:prstGeom>
        </p:spPr>
      </p:pic>
      <p:pic>
        <p:nvPicPr>
          <p:cNvPr id="5" name="Graphic 4">
            <a:extLst>
              <a:ext uri="{FF2B5EF4-FFF2-40B4-BE49-F238E27FC236}">
                <a16:creationId xmlns:a16="http://schemas.microsoft.com/office/drawing/2014/main" id="{B8C8C085-D472-90A5-6E85-252F1C99405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3588028" y="889554"/>
            <a:ext cx="7911549" cy="8191603"/>
          </a:xfrm>
          <a:prstGeom prst="rect">
            <a:avLst/>
          </a:prstGeom>
        </p:spPr>
      </p:pic>
    </p:spTree>
    <p:extLst>
      <p:ext uri="{BB962C8B-B14F-4D97-AF65-F5344CB8AC3E}">
        <p14:creationId xmlns:p14="http://schemas.microsoft.com/office/powerpoint/2010/main" val="2093895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afterEffect">
                                  <p:stCondLst>
                                    <p:cond delay="0"/>
                                  </p:stCondLst>
                                  <p:childTnLst>
                                    <p:animRot by="21600000">
                                      <p:cBhvr>
                                        <p:cTn id="6" dur="40000" fill="hold"/>
                                        <p:tgtEl>
                                          <p:spTgt spid="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Agenda - Option 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EBD5335-9A21-E3D2-D464-5687317A87DE}"/>
              </a:ext>
            </a:extLst>
          </p:cNvPr>
          <p:cNvSpPr/>
          <p:nvPr userDrawn="1"/>
        </p:nvSpPr>
        <p:spPr>
          <a:xfrm>
            <a:off x="0" y="-1"/>
            <a:ext cx="12192000" cy="685800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00" b="0" i="0">
              <a:latin typeface="Moderat" pitchFamily="2" charset="77"/>
            </a:endParaRPr>
          </a:p>
        </p:txBody>
      </p:sp>
      <p:graphicFrame>
        <p:nvGraphicFramePr>
          <p:cNvPr id="8" name="Object 7" hidden="1">
            <a:extLst>
              <a:ext uri="{FF2B5EF4-FFF2-40B4-BE49-F238E27FC236}">
                <a16:creationId xmlns:a16="http://schemas.microsoft.com/office/drawing/2014/main" id="{907B5108-41D4-4E8A-9210-597DB9ABD286}"/>
              </a:ext>
            </a:extLst>
          </p:cNvPr>
          <p:cNvGraphicFramePr>
            <a:graphicFrameLocks noChangeAspect="1"/>
          </p:cNvGraphicFramePr>
          <p:nvPr userDrawn="1">
            <p:custDataLst>
              <p:tags r:id="rId1"/>
            </p:custDataLst>
            <p:extLst>
              <p:ext uri="{D42A27DB-BD31-4B8C-83A1-F6EECF244321}">
                <p14:modId xmlns:p14="http://schemas.microsoft.com/office/powerpoint/2010/main" val="1525096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907B5108-41D4-4E8A-9210-597DB9ABD2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82325A6-7F1A-4939-A691-F78CC00FAC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Mont Regular" pitchFamily="2" charset="0"/>
              <a:ea typeface="+mj-ea"/>
              <a:cs typeface="+mj-cs"/>
              <a:sym typeface="Roboto" pitchFamily="2" charset="0"/>
            </a:endParaRPr>
          </a:p>
        </p:txBody>
      </p:sp>
      <p:sp>
        <p:nvSpPr>
          <p:cNvPr id="10" name="Rectangle 9">
            <a:extLst>
              <a:ext uri="{FF2B5EF4-FFF2-40B4-BE49-F238E27FC236}">
                <a16:creationId xmlns:a16="http://schemas.microsoft.com/office/drawing/2014/main" id="{648F0C79-D068-1B8C-F65E-D0F6CF8338CD}"/>
              </a:ext>
            </a:extLst>
          </p:cNvPr>
          <p:cNvSpPr/>
          <p:nvPr userDrawn="1"/>
        </p:nvSpPr>
        <p:spPr>
          <a:xfrm>
            <a:off x="0" y="854717"/>
            <a:ext cx="12192000" cy="5518863"/>
          </a:xfrm>
          <a:prstGeom prst="rect">
            <a:avLst/>
          </a:prstGeom>
          <a:solidFill>
            <a:schemeClr val="bg1"/>
          </a:solidFill>
          <a:ln>
            <a:noFill/>
          </a:ln>
          <a:effectLst>
            <a:outerShdw blurRad="352297" sx="101881" sy="101881" algn="ctr" rotWithShape="0">
              <a:prstClr val="black">
                <a:alpha val="1126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333" b="0" i="0">
              <a:solidFill>
                <a:schemeClr val="bg1"/>
              </a:solidFill>
              <a:latin typeface="Moderat" pitchFamily="2" charset="77"/>
            </a:endParaRPr>
          </a:p>
        </p:txBody>
      </p:sp>
      <p:grpSp>
        <p:nvGrpSpPr>
          <p:cNvPr id="12" name="Group 11">
            <a:extLst>
              <a:ext uri="{FF2B5EF4-FFF2-40B4-BE49-F238E27FC236}">
                <a16:creationId xmlns:a16="http://schemas.microsoft.com/office/drawing/2014/main" id="{DBAF48E4-903D-8DE6-50BC-C8D46628DCF4}"/>
              </a:ext>
            </a:extLst>
          </p:cNvPr>
          <p:cNvGrpSpPr/>
          <p:nvPr userDrawn="1"/>
        </p:nvGrpSpPr>
        <p:grpSpPr>
          <a:xfrm>
            <a:off x="450000" y="854716"/>
            <a:ext cx="720000" cy="0"/>
            <a:chOff x="540000" y="1025659"/>
            <a:chExt cx="864000" cy="0"/>
          </a:xfrm>
        </p:grpSpPr>
        <p:cxnSp>
          <p:nvCxnSpPr>
            <p:cNvPr id="13" name="Straight Connector 12">
              <a:extLst>
                <a:ext uri="{FF2B5EF4-FFF2-40B4-BE49-F238E27FC236}">
                  <a16:creationId xmlns:a16="http://schemas.microsoft.com/office/drawing/2014/main" id="{8502B58F-9312-2C17-2DA1-E6DA1799F3E6}"/>
                </a:ext>
              </a:extLst>
            </p:cNvPr>
            <p:cNvCxnSpPr/>
            <p:nvPr/>
          </p:nvCxnSpPr>
          <p:spPr bwMode="auto">
            <a:xfrm>
              <a:off x="540000" y="1025659"/>
              <a:ext cx="432000" cy="0"/>
            </a:xfrm>
            <a:prstGeom prst="line">
              <a:avLst/>
            </a:prstGeom>
            <a:solidFill>
              <a:schemeClr val="accent1"/>
            </a:solidFill>
            <a:ln w="57150" cap="flat" cmpd="sng" algn="ctr">
              <a:solidFill>
                <a:srgbClr val="FF5400"/>
              </a:solidFill>
              <a:prstDash val="solid"/>
              <a:round/>
              <a:headEnd type="none" w="med" len="med"/>
              <a:tailEnd type="none" w="med" len="med"/>
            </a:ln>
            <a:effectLst/>
          </p:spPr>
        </p:cxnSp>
        <p:cxnSp>
          <p:nvCxnSpPr>
            <p:cNvPr id="14" name="Straight Connector 13">
              <a:extLst>
                <a:ext uri="{FF2B5EF4-FFF2-40B4-BE49-F238E27FC236}">
                  <a16:creationId xmlns:a16="http://schemas.microsoft.com/office/drawing/2014/main" id="{20B19F3B-1490-43CB-EF1A-7B725BB23A0A}"/>
                </a:ext>
              </a:extLst>
            </p:cNvPr>
            <p:cNvCxnSpPr/>
            <p:nvPr/>
          </p:nvCxnSpPr>
          <p:spPr bwMode="auto">
            <a:xfrm>
              <a:off x="972000" y="1025659"/>
              <a:ext cx="432000" cy="0"/>
            </a:xfrm>
            <a:prstGeom prst="line">
              <a:avLst/>
            </a:prstGeom>
            <a:solidFill>
              <a:schemeClr val="accent1"/>
            </a:solidFill>
            <a:ln w="57150" cap="flat" cmpd="sng" algn="ctr">
              <a:solidFill>
                <a:srgbClr val="005465"/>
              </a:solidFill>
              <a:prstDash val="solid"/>
              <a:round/>
              <a:headEnd type="none" w="med" len="med"/>
              <a:tailEnd type="none" w="med" len="med"/>
            </a:ln>
            <a:effectLst/>
          </p:spPr>
        </p:cxnSp>
      </p:grpSp>
      <p:pic>
        <p:nvPicPr>
          <p:cNvPr id="17" name="Graphic 16">
            <a:extLst>
              <a:ext uri="{FF2B5EF4-FFF2-40B4-BE49-F238E27FC236}">
                <a16:creationId xmlns:a16="http://schemas.microsoft.com/office/drawing/2014/main" id="{D961578E-11FD-1FBD-C241-82994B4FC9B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59115" y="209497"/>
            <a:ext cx="1528946" cy="547892"/>
          </a:xfrm>
          <a:prstGeom prst="rect">
            <a:avLst/>
          </a:prstGeom>
        </p:spPr>
      </p:pic>
      <p:cxnSp>
        <p:nvCxnSpPr>
          <p:cNvPr id="18" name="Straight Connector 17">
            <a:extLst>
              <a:ext uri="{FF2B5EF4-FFF2-40B4-BE49-F238E27FC236}">
                <a16:creationId xmlns:a16="http://schemas.microsoft.com/office/drawing/2014/main" id="{D0098E04-BF17-7694-3BF2-B1F6B22BC697}"/>
              </a:ext>
            </a:extLst>
          </p:cNvPr>
          <p:cNvCxnSpPr>
            <a:cxnSpLocks/>
          </p:cNvCxnSpPr>
          <p:nvPr userDrawn="1"/>
        </p:nvCxnSpPr>
        <p:spPr>
          <a:xfrm>
            <a:off x="360418" y="6361662"/>
            <a:ext cx="1128729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10059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lide 1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6732602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lide 2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4515503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lide 3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18575675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lide 4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31835427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lide 5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12084199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lide 6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139680299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lide 7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33844498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lide 8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3346323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lide 9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3029190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ivider -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4B354C-42BE-652A-D346-D7A43BA2023F}"/>
              </a:ext>
            </a:extLst>
          </p:cNvPr>
          <p:cNvSpPr/>
          <p:nvPr userDrawn="1"/>
        </p:nvSpPr>
        <p:spPr>
          <a:xfrm>
            <a:off x="-69573" y="0"/>
            <a:ext cx="12261574" cy="6858000"/>
          </a:xfrm>
          <a:prstGeom prst="rect">
            <a:avLst/>
          </a:prstGeom>
          <a:gradFill flip="none" rotWithShape="1">
            <a:gsLst>
              <a:gs pos="0">
                <a:schemeClr val="accent6"/>
              </a:gs>
              <a:gs pos="21000">
                <a:schemeClr val="accent6"/>
              </a:gs>
              <a:gs pos="100000">
                <a:schemeClr val="tx1"/>
              </a:gs>
            </a:gsLst>
            <a:path path="circle">
              <a:fillToRect t="100000" r="100000"/>
            </a:path>
            <a:tileRect l="-100000" b="-10000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graphicFrame>
        <p:nvGraphicFramePr>
          <p:cNvPr id="13" name="Object 12" hidden="1">
            <a:extLst>
              <a:ext uri="{FF2B5EF4-FFF2-40B4-BE49-F238E27FC236}">
                <a16:creationId xmlns:a16="http://schemas.microsoft.com/office/drawing/2014/main" id="{41EA3683-38AC-4146-9920-CD1009D111AA}"/>
              </a:ext>
            </a:extLst>
          </p:cNvPr>
          <p:cNvGraphicFramePr>
            <a:graphicFrameLocks noChangeAspect="1"/>
          </p:cNvGraphicFramePr>
          <p:nvPr userDrawn="1">
            <p:custDataLst>
              <p:tags r:id="rId1"/>
            </p:custDataLst>
            <p:extLst>
              <p:ext uri="{D42A27DB-BD31-4B8C-83A1-F6EECF244321}">
                <p14:modId xmlns:p14="http://schemas.microsoft.com/office/powerpoint/2010/main" val="1093373546"/>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41EA3683-38AC-4146-9920-CD1009D111AA}"/>
                          </a:ext>
                        </a:extLst>
                      </p:cNvPr>
                      <p:cNvPicPr/>
                      <p:nvPr/>
                    </p:nvPicPr>
                    <p:blipFill>
                      <a:blip r:embed="rId5"/>
                      <a:stretch>
                        <a:fillRect/>
                      </a:stretch>
                    </p:blipFill>
                    <p:spPr>
                      <a:xfrm>
                        <a:off x="1588" y="1588"/>
                        <a:ext cx="1589"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42BF874-8D4A-4A2B-BC9A-086A7D8531F0}"/>
              </a:ext>
            </a:extLst>
          </p:cNvPr>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IN" sz="3200" b="0" i="0" baseline="0">
              <a:latin typeface="Moderat" pitchFamily="2" charset="77"/>
              <a:ea typeface="+mj-ea"/>
              <a:cs typeface="+mj-cs"/>
              <a:sym typeface="Roboto" pitchFamily="2" charset="0"/>
            </a:endParaRPr>
          </a:p>
        </p:txBody>
      </p:sp>
      <p:pic>
        <p:nvPicPr>
          <p:cNvPr id="2" name="Graphic 1">
            <a:extLst>
              <a:ext uri="{FF2B5EF4-FFF2-40B4-BE49-F238E27FC236}">
                <a16:creationId xmlns:a16="http://schemas.microsoft.com/office/drawing/2014/main" id="{559286CD-B938-C8F3-76B3-FED00326B6C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66512" y="253828"/>
            <a:ext cx="1510564" cy="541305"/>
          </a:xfrm>
          <a:prstGeom prst="rect">
            <a:avLst/>
          </a:prstGeom>
        </p:spPr>
      </p:pic>
      <p:pic>
        <p:nvPicPr>
          <p:cNvPr id="5" name="Graphic 4">
            <a:extLst>
              <a:ext uri="{FF2B5EF4-FFF2-40B4-BE49-F238E27FC236}">
                <a16:creationId xmlns:a16="http://schemas.microsoft.com/office/drawing/2014/main" id="{B8C8C085-D472-90A5-6E85-252F1C99405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3588028" y="889554"/>
            <a:ext cx="7911549" cy="8191603"/>
          </a:xfrm>
          <a:prstGeom prst="rect">
            <a:avLst/>
          </a:prstGeom>
        </p:spPr>
      </p:pic>
      <p:sp>
        <p:nvSpPr>
          <p:cNvPr id="3" name="Footer Placeholder 4">
            <a:extLst>
              <a:ext uri="{FF2B5EF4-FFF2-40B4-BE49-F238E27FC236}">
                <a16:creationId xmlns:a16="http://schemas.microsoft.com/office/drawing/2014/main" id="{D61A8FFA-5E6E-A68A-AA25-4A73C1D501AF}"/>
              </a:ext>
            </a:extLst>
          </p:cNvPr>
          <p:cNvSpPr txBox="1">
            <a:spLocks/>
          </p:cNvSpPr>
          <p:nvPr userDrawn="1"/>
        </p:nvSpPr>
        <p:spPr>
          <a:xfrm>
            <a:off x="9551504" y="6430411"/>
            <a:ext cx="2325757" cy="163827"/>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ANSR.COM</a:t>
            </a:r>
            <a:endParaRPr lang="en-IN" sz="1000" b="0" i="0">
              <a:solidFill>
                <a:schemeClr val="bg1"/>
              </a:solidFill>
              <a:latin typeface="Moderat" pitchFamily="2" charset="77"/>
            </a:endParaRPr>
          </a:p>
        </p:txBody>
      </p:sp>
      <p:sp>
        <p:nvSpPr>
          <p:cNvPr id="6" name="Footer Placeholder 4">
            <a:extLst>
              <a:ext uri="{FF2B5EF4-FFF2-40B4-BE49-F238E27FC236}">
                <a16:creationId xmlns:a16="http://schemas.microsoft.com/office/drawing/2014/main" id="{A6C667F5-76DD-B76D-7547-2358840DA234}"/>
              </a:ext>
            </a:extLst>
          </p:cNvPr>
          <p:cNvSpPr txBox="1">
            <a:spLocks/>
          </p:cNvSpPr>
          <p:nvPr userDrawn="1"/>
        </p:nvSpPr>
        <p:spPr>
          <a:xfrm>
            <a:off x="5446644" y="6430410"/>
            <a:ext cx="1769165" cy="163826"/>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BETTER OUTCOMES.</a:t>
            </a:r>
            <a:endParaRPr lang="en-IN" sz="1000" b="0" i="0">
              <a:solidFill>
                <a:schemeClr val="bg1"/>
              </a:solidFill>
              <a:latin typeface="Moderat" pitchFamily="2" charset="77"/>
            </a:endParaRPr>
          </a:p>
        </p:txBody>
      </p:sp>
      <p:cxnSp>
        <p:nvCxnSpPr>
          <p:cNvPr id="7" name="Straight Connector 6">
            <a:extLst>
              <a:ext uri="{FF2B5EF4-FFF2-40B4-BE49-F238E27FC236}">
                <a16:creationId xmlns:a16="http://schemas.microsoft.com/office/drawing/2014/main" id="{671671E5-40A6-1577-F7F7-6904E1EECAFF}"/>
              </a:ext>
            </a:extLst>
          </p:cNvPr>
          <p:cNvCxnSpPr>
            <a:cxnSpLocks/>
          </p:cNvCxnSpPr>
          <p:nvPr userDrawn="1"/>
        </p:nvCxnSpPr>
        <p:spPr>
          <a:xfrm>
            <a:off x="225397" y="6275562"/>
            <a:ext cx="11651865"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8E7A769-ACE4-F381-DA1C-AEA4CE721489}"/>
              </a:ext>
            </a:extLst>
          </p:cNvPr>
          <p:cNvPicPr>
            <a:picLocks noChangeAspect="1"/>
          </p:cNvPicPr>
          <p:nvPr userDrawn="1"/>
        </p:nvPicPr>
        <p:blipFill>
          <a:blip r:embed="rId10">
            <a:extLst>
              <a:ext uri="{96DAC541-7B7A-43D3-8B79-37D633B846F1}">
                <asvg:svgBlip xmlns:asvg="http://schemas.microsoft.com/office/drawing/2016/SVG/main" r:embed="rId11"/>
              </a:ext>
            </a:extLst>
          </a:blip>
          <a:srcRect l="37031"/>
          <a:stretch/>
        </p:blipFill>
        <p:spPr>
          <a:xfrm>
            <a:off x="225395" y="6318690"/>
            <a:ext cx="738169" cy="420078"/>
          </a:xfrm>
          <a:prstGeom prst="rect">
            <a:avLst/>
          </a:prstGeom>
        </p:spPr>
      </p:pic>
      <p:sp>
        <p:nvSpPr>
          <p:cNvPr id="9" name="Footer Placeholder 4">
            <a:extLst>
              <a:ext uri="{FF2B5EF4-FFF2-40B4-BE49-F238E27FC236}">
                <a16:creationId xmlns:a16="http://schemas.microsoft.com/office/drawing/2014/main" id="{EC860F48-17A5-9DFC-51D6-AA9A4F6FC43F}"/>
              </a:ext>
            </a:extLst>
          </p:cNvPr>
          <p:cNvSpPr txBox="1">
            <a:spLocks/>
          </p:cNvSpPr>
          <p:nvPr userDrawn="1"/>
        </p:nvSpPr>
        <p:spPr>
          <a:xfrm>
            <a:off x="7275485" y="6430410"/>
            <a:ext cx="1946082" cy="163826"/>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 COPYRIGHT ANSR INC.</a:t>
            </a:r>
            <a:endParaRPr lang="en-IN" sz="1000" b="0" i="0">
              <a:solidFill>
                <a:schemeClr val="bg1"/>
              </a:solidFill>
              <a:latin typeface="Moderat" pitchFamily="2" charset="77"/>
            </a:endParaRPr>
          </a:p>
        </p:txBody>
      </p:sp>
    </p:spTree>
    <p:extLst>
      <p:ext uri="{BB962C8B-B14F-4D97-AF65-F5344CB8AC3E}">
        <p14:creationId xmlns:p14="http://schemas.microsoft.com/office/powerpoint/2010/main" val="1969226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afterEffect">
                                  <p:stCondLst>
                                    <p:cond delay="0"/>
                                  </p:stCondLst>
                                  <p:childTnLst>
                                    <p:animRot by="21600000">
                                      <p:cBhvr>
                                        <p:cTn id="6" dur="40000" fill="hold"/>
                                        <p:tgtEl>
                                          <p:spTgt spid="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lide 10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2534081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lide 11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298295508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hankyou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89E6902-BAD3-6395-AA43-92C02332A8D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5" name="Text Placeholder 1">
            <a:extLst>
              <a:ext uri="{FF2B5EF4-FFF2-40B4-BE49-F238E27FC236}">
                <a16:creationId xmlns:a16="http://schemas.microsoft.com/office/drawing/2014/main" id="{0C652E29-E73B-AFDE-E126-1A4F5BEE3338}"/>
              </a:ext>
            </a:extLst>
          </p:cNvPr>
          <p:cNvSpPr>
            <a:spLocks noGrp="1"/>
          </p:cNvSpPr>
          <p:nvPr>
            <p:ph type="body" sz="quarter" idx="23" hasCustomPrompt="1"/>
          </p:nvPr>
        </p:nvSpPr>
        <p:spPr>
          <a:xfrm>
            <a:off x="5691294" y="3062280"/>
            <a:ext cx="1707884" cy="400110"/>
          </a:xfrm>
          <a:prstGeom prst="rect">
            <a:avLst/>
          </a:prstGeom>
        </p:spPr>
        <p:txBody>
          <a:bodyPr anchor="ctr"/>
          <a:lstStyle>
            <a:lvl1pPr marL="0" indent="0" algn="ctr">
              <a:buNone/>
              <a:defRPr sz="2400" b="0" i="0">
                <a:solidFill>
                  <a:schemeClr val="bg1"/>
                </a:solidFill>
                <a:latin typeface="Moderat" pitchFamily="2" charset="77"/>
                <a:ea typeface="Roboto" panose="02000000000000000000" pitchFamily="2" charset="0"/>
              </a:defRPr>
            </a:lvl1pPr>
          </a:lstStyle>
          <a:p>
            <a:r>
              <a:rPr lang="en-US"/>
              <a:t>Thank you</a:t>
            </a:r>
          </a:p>
        </p:txBody>
      </p:sp>
      <p:sp>
        <p:nvSpPr>
          <p:cNvPr id="7" name="Rectangle 6">
            <a:extLst>
              <a:ext uri="{FF2B5EF4-FFF2-40B4-BE49-F238E27FC236}">
                <a16:creationId xmlns:a16="http://schemas.microsoft.com/office/drawing/2014/main" id="{2FD04011-3DCD-223D-B72D-602D965D60E7}"/>
              </a:ext>
            </a:extLst>
          </p:cNvPr>
          <p:cNvSpPr/>
          <p:nvPr userDrawn="1"/>
        </p:nvSpPr>
        <p:spPr>
          <a:xfrm>
            <a:off x="503856" y="5789767"/>
            <a:ext cx="11280709" cy="492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467"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oderat" panose="020B0604020202020204" charset="0"/>
              <a:ea typeface="Helvetica Neue Medium"/>
              <a:cs typeface="Helvetica Neue Medium"/>
              <a:sym typeface="Helvetica Neue Medium"/>
            </a:endParaRPr>
          </a:p>
        </p:txBody>
      </p:sp>
      <p:cxnSp>
        <p:nvCxnSpPr>
          <p:cNvPr id="8" name="Straight Connector 7">
            <a:extLst>
              <a:ext uri="{FF2B5EF4-FFF2-40B4-BE49-F238E27FC236}">
                <a16:creationId xmlns:a16="http://schemas.microsoft.com/office/drawing/2014/main" id="{4465B65A-5200-F3A7-ED17-4CF5AFFD32FF}"/>
              </a:ext>
            </a:extLst>
          </p:cNvPr>
          <p:cNvCxnSpPr>
            <a:cxnSpLocks/>
          </p:cNvCxnSpPr>
          <p:nvPr userDrawn="1"/>
        </p:nvCxnSpPr>
        <p:spPr>
          <a:xfrm>
            <a:off x="5499842" y="3012035"/>
            <a:ext cx="0" cy="444617"/>
          </a:xfrm>
          <a:prstGeom prst="line">
            <a:avLst/>
          </a:prstGeom>
          <a:noFill/>
          <a:ln w="6350"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9" name="Graphic 8">
            <a:extLst>
              <a:ext uri="{FF2B5EF4-FFF2-40B4-BE49-F238E27FC236}">
                <a16:creationId xmlns:a16="http://schemas.microsoft.com/office/drawing/2014/main" id="{A67B6124-C7DC-E620-EFD8-DEFCC8557003}"/>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39853" t="32864" r="40191" b="32292"/>
          <a:stretch/>
        </p:blipFill>
        <p:spPr>
          <a:xfrm>
            <a:off x="4549206" y="2870261"/>
            <a:ext cx="751406" cy="787188"/>
          </a:xfrm>
          <a:prstGeom prst="rect">
            <a:avLst/>
          </a:prstGeom>
        </p:spPr>
      </p:pic>
      <p:sp>
        <p:nvSpPr>
          <p:cNvPr id="2" name="TextBox 1">
            <a:extLst>
              <a:ext uri="{FF2B5EF4-FFF2-40B4-BE49-F238E27FC236}">
                <a16:creationId xmlns:a16="http://schemas.microsoft.com/office/drawing/2014/main" id="{557D1D34-A0A5-889F-EC40-A06860CAD805}"/>
              </a:ext>
            </a:extLst>
          </p:cNvPr>
          <p:cNvSpPr txBox="1"/>
          <p:nvPr userDrawn="1"/>
        </p:nvSpPr>
        <p:spPr>
          <a:xfrm>
            <a:off x="4029741" y="6523817"/>
            <a:ext cx="3870251" cy="2564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467" rtl="0" fontAlgn="auto" latinLnBrk="0" hangingPunct="0">
              <a:lnSpc>
                <a:spcPct val="100000"/>
              </a:lnSpc>
              <a:spcBef>
                <a:spcPts val="0"/>
              </a:spcBef>
              <a:spcAft>
                <a:spcPts val="0"/>
              </a:spcAft>
              <a:buClrTx/>
              <a:buSzTx/>
              <a:buFontTx/>
              <a:buNone/>
              <a:tabLst/>
            </a:pPr>
            <a:r>
              <a:rPr kumimoji="0" lang="en-US" sz="1000" b="0" i="0" u="none" strike="noStrike" cap="none" spc="0" normalizeH="0" baseline="0">
                <a:ln>
                  <a:noFill/>
                </a:ln>
                <a:solidFill>
                  <a:schemeClr val="bg1"/>
                </a:solidFill>
                <a:effectLst/>
                <a:uFillTx/>
                <a:latin typeface="Moderat Regular"/>
                <a:ea typeface="Moderat Regular"/>
                <a:cs typeface="Moderat Regular"/>
                <a:sym typeface="Moderat Regular"/>
              </a:rPr>
              <a:t>2023 © Copyright ANSR. All rights reserved.</a:t>
            </a:r>
          </a:p>
        </p:txBody>
      </p:sp>
    </p:spTree>
    <p:extLst>
      <p:ext uri="{BB962C8B-B14F-4D97-AF65-F5344CB8AC3E}">
        <p14:creationId xmlns:p14="http://schemas.microsoft.com/office/powerpoint/2010/main" val="30209923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06127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Cover Slide - Option 3">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858EFAB-9CC3-E4AB-000E-7600123E5884}"/>
              </a:ext>
            </a:extLst>
          </p:cNvPr>
          <p:cNvSpPr/>
          <p:nvPr userDrawn="1"/>
        </p:nvSpPr>
        <p:spPr>
          <a:xfrm>
            <a:off x="-69573" y="0"/>
            <a:ext cx="12261574" cy="6858000"/>
          </a:xfrm>
          <a:prstGeom prst="rect">
            <a:avLst/>
          </a:prstGeom>
          <a:gradFill flip="none" rotWithShape="1">
            <a:gsLst>
              <a:gs pos="0">
                <a:schemeClr val="accent6"/>
              </a:gs>
              <a:gs pos="21000">
                <a:schemeClr val="accent6"/>
              </a:gs>
              <a:gs pos="100000">
                <a:schemeClr val="tx1"/>
              </a:gs>
            </a:gsLst>
            <a:path path="circle">
              <a:fillToRect l="100000" t="100000"/>
            </a:path>
            <a:tileRect r="-100000" b="-10000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pic>
        <p:nvPicPr>
          <p:cNvPr id="15" name="Graphic 14">
            <a:extLst>
              <a:ext uri="{FF2B5EF4-FFF2-40B4-BE49-F238E27FC236}">
                <a16:creationId xmlns:a16="http://schemas.microsoft.com/office/drawing/2014/main" id="{A01BE783-CD6E-1E96-645E-599A232F897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30609" y="2529407"/>
            <a:ext cx="5020819" cy="1799191"/>
          </a:xfrm>
          <a:prstGeom prst="rect">
            <a:avLst/>
          </a:prstGeom>
        </p:spPr>
      </p:pic>
      <p:pic>
        <p:nvPicPr>
          <p:cNvPr id="17" name="Graphic 16">
            <a:extLst>
              <a:ext uri="{FF2B5EF4-FFF2-40B4-BE49-F238E27FC236}">
                <a16:creationId xmlns:a16="http://schemas.microsoft.com/office/drawing/2014/main" id="{E5377D23-7D4A-BA09-CAE1-A10B62FEA6C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240159" y="1764195"/>
            <a:ext cx="7911549" cy="8191603"/>
          </a:xfrm>
          <a:prstGeom prst="rect">
            <a:avLst/>
          </a:prstGeom>
        </p:spPr>
      </p:pic>
    </p:spTree>
    <p:extLst>
      <p:ext uri="{BB962C8B-B14F-4D97-AF65-F5344CB8AC3E}">
        <p14:creationId xmlns:p14="http://schemas.microsoft.com/office/powerpoint/2010/main" val="255478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afterEffect">
                                  <p:stCondLst>
                                    <p:cond delay="0"/>
                                  </p:stCondLst>
                                  <p:childTnLst>
                                    <p:animRot by="21600000">
                                      <p:cBhvr>
                                        <p:cTn id="6" dur="40000" fill="hold"/>
                                        <p:tgtEl>
                                          <p:spTgt spid="1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ver Slide - Option 6">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FA3C78D8-A713-F476-D34B-636F595B80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25934" y="739756"/>
            <a:ext cx="5020819" cy="5198547"/>
          </a:xfrm>
          <a:prstGeom prst="rect">
            <a:avLst/>
          </a:prstGeom>
        </p:spPr>
      </p:pic>
      <p:pic>
        <p:nvPicPr>
          <p:cNvPr id="4" name="Graphic 3">
            <a:extLst>
              <a:ext uri="{FF2B5EF4-FFF2-40B4-BE49-F238E27FC236}">
                <a16:creationId xmlns:a16="http://schemas.microsoft.com/office/drawing/2014/main" id="{E5CA6CA0-5864-EB66-40E1-3C91689ADD8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752885" y="209497"/>
            <a:ext cx="1135179" cy="406787"/>
          </a:xfrm>
          <a:prstGeom prst="rect">
            <a:avLst/>
          </a:prstGeom>
        </p:spPr>
      </p:pic>
      <p:cxnSp>
        <p:nvCxnSpPr>
          <p:cNvPr id="5" name="Straight Connector 4">
            <a:extLst>
              <a:ext uri="{FF2B5EF4-FFF2-40B4-BE49-F238E27FC236}">
                <a16:creationId xmlns:a16="http://schemas.microsoft.com/office/drawing/2014/main" id="{DA129EFA-886A-FCA0-8534-CAE9C1D592B8}"/>
              </a:ext>
            </a:extLst>
          </p:cNvPr>
          <p:cNvCxnSpPr>
            <a:cxnSpLocks/>
          </p:cNvCxnSpPr>
          <p:nvPr userDrawn="1"/>
        </p:nvCxnSpPr>
        <p:spPr>
          <a:xfrm>
            <a:off x="225398" y="6275562"/>
            <a:ext cx="1165186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38613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Divider -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4B354C-42BE-652A-D346-D7A43BA2023F}"/>
              </a:ext>
            </a:extLst>
          </p:cNvPr>
          <p:cNvSpPr/>
          <p:nvPr userDrawn="1"/>
        </p:nvSpPr>
        <p:spPr>
          <a:xfrm>
            <a:off x="-69573" y="0"/>
            <a:ext cx="12261574" cy="6858000"/>
          </a:xfrm>
          <a:prstGeom prst="rect">
            <a:avLst/>
          </a:prstGeom>
          <a:gradFill flip="none" rotWithShape="1">
            <a:gsLst>
              <a:gs pos="0">
                <a:schemeClr val="accent6"/>
              </a:gs>
              <a:gs pos="21000">
                <a:schemeClr val="accent6"/>
              </a:gs>
              <a:gs pos="100000">
                <a:schemeClr val="tx1"/>
              </a:gs>
            </a:gsLst>
            <a:path path="circle">
              <a:fillToRect l="100000" t="100000"/>
            </a:path>
            <a:tileRect r="-100000" b="-10000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graphicFrame>
        <p:nvGraphicFramePr>
          <p:cNvPr id="13" name="Object 12" hidden="1">
            <a:extLst>
              <a:ext uri="{FF2B5EF4-FFF2-40B4-BE49-F238E27FC236}">
                <a16:creationId xmlns:a16="http://schemas.microsoft.com/office/drawing/2014/main" id="{41EA3683-38AC-4146-9920-CD1009D111AA}"/>
              </a:ext>
            </a:extLst>
          </p:cNvPr>
          <p:cNvGraphicFramePr>
            <a:graphicFrameLocks noChangeAspect="1"/>
          </p:cNvGraphicFramePr>
          <p:nvPr userDrawn="1">
            <p:custDataLst>
              <p:tags r:id="rId1"/>
            </p:custDataLst>
            <p:extLst>
              <p:ext uri="{D42A27DB-BD31-4B8C-83A1-F6EECF244321}">
                <p14:modId xmlns:p14="http://schemas.microsoft.com/office/powerpoint/2010/main" val="1093373546"/>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41EA3683-38AC-4146-9920-CD1009D111AA}"/>
                          </a:ext>
                        </a:extLst>
                      </p:cNvPr>
                      <p:cNvPicPr/>
                      <p:nvPr/>
                    </p:nvPicPr>
                    <p:blipFill>
                      <a:blip r:embed="rId5"/>
                      <a:stretch>
                        <a:fillRect/>
                      </a:stretch>
                    </p:blipFill>
                    <p:spPr>
                      <a:xfrm>
                        <a:off x="1588" y="1588"/>
                        <a:ext cx="1589"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42BF874-8D4A-4A2B-BC9A-086A7D8531F0}"/>
              </a:ext>
            </a:extLst>
          </p:cNvPr>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IN" sz="3200" b="0" i="0" baseline="0">
              <a:latin typeface="Moderat" pitchFamily="2" charset="77"/>
              <a:ea typeface="+mj-ea"/>
              <a:cs typeface="+mj-cs"/>
              <a:sym typeface="Roboto" pitchFamily="2" charset="0"/>
            </a:endParaRPr>
          </a:p>
        </p:txBody>
      </p:sp>
      <p:sp>
        <p:nvSpPr>
          <p:cNvPr id="10" name="Footer Placeholder 4">
            <a:extLst>
              <a:ext uri="{FF2B5EF4-FFF2-40B4-BE49-F238E27FC236}">
                <a16:creationId xmlns:a16="http://schemas.microsoft.com/office/drawing/2014/main" id="{4B5A5E8B-62A3-E2C7-3765-431720C49555}"/>
              </a:ext>
            </a:extLst>
          </p:cNvPr>
          <p:cNvSpPr txBox="1">
            <a:spLocks/>
          </p:cNvSpPr>
          <p:nvPr userDrawn="1"/>
        </p:nvSpPr>
        <p:spPr>
          <a:xfrm>
            <a:off x="9551504" y="6430411"/>
            <a:ext cx="2325757" cy="163827"/>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ANSR.COM</a:t>
            </a:r>
            <a:endParaRPr lang="en-IN" sz="1000" b="0" i="0">
              <a:solidFill>
                <a:schemeClr val="bg1"/>
              </a:solidFill>
              <a:latin typeface="Moderat" pitchFamily="2" charset="77"/>
            </a:endParaRPr>
          </a:p>
        </p:txBody>
      </p:sp>
      <p:sp>
        <p:nvSpPr>
          <p:cNvPr id="14" name="Footer Placeholder 4">
            <a:extLst>
              <a:ext uri="{FF2B5EF4-FFF2-40B4-BE49-F238E27FC236}">
                <a16:creationId xmlns:a16="http://schemas.microsoft.com/office/drawing/2014/main" id="{D2DDA43D-015A-9066-9393-5C1235ECEF38}"/>
              </a:ext>
            </a:extLst>
          </p:cNvPr>
          <p:cNvSpPr txBox="1">
            <a:spLocks/>
          </p:cNvSpPr>
          <p:nvPr userDrawn="1"/>
        </p:nvSpPr>
        <p:spPr>
          <a:xfrm>
            <a:off x="5446644" y="6430410"/>
            <a:ext cx="1769165" cy="163826"/>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BETTER OUTCOMES.</a:t>
            </a:r>
            <a:endParaRPr lang="en-IN" sz="1000" b="0" i="0">
              <a:solidFill>
                <a:schemeClr val="bg1"/>
              </a:solidFill>
              <a:latin typeface="Moderat" pitchFamily="2" charset="77"/>
            </a:endParaRPr>
          </a:p>
        </p:txBody>
      </p:sp>
      <p:cxnSp>
        <p:nvCxnSpPr>
          <p:cNvPr id="16" name="Straight Connector 15">
            <a:extLst>
              <a:ext uri="{FF2B5EF4-FFF2-40B4-BE49-F238E27FC236}">
                <a16:creationId xmlns:a16="http://schemas.microsoft.com/office/drawing/2014/main" id="{916A0C90-F3CE-D930-A10A-9D170E8723E9}"/>
              </a:ext>
            </a:extLst>
          </p:cNvPr>
          <p:cNvCxnSpPr>
            <a:cxnSpLocks/>
          </p:cNvCxnSpPr>
          <p:nvPr userDrawn="1"/>
        </p:nvCxnSpPr>
        <p:spPr>
          <a:xfrm>
            <a:off x="225398" y="6275562"/>
            <a:ext cx="11651865"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D24B0A79-9692-0DC0-56BD-139DE972B8D2}"/>
              </a:ext>
            </a:extLst>
          </p:cNvPr>
          <p:cNvPicPr>
            <a:picLocks noChangeAspect="1"/>
          </p:cNvPicPr>
          <p:nvPr userDrawn="1"/>
        </p:nvPicPr>
        <p:blipFill>
          <a:blip r:embed="rId6">
            <a:extLst>
              <a:ext uri="{96DAC541-7B7A-43D3-8B79-37D633B846F1}">
                <asvg:svgBlip xmlns:asvg="http://schemas.microsoft.com/office/drawing/2016/SVG/main" r:embed="rId7"/>
              </a:ext>
            </a:extLst>
          </a:blip>
          <a:srcRect l="37031"/>
          <a:stretch/>
        </p:blipFill>
        <p:spPr>
          <a:xfrm>
            <a:off x="225395" y="6318690"/>
            <a:ext cx="738169" cy="420078"/>
          </a:xfrm>
          <a:prstGeom prst="rect">
            <a:avLst/>
          </a:prstGeom>
        </p:spPr>
      </p:pic>
      <p:pic>
        <p:nvPicPr>
          <p:cNvPr id="25" name="Graphic 24">
            <a:extLst>
              <a:ext uri="{FF2B5EF4-FFF2-40B4-BE49-F238E27FC236}">
                <a16:creationId xmlns:a16="http://schemas.microsoft.com/office/drawing/2014/main" id="{00882F37-A5EB-C317-5C60-CEE42404FF0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58613" y="659698"/>
            <a:ext cx="2605547" cy="933689"/>
          </a:xfrm>
          <a:prstGeom prst="rect">
            <a:avLst/>
          </a:prstGeom>
        </p:spPr>
      </p:pic>
      <p:sp>
        <p:nvSpPr>
          <p:cNvPr id="26" name="Footer Placeholder 4">
            <a:extLst>
              <a:ext uri="{FF2B5EF4-FFF2-40B4-BE49-F238E27FC236}">
                <a16:creationId xmlns:a16="http://schemas.microsoft.com/office/drawing/2014/main" id="{BA5D6940-8AD1-C383-9784-C6691B42A7C9}"/>
              </a:ext>
            </a:extLst>
          </p:cNvPr>
          <p:cNvSpPr txBox="1">
            <a:spLocks/>
          </p:cNvSpPr>
          <p:nvPr userDrawn="1"/>
        </p:nvSpPr>
        <p:spPr>
          <a:xfrm>
            <a:off x="7275485" y="6430410"/>
            <a:ext cx="1946082" cy="163826"/>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 COPYRIGHT ANSR INC.</a:t>
            </a:r>
            <a:endParaRPr lang="en-IN" sz="1000" b="0" i="0">
              <a:solidFill>
                <a:schemeClr val="bg1"/>
              </a:solidFill>
              <a:latin typeface="Moderat" pitchFamily="2" charset="77"/>
            </a:endParaRPr>
          </a:p>
        </p:txBody>
      </p:sp>
    </p:spTree>
    <p:extLst>
      <p:ext uri="{BB962C8B-B14F-4D97-AF65-F5344CB8AC3E}">
        <p14:creationId xmlns:p14="http://schemas.microsoft.com/office/powerpoint/2010/main" val="1943057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Section Divider -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4B354C-42BE-652A-D346-D7A43BA2023F}"/>
              </a:ext>
            </a:extLst>
          </p:cNvPr>
          <p:cNvSpPr/>
          <p:nvPr userDrawn="1"/>
        </p:nvSpPr>
        <p:spPr>
          <a:xfrm>
            <a:off x="-69573" y="0"/>
            <a:ext cx="12261574" cy="6858000"/>
          </a:xfrm>
          <a:prstGeom prst="rect">
            <a:avLst/>
          </a:prstGeom>
          <a:gradFill flip="none" rotWithShape="1">
            <a:gsLst>
              <a:gs pos="0">
                <a:schemeClr val="accent6"/>
              </a:gs>
              <a:gs pos="21000">
                <a:schemeClr val="accent6"/>
              </a:gs>
              <a:gs pos="100000">
                <a:schemeClr val="tx1"/>
              </a:gs>
            </a:gsLst>
            <a:path path="circle">
              <a:fillToRect t="100000" r="100000"/>
            </a:path>
            <a:tileRect l="-100000" b="-10000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graphicFrame>
        <p:nvGraphicFramePr>
          <p:cNvPr id="13" name="Object 12" hidden="1">
            <a:extLst>
              <a:ext uri="{FF2B5EF4-FFF2-40B4-BE49-F238E27FC236}">
                <a16:creationId xmlns:a16="http://schemas.microsoft.com/office/drawing/2014/main" id="{41EA3683-38AC-4146-9920-CD1009D111AA}"/>
              </a:ext>
            </a:extLst>
          </p:cNvPr>
          <p:cNvGraphicFramePr>
            <a:graphicFrameLocks noChangeAspect="1"/>
          </p:cNvGraphicFramePr>
          <p:nvPr userDrawn="1">
            <p:custDataLst>
              <p:tags r:id="rId1"/>
            </p:custDataLst>
            <p:extLst>
              <p:ext uri="{D42A27DB-BD31-4B8C-83A1-F6EECF244321}">
                <p14:modId xmlns:p14="http://schemas.microsoft.com/office/powerpoint/2010/main" val="1093373546"/>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41EA3683-38AC-4146-9920-CD1009D111AA}"/>
                          </a:ext>
                        </a:extLst>
                      </p:cNvPr>
                      <p:cNvPicPr/>
                      <p:nvPr/>
                    </p:nvPicPr>
                    <p:blipFill>
                      <a:blip r:embed="rId5"/>
                      <a:stretch>
                        <a:fillRect/>
                      </a:stretch>
                    </p:blipFill>
                    <p:spPr>
                      <a:xfrm>
                        <a:off x="1588" y="1588"/>
                        <a:ext cx="1589"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42BF874-8D4A-4A2B-BC9A-086A7D8531F0}"/>
              </a:ext>
            </a:extLst>
          </p:cNvPr>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IN" sz="3200" b="0" i="0" baseline="0">
              <a:latin typeface="Moderat" pitchFamily="2" charset="77"/>
              <a:ea typeface="+mj-ea"/>
              <a:cs typeface="+mj-cs"/>
              <a:sym typeface="Roboto" pitchFamily="2" charset="0"/>
            </a:endParaRPr>
          </a:p>
        </p:txBody>
      </p:sp>
      <p:pic>
        <p:nvPicPr>
          <p:cNvPr id="2" name="Graphic 1">
            <a:extLst>
              <a:ext uri="{FF2B5EF4-FFF2-40B4-BE49-F238E27FC236}">
                <a16:creationId xmlns:a16="http://schemas.microsoft.com/office/drawing/2014/main" id="{559286CD-B938-C8F3-76B3-FED00326B6C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66512" y="253828"/>
            <a:ext cx="1510564" cy="541305"/>
          </a:xfrm>
          <a:prstGeom prst="rect">
            <a:avLst/>
          </a:prstGeom>
        </p:spPr>
      </p:pic>
      <p:pic>
        <p:nvPicPr>
          <p:cNvPr id="5" name="Graphic 4">
            <a:extLst>
              <a:ext uri="{FF2B5EF4-FFF2-40B4-BE49-F238E27FC236}">
                <a16:creationId xmlns:a16="http://schemas.microsoft.com/office/drawing/2014/main" id="{B8C8C085-D472-90A5-6E85-252F1C99405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3588028" y="889554"/>
            <a:ext cx="7911549" cy="8191603"/>
          </a:xfrm>
          <a:prstGeom prst="rect">
            <a:avLst/>
          </a:prstGeom>
        </p:spPr>
      </p:pic>
    </p:spTree>
    <p:extLst>
      <p:ext uri="{BB962C8B-B14F-4D97-AF65-F5344CB8AC3E}">
        <p14:creationId xmlns:p14="http://schemas.microsoft.com/office/powerpoint/2010/main" val="3396329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afterEffect">
                                  <p:stCondLst>
                                    <p:cond delay="0"/>
                                  </p:stCondLst>
                                  <p:childTnLst>
                                    <p:animRot by="21600000">
                                      <p:cBhvr>
                                        <p:cTn id="6" dur="40000" fill="hold"/>
                                        <p:tgtEl>
                                          <p:spTgt spid="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Section Divider -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4B354C-42BE-652A-D346-D7A43BA2023F}"/>
              </a:ext>
            </a:extLst>
          </p:cNvPr>
          <p:cNvSpPr/>
          <p:nvPr userDrawn="1"/>
        </p:nvSpPr>
        <p:spPr>
          <a:xfrm>
            <a:off x="-69573" y="0"/>
            <a:ext cx="12261574" cy="6858000"/>
          </a:xfrm>
          <a:prstGeom prst="rect">
            <a:avLst/>
          </a:prstGeom>
          <a:gradFill flip="none" rotWithShape="1">
            <a:gsLst>
              <a:gs pos="0">
                <a:schemeClr val="accent6"/>
              </a:gs>
              <a:gs pos="21000">
                <a:schemeClr val="accent6"/>
              </a:gs>
              <a:gs pos="100000">
                <a:schemeClr val="tx1"/>
              </a:gs>
            </a:gsLst>
            <a:path path="circle">
              <a:fillToRect t="100000" r="100000"/>
            </a:path>
            <a:tileRect l="-100000" b="-10000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graphicFrame>
        <p:nvGraphicFramePr>
          <p:cNvPr id="13" name="Object 12" hidden="1">
            <a:extLst>
              <a:ext uri="{FF2B5EF4-FFF2-40B4-BE49-F238E27FC236}">
                <a16:creationId xmlns:a16="http://schemas.microsoft.com/office/drawing/2014/main" id="{41EA3683-38AC-4146-9920-CD1009D111AA}"/>
              </a:ext>
            </a:extLst>
          </p:cNvPr>
          <p:cNvGraphicFramePr>
            <a:graphicFrameLocks noChangeAspect="1"/>
          </p:cNvGraphicFramePr>
          <p:nvPr userDrawn="1">
            <p:custDataLst>
              <p:tags r:id="rId1"/>
            </p:custDataLst>
            <p:extLst>
              <p:ext uri="{D42A27DB-BD31-4B8C-83A1-F6EECF244321}">
                <p14:modId xmlns:p14="http://schemas.microsoft.com/office/powerpoint/2010/main" val="1093373546"/>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41EA3683-38AC-4146-9920-CD1009D111AA}"/>
                          </a:ext>
                        </a:extLst>
                      </p:cNvPr>
                      <p:cNvPicPr/>
                      <p:nvPr/>
                    </p:nvPicPr>
                    <p:blipFill>
                      <a:blip r:embed="rId5"/>
                      <a:stretch>
                        <a:fillRect/>
                      </a:stretch>
                    </p:blipFill>
                    <p:spPr>
                      <a:xfrm>
                        <a:off x="1588" y="1588"/>
                        <a:ext cx="1589"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42BF874-8D4A-4A2B-BC9A-086A7D8531F0}"/>
              </a:ext>
            </a:extLst>
          </p:cNvPr>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IN" sz="3200" b="0" i="0" baseline="0">
              <a:latin typeface="Moderat" pitchFamily="2" charset="77"/>
              <a:ea typeface="+mj-ea"/>
              <a:cs typeface="+mj-cs"/>
              <a:sym typeface="Roboto" pitchFamily="2" charset="0"/>
            </a:endParaRPr>
          </a:p>
        </p:txBody>
      </p:sp>
      <p:pic>
        <p:nvPicPr>
          <p:cNvPr id="2" name="Graphic 1">
            <a:extLst>
              <a:ext uri="{FF2B5EF4-FFF2-40B4-BE49-F238E27FC236}">
                <a16:creationId xmlns:a16="http://schemas.microsoft.com/office/drawing/2014/main" id="{559286CD-B938-C8F3-76B3-FED00326B6C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66512" y="253828"/>
            <a:ext cx="1510564" cy="541305"/>
          </a:xfrm>
          <a:prstGeom prst="rect">
            <a:avLst/>
          </a:prstGeom>
        </p:spPr>
      </p:pic>
      <p:pic>
        <p:nvPicPr>
          <p:cNvPr id="5" name="Graphic 4">
            <a:extLst>
              <a:ext uri="{FF2B5EF4-FFF2-40B4-BE49-F238E27FC236}">
                <a16:creationId xmlns:a16="http://schemas.microsoft.com/office/drawing/2014/main" id="{B8C8C085-D472-90A5-6E85-252F1C99405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3588028" y="889554"/>
            <a:ext cx="7911549" cy="8191603"/>
          </a:xfrm>
          <a:prstGeom prst="rect">
            <a:avLst/>
          </a:prstGeom>
        </p:spPr>
      </p:pic>
      <p:sp>
        <p:nvSpPr>
          <p:cNvPr id="3" name="Footer Placeholder 4">
            <a:extLst>
              <a:ext uri="{FF2B5EF4-FFF2-40B4-BE49-F238E27FC236}">
                <a16:creationId xmlns:a16="http://schemas.microsoft.com/office/drawing/2014/main" id="{D61A8FFA-5E6E-A68A-AA25-4A73C1D501AF}"/>
              </a:ext>
            </a:extLst>
          </p:cNvPr>
          <p:cNvSpPr txBox="1">
            <a:spLocks/>
          </p:cNvSpPr>
          <p:nvPr userDrawn="1"/>
        </p:nvSpPr>
        <p:spPr>
          <a:xfrm>
            <a:off x="9551504" y="6430411"/>
            <a:ext cx="2325757" cy="163827"/>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ANSR.COM</a:t>
            </a:r>
            <a:endParaRPr lang="en-IN" sz="1000" b="0" i="0">
              <a:solidFill>
                <a:schemeClr val="bg1"/>
              </a:solidFill>
              <a:latin typeface="Moderat" pitchFamily="2" charset="77"/>
            </a:endParaRPr>
          </a:p>
        </p:txBody>
      </p:sp>
      <p:sp>
        <p:nvSpPr>
          <p:cNvPr id="6" name="Footer Placeholder 4">
            <a:extLst>
              <a:ext uri="{FF2B5EF4-FFF2-40B4-BE49-F238E27FC236}">
                <a16:creationId xmlns:a16="http://schemas.microsoft.com/office/drawing/2014/main" id="{A6C667F5-76DD-B76D-7547-2358840DA234}"/>
              </a:ext>
            </a:extLst>
          </p:cNvPr>
          <p:cNvSpPr txBox="1">
            <a:spLocks/>
          </p:cNvSpPr>
          <p:nvPr userDrawn="1"/>
        </p:nvSpPr>
        <p:spPr>
          <a:xfrm>
            <a:off x="5446644" y="6430410"/>
            <a:ext cx="1769165" cy="163826"/>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BETTER OUTCOMES.</a:t>
            </a:r>
            <a:endParaRPr lang="en-IN" sz="1000" b="0" i="0">
              <a:solidFill>
                <a:schemeClr val="bg1"/>
              </a:solidFill>
              <a:latin typeface="Moderat" pitchFamily="2" charset="77"/>
            </a:endParaRPr>
          </a:p>
        </p:txBody>
      </p:sp>
      <p:cxnSp>
        <p:nvCxnSpPr>
          <p:cNvPr id="7" name="Straight Connector 6">
            <a:extLst>
              <a:ext uri="{FF2B5EF4-FFF2-40B4-BE49-F238E27FC236}">
                <a16:creationId xmlns:a16="http://schemas.microsoft.com/office/drawing/2014/main" id="{671671E5-40A6-1577-F7F7-6904E1EECAFF}"/>
              </a:ext>
            </a:extLst>
          </p:cNvPr>
          <p:cNvCxnSpPr>
            <a:cxnSpLocks/>
          </p:cNvCxnSpPr>
          <p:nvPr userDrawn="1"/>
        </p:nvCxnSpPr>
        <p:spPr>
          <a:xfrm>
            <a:off x="225398" y="6275562"/>
            <a:ext cx="11651865"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8E7A769-ACE4-F381-DA1C-AEA4CE721489}"/>
              </a:ext>
            </a:extLst>
          </p:cNvPr>
          <p:cNvPicPr>
            <a:picLocks noChangeAspect="1"/>
          </p:cNvPicPr>
          <p:nvPr userDrawn="1"/>
        </p:nvPicPr>
        <p:blipFill>
          <a:blip r:embed="rId10">
            <a:extLst>
              <a:ext uri="{96DAC541-7B7A-43D3-8B79-37D633B846F1}">
                <asvg:svgBlip xmlns:asvg="http://schemas.microsoft.com/office/drawing/2016/SVG/main" r:embed="rId11"/>
              </a:ext>
            </a:extLst>
          </a:blip>
          <a:srcRect l="37031"/>
          <a:stretch/>
        </p:blipFill>
        <p:spPr>
          <a:xfrm>
            <a:off x="225395" y="6318690"/>
            <a:ext cx="738169" cy="420078"/>
          </a:xfrm>
          <a:prstGeom prst="rect">
            <a:avLst/>
          </a:prstGeom>
        </p:spPr>
      </p:pic>
      <p:sp>
        <p:nvSpPr>
          <p:cNvPr id="9" name="Footer Placeholder 4">
            <a:extLst>
              <a:ext uri="{FF2B5EF4-FFF2-40B4-BE49-F238E27FC236}">
                <a16:creationId xmlns:a16="http://schemas.microsoft.com/office/drawing/2014/main" id="{EC860F48-17A5-9DFC-51D6-AA9A4F6FC43F}"/>
              </a:ext>
            </a:extLst>
          </p:cNvPr>
          <p:cNvSpPr txBox="1">
            <a:spLocks/>
          </p:cNvSpPr>
          <p:nvPr userDrawn="1"/>
        </p:nvSpPr>
        <p:spPr>
          <a:xfrm>
            <a:off x="7275485" y="6430410"/>
            <a:ext cx="1946082" cy="163826"/>
          </a:xfrm>
          <a:prstGeom prst="rect">
            <a:avLst/>
          </a:prstGeom>
        </p:spPr>
        <p:txBody>
          <a:bodyPr lIns="0" tIns="0" rIns="0" bIns="0" anchor="t"/>
          <a:lstStyle>
            <a:defPPr>
              <a:defRPr lang="en-US"/>
            </a:defPPr>
            <a:lvl1pPr marL="0" algn="r" defTabSz="914400" rtl="0" eaLnBrk="1" latinLnBrk="0" hangingPunct="1">
              <a:defRPr sz="1000" b="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a:solidFill>
                  <a:schemeClr val="bg1"/>
                </a:solidFill>
                <a:latin typeface="Moderat" pitchFamily="2" charset="77"/>
              </a:rPr>
              <a:t>© COPYRIGHT ANSR INC.</a:t>
            </a:r>
            <a:endParaRPr lang="en-IN" sz="1000" b="0" i="0">
              <a:solidFill>
                <a:schemeClr val="bg1"/>
              </a:solidFill>
              <a:latin typeface="Moderat" pitchFamily="2" charset="77"/>
            </a:endParaRPr>
          </a:p>
        </p:txBody>
      </p:sp>
    </p:spTree>
    <p:extLst>
      <p:ext uri="{BB962C8B-B14F-4D97-AF65-F5344CB8AC3E}">
        <p14:creationId xmlns:p14="http://schemas.microsoft.com/office/powerpoint/2010/main" val="4012303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afterEffect">
                                  <p:stCondLst>
                                    <p:cond delay="0"/>
                                  </p:stCondLst>
                                  <p:childTnLst>
                                    <p:animRot by="21600000">
                                      <p:cBhvr>
                                        <p:cTn id="6" dur="40000" fill="hold"/>
                                        <p:tgtEl>
                                          <p:spTgt spid="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 - Option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F408877-090F-006B-CF6E-C6D3B9CD5D47}"/>
              </a:ext>
              <a:ext uri="{C183D7F6-B498-43B3-948B-1728B52AA6E4}">
                <adec:decorative xmlns:adec="http://schemas.microsoft.com/office/drawing/2017/decorative" val="1"/>
              </a:ext>
            </a:extLst>
          </p:cNvPr>
          <p:cNvSpPr>
            <a:spLocks/>
          </p:cNvSpPr>
          <p:nvPr userDrawn="1"/>
        </p:nvSpPr>
        <p:spPr>
          <a:xfrm flipH="1">
            <a:off x="-6" y="3"/>
            <a:ext cx="12193723" cy="6858001"/>
          </a:xfrm>
          <a:prstGeom prst="rect">
            <a:avLst/>
          </a:prstGeom>
          <a:solidFill>
            <a:srgbClr val="F5F5F5"/>
          </a:solidFill>
          <a:ln>
            <a:noFill/>
          </a:ln>
          <a:effectLst>
            <a:outerShdw blurRad="730711" dist="200717" dir="4980000" sx="100964" sy="100964" algn="ctr" rotWithShape="0">
              <a:srgbClr val="000000">
                <a:alpha val="27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graphicFrame>
        <p:nvGraphicFramePr>
          <p:cNvPr id="8" name="Object 7" hidden="1">
            <a:extLst>
              <a:ext uri="{FF2B5EF4-FFF2-40B4-BE49-F238E27FC236}">
                <a16:creationId xmlns:a16="http://schemas.microsoft.com/office/drawing/2014/main" id="{907B5108-41D4-4E8A-9210-597DB9ABD286}"/>
              </a:ext>
            </a:extLst>
          </p:cNvPr>
          <p:cNvGraphicFramePr>
            <a:graphicFrameLocks noChangeAspect="1"/>
          </p:cNvGraphicFramePr>
          <p:nvPr userDrawn="1">
            <p:custDataLst>
              <p:tags r:id="rId1"/>
            </p:custDataLst>
            <p:extLst>
              <p:ext uri="{D42A27DB-BD31-4B8C-83A1-F6EECF244321}">
                <p14:modId xmlns:p14="http://schemas.microsoft.com/office/powerpoint/2010/main" val="1525096349"/>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907B5108-41D4-4E8A-9210-597DB9ABD286}"/>
                          </a:ext>
                        </a:extLst>
                      </p:cNvPr>
                      <p:cNvPicPr/>
                      <p:nvPr/>
                    </p:nvPicPr>
                    <p:blipFill>
                      <a:blip r:embed="rId5"/>
                      <a:stretch>
                        <a:fillRect/>
                      </a:stretch>
                    </p:blipFill>
                    <p:spPr>
                      <a:xfrm>
                        <a:off x="1588" y="1588"/>
                        <a:ext cx="1589"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82325A6-7F1A-4939-A691-F78CC00FACED}"/>
              </a:ext>
            </a:extLst>
          </p:cNvPr>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Moderat" pitchFamily="2" charset="77"/>
              <a:ea typeface="+mj-ea"/>
              <a:cs typeface="+mj-cs"/>
              <a:sym typeface="Roboto" pitchFamily="2" charset="0"/>
            </a:endParaRPr>
          </a:p>
        </p:txBody>
      </p:sp>
      <p:pic>
        <p:nvPicPr>
          <p:cNvPr id="37" name="Graphic 36">
            <a:extLst>
              <a:ext uri="{FF2B5EF4-FFF2-40B4-BE49-F238E27FC236}">
                <a16:creationId xmlns:a16="http://schemas.microsoft.com/office/drawing/2014/main" id="{84585CC5-E5CA-2A08-3A9C-8CC25A3CBF1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59116" y="209498"/>
            <a:ext cx="1528946" cy="547891"/>
          </a:xfrm>
          <a:prstGeom prst="rect">
            <a:avLst/>
          </a:prstGeom>
        </p:spPr>
      </p:pic>
      <p:sp>
        <p:nvSpPr>
          <p:cNvPr id="3" name="Rectangle 2">
            <a:extLst>
              <a:ext uri="{FF2B5EF4-FFF2-40B4-BE49-F238E27FC236}">
                <a16:creationId xmlns:a16="http://schemas.microsoft.com/office/drawing/2014/main" id="{BB2FC542-2805-EA0A-DD47-C836DC8D85C7}"/>
              </a:ext>
            </a:extLst>
          </p:cNvPr>
          <p:cNvSpPr/>
          <p:nvPr userDrawn="1"/>
        </p:nvSpPr>
        <p:spPr>
          <a:xfrm>
            <a:off x="1" y="1044340"/>
            <a:ext cx="12192000" cy="52950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b="0" i="0">
              <a:solidFill>
                <a:schemeClr val="bg1"/>
              </a:solidFill>
              <a:latin typeface="Moderat" pitchFamily="2" charset="77"/>
            </a:endParaRPr>
          </a:p>
        </p:txBody>
      </p:sp>
      <p:cxnSp>
        <p:nvCxnSpPr>
          <p:cNvPr id="4" name="Straight Connector 3">
            <a:extLst>
              <a:ext uri="{FF2B5EF4-FFF2-40B4-BE49-F238E27FC236}">
                <a16:creationId xmlns:a16="http://schemas.microsoft.com/office/drawing/2014/main" id="{CBA442F8-304A-93B3-7610-667848C54AB9}"/>
              </a:ext>
            </a:extLst>
          </p:cNvPr>
          <p:cNvCxnSpPr>
            <a:cxnSpLocks/>
          </p:cNvCxnSpPr>
          <p:nvPr userDrawn="1"/>
        </p:nvCxnSpPr>
        <p:spPr>
          <a:xfrm>
            <a:off x="559712" y="6340669"/>
            <a:ext cx="11072576"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88707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 Option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F408877-090F-006B-CF6E-C6D3B9CD5D47}"/>
              </a:ext>
              <a:ext uri="{C183D7F6-B498-43B3-948B-1728B52AA6E4}">
                <adec:decorative xmlns:adec="http://schemas.microsoft.com/office/drawing/2017/decorative" val="1"/>
              </a:ext>
            </a:extLst>
          </p:cNvPr>
          <p:cNvSpPr>
            <a:spLocks/>
          </p:cNvSpPr>
          <p:nvPr userDrawn="1"/>
        </p:nvSpPr>
        <p:spPr>
          <a:xfrm flipH="1">
            <a:off x="-6" y="3"/>
            <a:ext cx="12193723" cy="6858001"/>
          </a:xfrm>
          <a:prstGeom prst="rect">
            <a:avLst/>
          </a:prstGeom>
          <a:solidFill>
            <a:srgbClr val="F5F5F5"/>
          </a:solidFill>
          <a:ln>
            <a:noFill/>
          </a:ln>
          <a:effectLst>
            <a:outerShdw blurRad="730711" dist="200717" dir="4980000" sx="100964" sy="100964" algn="ctr" rotWithShape="0">
              <a:srgbClr val="000000">
                <a:alpha val="27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graphicFrame>
        <p:nvGraphicFramePr>
          <p:cNvPr id="8" name="Object 7" hidden="1">
            <a:extLst>
              <a:ext uri="{FF2B5EF4-FFF2-40B4-BE49-F238E27FC236}">
                <a16:creationId xmlns:a16="http://schemas.microsoft.com/office/drawing/2014/main" id="{907B5108-41D4-4E8A-9210-597DB9ABD286}"/>
              </a:ext>
            </a:extLst>
          </p:cNvPr>
          <p:cNvGraphicFramePr>
            <a:graphicFrameLocks noChangeAspect="1"/>
          </p:cNvGraphicFramePr>
          <p:nvPr userDrawn="1">
            <p:custDataLst>
              <p:tags r:id="rId1"/>
            </p:custDataLst>
            <p:extLst>
              <p:ext uri="{D42A27DB-BD31-4B8C-83A1-F6EECF244321}">
                <p14:modId xmlns:p14="http://schemas.microsoft.com/office/powerpoint/2010/main" val="1525096349"/>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907B5108-41D4-4E8A-9210-597DB9ABD286}"/>
                          </a:ext>
                        </a:extLst>
                      </p:cNvPr>
                      <p:cNvPicPr/>
                      <p:nvPr/>
                    </p:nvPicPr>
                    <p:blipFill>
                      <a:blip r:embed="rId5"/>
                      <a:stretch>
                        <a:fillRect/>
                      </a:stretch>
                    </p:blipFill>
                    <p:spPr>
                      <a:xfrm>
                        <a:off x="1588" y="1588"/>
                        <a:ext cx="1589"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82325A6-7F1A-4939-A691-F78CC00FACED}"/>
              </a:ext>
            </a:extLst>
          </p:cNvPr>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Moderat" pitchFamily="2" charset="77"/>
              <a:ea typeface="+mj-ea"/>
              <a:cs typeface="+mj-cs"/>
              <a:sym typeface="Roboto" pitchFamily="2" charset="0"/>
            </a:endParaRPr>
          </a:p>
        </p:txBody>
      </p:sp>
      <p:pic>
        <p:nvPicPr>
          <p:cNvPr id="37" name="Graphic 36">
            <a:extLst>
              <a:ext uri="{FF2B5EF4-FFF2-40B4-BE49-F238E27FC236}">
                <a16:creationId xmlns:a16="http://schemas.microsoft.com/office/drawing/2014/main" id="{84585CC5-E5CA-2A08-3A9C-8CC25A3CBF1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59116" y="209498"/>
            <a:ext cx="1528946" cy="547891"/>
          </a:xfrm>
          <a:prstGeom prst="rect">
            <a:avLst/>
          </a:prstGeom>
        </p:spPr>
      </p:pic>
      <p:sp>
        <p:nvSpPr>
          <p:cNvPr id="3" name="Rectangle 2">
            <a:extLst>
              <a:ext uri="{FF2B5EF4-FFF2-40B4-BE49-F238E27FC236}">
                <a16:creationId xmlns:a16="http://schemas.microsoft.com/office/drawing/2014/main" id="{BB2FC542-2805-EA0A-DD47-C836DC8D85C7}"/>
              </a:ext>
            </a:extLst>
          </p:cNvPr>
          <p:cNvSpPr/>
          <p:nvPr userDrawn="1"/>
        </p:nvSpPr>
        <p:spPr>
          <a:xfrm>
            <a:off x="1" y="1044340"/>
            <a:ext cx="12192000" cy="52950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b="0" i="0">
              <a:solidFill>
                <a:schemeClr val="bg1"/>
              </a:solidFill>
              <a:latin typeface="Moderat" pitchFamily="2" charset="77"/>
            </a:endParaRPr>
          </a:p>
        </p:txBody>
      </p:sp>
    </p:spTree>
    <p:extLst>
      <p:ext uri="{BB962C8B-B14F-4D97-AF65-F5344CB8AC3E}">
        <p14:creationId xmlns:p14="http://schemas.microsoft.com/office/powerpoint/2010/main" val="1281779831"/>
      </p:ext>
    </p:extLst>
  </p:cSld>
  <p:clrMapOvr>
    <a:masterClrMapping/>
  </p:clrMapOvr>
  <p:extLst>
    <p:ext uri="{DCECCB84-F9BA-43D5-87BE-67443E8EF086}">
      <p15:sldGuideLst xmlns:p15="http://schemas.microsoft.com/office/powerpoint/2012/main">
        <p15:guide id="1" pos="325" userDrawn="1">
          <p15:clr>
            <a:srgbClr val="000000"/>
          </p15:clr>
        </p15:guide>
        <p15:guide id="2" pos="7355" userDrawn="1">
          <p15:clr>
            <a:srgbClr val="000000"/>
          </p15:clr>
        </p15:guide>
        <p15:guide id="3" orient="horz" pos="3770" userDrawn="1">
          <p15:clr>
            <a:srgbClr val="000000"/>
          </p15:clr>
        </p15:guide>
        <p15:guide id="4" orient="horz" pos="890" userDrawn="1">
          <p15:clr>
            <a:srgbClr val="00000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Agenda - Option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F408877-090F-006B-CF6E-C6D3B9CD5D47}"/>
              </a:ext>
              <a:ext uri="{C183D7F6-B498-43B3-948B-1728B52AA6E4}">
                <adec:decorative xmlns:adec="http://schemas.microsoft.com/office/drawing/2017/decorative" val="1"/>
              </a:ext>
            </a:extLst>
          </p:cNvPr>
          <p:cNvSpPr>
            <a:spLocks/>
          </p:cNvSpPr>
          <p:nvPr userDrawn="1"/>
        </p:nvSpPr>
        <p:spPr>
          <a:xfrm flipH="1">
            <a:off x="-6" y="3"/>
            <a:ext cx="12193723" cy="6858001"/>
          </a:xfrm>
          <a:prstGeom prst="rect">
            <a:avLst/>
          </a:prstGeom>
          <a:solidFill>
            <a:srgbClr val="F5F5F5"/>
          </a:solidFill>
          <a:ln>
            <a:noFill/>
          </a:ln>
          <a:effectLst>
            <a:outerShdw blurRad="730711" dist="200717" dir="4980000" sx="100964" sy="100964" algn="ctr" rotWithShape="0">
              <a:srgbClr val="000000">
                <a:alpha val="27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graphicFrame>
        <p:nvGraphicFramePr>
          <p:cNvPr id="8" name="Object 7" hidden="1">
            <a:extLst>
              <a:ext uri="{FF2B5EF4-FFF2-40B4-BE49-F238E27FC236}">
                <a16:creationId xmlns:a16="http://schemas.microsoft.com/office/drawing/2014/main" id="{907B5108-41D4-4E8A-9210-597DB9ABD286}"/>
              </a:ext>
            </a:extLst>
          </p:cNvPr>
          <p:cNvGraphicFramePr>
            <a:graphicFrameLocks noChangeAspect="1"/>
          </p:cNvGraphicFramePr>
          <p:nvPr userDrawn="1">
            <p:custDataLst>
              <p:tags r:id="rId1"/>
            </p:custDataLst>
            <p:extLst>
              <p:ext uri="{D42A27DB-BD31-4B8C-83A1-F6EECF244321}">
                <p14:modId xmlns:p14="http://schemas.microsoft.com/office/powerpoint/2010/main" val="1525096349"/>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907B5108-41D4-4E8A-9210-597DB9ABD286}"/>
                          </a:ext>
                        </a:extLst>
                      </p:cNvPr>
                      <p:cNvPicPr/>
                      <p:nvPr/>
                    </p:nvPicPr>
                    <p:blipFill>
                      <a:blip r:embed="rId5"/>
                      <a:stretch>
                        <a:fillRect/>
                      </a:stretch>
                    </p:blipFill>
                    <p:spPr>
                      <a:xfrm>
                        <a:off x="1588" y="1588"/>
                        <a:ext cx="1589"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82325A6-7F1A-4939-A691-F78CC00FACED}"/>
              </a:ext>
            </a:extLst>
          </p:cNvPr>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Moderat" pitchFamily="2" charset="77"/>
              <a:ea typeface="+mj-ea"/>
              <a:cs typeface="+mj-cs"/>
              <a:sym typeface="Roboto" pitchFamily="2" charset="0"/>
            </a:endParaRPr>
          </a:p>
        </p:txBody>
      </p:sp>
      <p:pic>
        <p:nvPicPr>
          <p:cNvPr id="37" name="Graphic 36">
            <a:extLst>
              <a:ext uri="{FF2B5EF4-FFF2-40B4-BE49-F238E27FC236}">
                <a16:creationId xmlns:a16="http://schemas.microsoft.com/office/drawing/2014/main" id="{84585CC5-E5CA-2A08-3A9C-8CC25A3CBF1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59116" y="209498"/>
            <a:ext cx="1528946" cy="547891"/>
          </a:xfrm>
          <a:prstGeom prst="rect">
            <a:avLst/>
          </a:prstGeom>
        </p:spPr>
      </p:pic>
      <p:sp>
        <p:nvSpPr>
          <p:cNvPr id="3" name="Rectangle 2">
            <a:extLst>
              <a:ext uri="{FF2B5EF4-FFF2-40B4-BE49-F238E27FC236}">
                <a16:creationId xmlns:a16="http://schemas.microsoft.com/office/drawing/2014/main" id="{BB2FC542-2805-EA0A-DD47-C836DC8D85C7}"/>
              </a:ext>
            </a:extLst>
          </p:cNvPr>
          <p:cNvSpPr/>
          <p:nvPr userDrawn="1"/>
        </p:nvSpPr>
        <p:spPr>
          <a:xfrm>
            <a:off x="559712" y="1044340"/>
            <a:ext cx="11632289" cy="52950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b="0" i="0">
              <a:solidFill>
                <a:schemeClr val="bg1"/>
              </a:solidFill>
              <a:latin typeface="Moderat" pitchFamily="2" charset="77"/>
            </a:endParaRPr>
          </a:p>
        </p:txBody>
      </p:sp>
      <p:cxnSp>
        <p:nvCxnSpPr>
          <p:cNvPr id="4" name="Straight Connector 3">
            <a:extLst>
              <a:ext uri="{FF2B5EF4-FFF2-40B4-BE49-F238E27FC236}">
                <a16:creationId xmlns:a16="http://schemas.microsoft.com/office/drawing/2014/main" id="{CBA442F8-304A-93B3-7610-667848C54AB9}"/>
              </a:ext>
            </a:extLst>
          </p:cNvPr>
          <p:cNvCxnSpPr>
            <a:cxnSpLocks/>
          </p:cNvCxnSpPr>
          <p:nvPr userDrawn="1"/>
        </p:nvCxnSpPr>
        <p:spPr>
          <a:xfrm>
            <a:off x="559712" y="6340669"/>
            <a:ext cx="11072576"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009537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Agenda - Option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F408877-090F-006B-CF6E-C6D3B9CD5D47}"/>
              </a:ext>
              <a:ext uri="{C183D7F6-B498-43B3-948B-1728B52AA6E4}">
                <adec:decorative xmlns:adec="http://schemas.microsoft.com/office/drawing/2017/decorative" val="1"/>
              </a:ext>
            </a:extLst>
          </p:cNvPr>
          <p:cNvSpPr>
            <a:spLocks/>
          </p:cNvSpPr>
          <p:nvPr userDrawn="1"/>
        </p:nvSpPr>
        <p:spPr>
          <a:xfrm flipH="1">
            <a:off x="-5" y="973397"/>
            <a:ext cx="12193723" cy="5884607"/>
          </a:xfrm>
          <a:prstGeom prst="rect">
            <a:avLst/>
          </a:prstGeom>
          <a:solidFill>
            <a:srgbClr val="F5F5F5"/>
          </a:solidFill>
          <a:ln>
            <a:noFill/>
          </a:ln>
          <a:effectLst>
            <a:outerShdw blurRad="730711" dist="200717" dir="4980000" sx="100964" sy="100964" algn="ctr" rotWithShape="0">
              <a:srgbClr val="000000">
                <a:alpha val="27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graphicFrame>
        <p:nvGraphicFramePr>
          <p:cNvPr id="8" name="Object 7" hidden="1">
            <a:extLst>
              <a:ext uri="{FF2B5EF4-FFF2-40B4-BE49-F238E27FC236}">
                <a16:creationId xmlns:a16="http://schemas.microsoft.com/office/drawing/2014/main" id="{907B5108-41D4-4E8A-9210-597DB9ABD286}"/>
              </a:ext>
            </a:extLst>
          </p:cNvPr>
          <p:cNvGraphicFramePr>
            <a:graphicFrameLocks noChangeAspect="1"/>
          </p:cNvGraphicFramePr>
          <p:nvPr userDrawn="1">
            <p:custDataLst>
              <p:tags r:id="rId1"/>
            </p:custDataLst>
            <p:extLst>
              <p:ext uri="{D42A27DB-BD31-4B8C-83A1-F6EECF244321}">
                <p14:modId xmlns:p14="http://schemas.microsoft.com/office/powerpoint/2010/main" val="1525096349"/>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907B5108-41D4-4E8A-9210-597DB9ABD286}"/>
                          </a:ext>
                        </a:extLst>
                      </p:cNvPr>
                      <p:cNvPicPr/>
                      <p:nvPr/>
                    </p:nvPicPr>
                    <p:blipFill>
                      <a:blip r:embed="rId5"/>
                      <a:stretch>
                        <a:fillRect/>
                      </a:stretch>
                    </p:blipFill>
                    <p:spPr>
                      <a:xfrm>
                        <a:off x="1588" y="1588"/>
                        <a:ext cx="1589"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82325A6-7F1A-4939-A691-F78CC00FACED}"/>
              </a:ext>
            </a:extLst>
          </p:cNvPr>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Moderat" pitchFamily="2" charset="77"/>
              <a:ea typeface="+mj-ea"/>
              <a:cs typeface="+mj-cs"/>
              <a:sym typeface="Roboto" pitchFamily="2" charset="0"/>
            </a:endParaRPr>
          </a:p>
        </p:txBody>
      </p:sp>
      <p:pic>
        <p:nvPicPr>
          <p:cNvPr id="37" name="Graphic 36">
            <a:extLst>
              <a:ext uri="{FF2B5EF4-FFF2-40B4-BE49-F238E27FC236}">
                <a16:creationId xmlns:a16="http://schemas.microsoft.com/office/drawing/2014/main" id="{84585CC5-E5CA-2A08-3A9C-8CC25A3CBF1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59116" y="209498"/>
            <a:ext cx="1528946" cy="547891"/>
          </a:xfrm>
          <a:prstGeom prst="rect">
            <a:avLst/>
          </a:prstGeom>
        </p:spPr>
      </p:pic>
    </p:spTree>
    <p:extLst>
      <p:ext uri="{BB962C8B-B14F-4D97-AF65-F5344CB8AC3E}">
        <p14:creationId xmlns:p14="http://schemas.microsoft.com/office/powerpoint/2010/main" val="169511709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lide 1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txBody>
          <a:bodyPr/>
          <a:lstStyle/>
          <a:p>
            <a:endParaRPr lang="en-US" sz="1200" b="0" i="0">
              <a:latin typeface="Moderat" pitchFamily="2" charset="77"/>
            </a:endParaRPr>
          </a:p>
        </p:txBody>
      </p:sp>
      <p:sp>
        <p:nvSpPr>
          <p:cNvPr id="3" name="Shape 1"/>
          <p:cNvSpPr/>
          <p:nvPr userDrawn="1"/>
        </p:nvSpPr>
        <p:spPr>
          <a:xfrm>
            <a:off x="0" y="0"/>
            <a:ext cx="12192000" cy="6858000"/>
          </a:xfrm>
          <a:prstGeom prst="rect">
            <a:avLst/>
          </a:prstGeom>
          <a:solidFill>
            <a:schemeClr val="bg1"/>
          </a:solidFill>
          <a:ln/>
        </p:spPr>
        <p:txBody>
          <a:bodyPr/>
          <a:lstStyle/>
          <a:p>
            <a:endParaRPr lang="en-US" sz="1200" b="0" i="0">
              <a:latin typeface="Moderat" pitchFamily="2" charset="77"/>
            </a:endParaRPr>
          </a:p>
        </p:txBody>
      </p:sp>
      <p:pic>
        <p:nvPicPr>
          <p:cNvPr id="4" name="Graphic 3">
            <a:extLst>
              <a:ext uri="{FF2B5EF4-FFF2-40B4-BE49-F238E27FC236}">
                <a16:creationId xmlns:a16="http://schemas.microsoft.com/office/drawing/2014/main" id="{13169B8B-20BD-A1AE-56E1-E6B6D61719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9116" y="209498"/>
            <a:ext cx="1528946" cy="547891"/>
          </a:xfrm>
          <a:prstGeom prst="rect">
            <a:avLst/>
          </a:prstGeom>
        </p:spPr>
      </p:pic>
    </p:spTree>
    <p:extLst>
      <p:ext uri="{BB962C8B-B14F-4D97-AF65-F5344CB8AC3E}">
        <p14:creationId xmlns:p14="http://schemas.microsoft.com/office/powerpoint/2010/main" val="166497894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Slide 1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txBody>
          <a:bodyPr/>
          <a:lstStyle/>
          <a:p>
            <a:endParaRPr lang="en-US" sz="1200" b="0" i="0">
              <a:latin typeface="Moderat" pitchFamily="2" charset="77"/>
            </a:endParaRPr>
          </a:p>
        </p:txBody>
      </p:sp>
      <p:sp>
        <p:nvSpPr>
          <p:cNvPr id="3" name="Shape 1"/>
          <p:cNvSpPr/>
          <p:nvPr userDrawn="1"/>
        </p:nvSpPr>
        <p:spPr>
          <a:xfrm>
            <a:off x="0" y="0"/>
            <a:ext cx="12192000" cy="6858000"/>
          </a:xfrm>
          <a:prstGeom prst="rect">
            <a:avLst/>
          </a:prstGeom>
          <a:solidFill>
            <a:schemeClr val="bg1"/>
          </a:solidFill>
          <a:ln/>
        </p:spPr>
        <p:txBody>
          <a:bodyPr/>
          <a:lstStyle/>
          <a:p>
            <a:endParaRPr lang="en-US" sz="1200" b="0" i="0">
              <a:latin typeface="Moderat" pitchFamily="2" charset="77"/>
            </a:endParaRPr>
          </a:p>
        </p:txBody>
      </p:sp>
    </p:spTree>
    <p:extLst>
      <p:ext uri="{BB962C8B-B14F-4D97-AF65-F5344CB8AC3E}">
        <p14:creationId xmlns:p14="http://schemas.microsoft.com/office/powerpoint/2010/main" val="28819230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2_Slide 1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txBody>
          <a:bodyPr/>
          <a:lstStyle/>
          <a:p>
            <a:endParaRPr lang="en-US" sz="1200" b="0" i="0">
              <a:latin typeface="Moderat" pitchFamily="2" charset="77"/>
            </a:endParaRPr>
          </a:p>
        </p:txBody>
      </p:sp>
      <p:sp>
        <p:nvSpPr>
          <p:cNvPr id="3" name="Shape 1"/>
          <p:cNvSpPr/>
          <p:nvPr userDrawn="1"/>
        </p:nvSpPr>
        <p:spPr>
          <a:xfrm>
            <a:off x="0" y="0"/>
            <a:ext cx="12192000" cy="6858000"/>
          </a:xfrm>
          <a:prstGeom prst="rect">
            <a:avLst/>
          </a:prstGeom>
          <a:solidFill>
            <a:schemeClr val="bg1"/>
          </a:solidFill>
          <a:ln/>
        </p:spPr>
        <p:txBody>
          <a:bodyPr/>
          <a:lstStyle/>
          <a:p>
            <a:endParaRPr lang="en-US" sz="1200" b="0" i="0">
              <a:latin typeface="Moderat" pitchFamily="2" charset="77"/>
            </a:endParaRPr>
          </a:p>
        </p:txBody>
      </p:sp>
    </p:spTree>
    <p:extLst>
      <p:ext uri="{BB962C8B-B14F-4D97-AF65-F5344CB8AC3E}">
        <p14:creationId xmlns:p14="http://schemas.microsoft.com/office/powerpoint/2010/main" val="19715206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lide 2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37249327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lide 3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127802543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lide 4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264869993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lide 5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33829920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lide 6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15158666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Agenda - Option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F408877-090F-006B-CF6E-C6D3B9CD5D47}"/>
              </a:ext>
              <a:ext uri="{C183D7F6-B498-43B3-948B-1728B52AA6E4}">
                <adec:decorative xmlns:adec="http://schemas.microsoft.com/office/drawing/2017/decorative" val="1"/>
              </a:ext>
            </a:extLst>
          </p:cNvPr>
          <p:cNvSpPr>
            <a:spLocks/>
          </p:cNvSpPr>
          <p:nvPr userDrawn="1"/>
        </p:nvSpPr>
        <p:spPr>
          <a:xfrm flipH="1">
            <a:off x="-6" y="3"/>
            <a:ext cx="12193723" cy="6858001"/>
          </a:xfrm>
          <a:prstGeom prst="rect">
            <a:avLst/>
          </a:prstGeom>
          <a:solidFill>
            <a:srgbClr val="F5F5F5"/>
          </a:solidFill>
          <a:ln>
            <a:noFill/>
          </a:ln>
          <a:effectLst>
            <a:outerShdw blurRad="730711" dist="200717" dir="4980000" sx="100964" sy="100964" algn="ctr" rotWithShape="0">
              <a:srgbClr val="000000">
                <a:alpha val="27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graphicFrame>
        <p:nvGraphicFramePr>
          <p:cNvPr id="8" name="Object 7" hidden="1">
            <a:extLst>
              <a:ext uri="{FF2B5EF4-FFF2-40B4-BE49-F238E27FC236}">
                <a16:creationId xmlns:a16="http://schemas.microsoft.com/office/drawing/2014/main" id="{907B5108-41D4-4E8A-9210-597DB9ABD286}"/>
              </a:ext>
            </a:extLst>
          </p:cNvPr>
          <p:cNvGraphicFramePr>
            <a:graphicFrameLocks noChangeAspect="1"/>
          </p:cNvGraphicFramePr>
          <p:nvPr userDrawn="1">
            <p:custDataLst>
              <p:tags r:id="rId1"/>
            </p:custDataLst>
            <p:extLst>
              <p:ext uri="{D42A27DB-BD31-4B8C-83A1-F6EECF244321}">
                <p14:modId xmlns:p14="http://schemas.microsoft.com/office/powerpoint/2010/main" val="1525096349"/>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907B5108-41D4-4E8A-9210-597DB9ABD286}"/>
                          </a:ext>
                        </a:extLst>
                      </p:cNvPr>
                      <p:cNvPicPr/>
                      <p:nvPr/>
                    </p:nvPicPr>
                    <p:blipFill>
                      <a:blip r:embed="rId5"/>
                      <a:stretch>
                        <a:fillRect/>
                      </a:stretch>
                    </p:blipFill>
                    <p:spPr>
                      <a:xfrm>
                        <a:off x="1588" y="1588"/>
                        <a:ext cx="1589"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82325A6-7F1A-4939-A691-F78CC00FACED}"/>
              </a:ext>
            </a:extLst>
          </p:cNvPr>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Moderat" pitchFamily="2" charset="77"/>
              <a:ea typeface="+mj-ea"/>
              <a:cs typeface="+mj-cs"/>
              <a:sym typeface="Roboto" pitchFamily="2" charset="0"/>
            </a:endParaRPr>
          </a:p>
        </p:txBody>
      </p:sp>
      <p:pic>
        <p:nvPicPr>
          <p:cNvPr id="37" name="Graphic 36">
            <a:extLst>
              <a:ext uri="{FF2B5EF4-FFF2-40B4-BE49-F238E27FC236}">
                <a16:creationId xmlns:a16="http://schemas.microsoft.com/office/drawing/2014/main" id="{84585CC5-E5CA-2A08-3A9C-8CC25A3CBF1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59116" y="209498"/>
            <a:ext cx="1528946" cy="547891"/>
          </a:xfrm>
          <a:prstGeom prst="rect">
            <a:avLst/>
          </a:prstGeom>
        </p:spPr>
      </p:pic>
      <p:sp>
        <p:nvSpPr>
          <p:cNvPr id="3" name="Rectangle 2">
            <a:extLst>
              <a:ext uri="{FF2B5EF4-FFF2-40B4-BE49-F238E27FC236}">
                <a16:creationId xmlns:a16="http://schemas.microsoft.com/office/drawing/2014/main" id="{BB2FC542-2805-EA0A-DD47-C836DC8D85C7}"/>
              </a:ext>
            </a:extLst>
          </p:cNvPr>
          <p:cNvSpPr/>
          <p:nvPr userDrawn="1"/>
        </p:nvSpPr>
        <p:spPr>
          <a:xfrm>
            <a:off x="444500" y="1044340"/>
            <a:ext cx="11747501" cy="52950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b="0" i="0">
              <a:solidFill>
                <a:schemeClr val="bg1"/>
              </a:solidFill>
              <a:latin typeface="Moderat" pitchFamily="2" charset="77"/>
            </a:endParaRPr>
          </a:p>
        </p:txBody>
      </p:sp>
      <p:cxnSp>
        <p:nvCxnSpPr>
          <p:cNvPr id="4" name="Straight Connector 3">
            <a:extLst>
              <a:ext uri="{FF2B5EF4-FFF2-40B4-BE49-F238E27FC236}">
                <a16:creationId xmlns:a16="http://schemas.microsoft.com/office/drawing/2014/main" id="{CBA442F8-304A-93B3-7610-667848C54AB9}"/>
              </a:ext>
            </a:extLst>
          </p:cNvPr>
          <p:cNvCxnSpPr>
            <a:cxnSpLocks/>
          </p:cNvCxnSpPr>
          <p:nvPr userDrawn="1"/>
        </p:nvCxnSpPr>
        <p:spPr>
          <a:xfrm>
            <a:off x="559712" y="6340669"/>
            <a:ext cx="11072576"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534829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lide 7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344888599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lide 8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10256222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lide 9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237442014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lide 10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31576509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lide 11 master">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E6E2DB"/>
          </a:solidFill>
          <a:ln/>
        </p:spPr>
      </p:sp>
      <p:sp>
        <p:nvSpPr>
          <p:cNvPr id="3" name="Shape 1"/>
          <p:cNvSpPr/>
          <p:nvPr/>
        </p:nvSpPr>
        <p:spPr>
          <a:xfrm>
            <a:off x="0" y="0"/>
            <a:ext cx="12192000" cy="6858000"/>
          </a:xfrm>
          <a:prstGeom prst="rect">
            <a:avLst/>
          </a:prstGeom>
          <a:solidFill>
            <a:srgbClr val="F9F8F5"/>
          </a:solidFill>
          <a:ln/>
        </p:spPr>
      </p:sp>
    </p:spTree>
    <p:extLst>
      <p:ext uri="{BB962C8B-B14F-4D97-AF65-F5344CB8AC3E}">
        <p14:creationId xmlns:p14="http://schemas.microsoft.com/office/powerpoint/2010/main" val="28158314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Agenda - Option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F408877-090F-006B-CF6E-C6D3B9CD5D47}"/>
              </a:ext>
              <a:ext uri="{C183D7F6-B498-43B3-948B-1728B52AA6E4}">
                <adec:decorative xmlns:adec="http://schemas.microsoft.com/office/drawing/2017/decorative" val="1"/>
              </a:ext>
            </a:extLst>
          </p:cNvPr>
          <p:cNvSpPr>
            <a:spLocks/>
          </p:cNvSpPr>
          <p:nvPr userDrawn="1"/>
        </p:nvSpPr>
        <p:spPr>
          <a:xfrm flipH="1">
            <a:off x="-5" y="973397"/>
            <a:ext cx="12193723" cy="5884607"/>
          </a:xfrm>
          <a:prstGeom prst="rect">
            <a:avLst/>
          </a:prstGeom>
          <a:solidFill>
            <a:srgbClr val="F5F5F5"/>
          </a:solidFill>
          <a:ln>
            <a:noFill/>
          </a:ln>
          <a:effectLst>
            <a:outerShdw blurRad="730711" dist="200717" dir="4980000" sx="100964" sy="100964" algn="ctr" rotWithShape="0">
              <a:srgbClr val="000000">
                <a:alpha val="27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b="0" i="0">
              <a:latin typeface="Moderat" pitchFamily="2" charset="77"/>
            </a:endParaRPr>
          </a:p>
        </p:txBody>
      </p:sp>
      <p:graphicFrame>
        <p:nvGraphicFramePr>
          <p:cNvPr id="8" name="Object 7" hidden="1">
            <a:extLst>
              <a:ext uri="{FF2B5EF4-FFF2-40B4-BE49-F238E27FC236}">
                <a16:creationId xmlns:a16="http://schemas.microsoft.com/office/drawing/2014/main" id="{907B5108-41D4-4E8A-9210-597DB9ABD286}"/>
              </a:ext>
            </a:extLst>
          </p:cNvPr>
          <p:cNvGraphicFramePr>
            <a:graphicFrameLocks noChangeAspect="1"/>
          </p:cNvGraphicFramePr>
          <p:nvPr userDrawn="1">
            <p:custDataLst>
              <p:tags r:id="rId1"/>
            </p:custDataLst>
            <p:extLst>
              <p:ext uri="{D42A27DB-BD31-4B8C-83A1-F6EECF244321}">
                <p14:modId xmlns:p14="http://schemas.microsoft.com/office/powerpoint/2010/main" val="1525096349"/>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907B5108-41D4-4E8A-9210-597DB9ABD286}"/>
                          </a:ext>
                        </a:extLst>
                      </p:cNvPr>
                      <p:cNvPicPr/>
                      <p:nvPr/>
                    </p:nvPicPr>
                    <p:blipFill>
                      <a:blip r:embed="rId5"/>
                      <a:stretch>
                        <a:fillRect/>
                      </a:stretch>
                    </p:blipFill>
                    <p:spPr>
                      <a:xfrm>
                        <a:off x="1588" y="1588"/>
                        <a:ext cx="1589"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82325A6-7F1A-4939-A691-F78CC00FACED}"/>
              </a:ext>
            </a:extLst>
          </p:cNvPr>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Moderat" pitchFamily="2" charset="77"/>
              <a:ea typeface="+mj-ea"/>
              <a:cs typeface="+mj-cs"/>
              <a:sym typeface="Roboto" pitchFamily="2" charset="0"/>
            </a:endParaRPr>
          </a:p>
        </p:txBody>
      </p:sp>
      <p:pic>
        <p:nvPicPr>
          <p:cNvPr id="37" name="Graphic 36">
            <a:extLst>
              <a:ext uri="{FF2B5EF4-FFF2-40B4-BE49-F238E27FC236}">
                <a16:creationId xmlns:a16="http://schemas.microsoft.com/office/drawing/2014/main" id="{84585CC5-E5CA-2A08-3A9C-8CC25A3CBF1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59116" y="209498"/>
            <a:ext cx="1528946" cy="547891"/>
          </a:xfrm>
          <a:prstGeom prst="rect">
            <a:avLst/>
          </a:prstGeom>
        </p:spPr>
      </p:pic>
    </p:spTree>
    <p:extLst>
      <p:ext uri="{BB962C8B-B14F-4D97-AF65-F5344CB8AC3E}">
        <p14:creationId xmlns:p14="http://schemas.microsoft.com/office/powerpoint/2010/main" val="3045548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2.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oleObject" Target="../embeddings/oleObject4.bin"/><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ags" Target="../tags/tag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theme" Target="../theme/theme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image" Target="../media/image1.emf"/><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oleObject" Target="../embeddings/oleObject4.bin"/><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tags" Target="../tags/tag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image" Target="../media/image1.emf"/><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oleObject" Target="../embeddings/oleObject1.bin"/><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tags" Target="../tags/tag3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theme" Target="../theme/theme4.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63ED2D0-918F-0D1A-4A2A-19AB7BC24E13}"/>
              </a:ext>
            </a:extLst>
          </p:cNvPr>
          <p:cNvGraphicFramePr>
            <a:graphicFrameLocks noChangeAspect="1"/>
          </p:cNvGraphicFramePr>
          <p:nvPr userDrawn="1">
            <p:custDataLst>
              <p:tags r:id="rId24"/>
            </p:custDataLst>
            <p:extLst>
              <p:ext uri="{D42A27DB-BD31-4B8C-83A1-F6EECF244321}">
                <p14:modId xmlns:p14="http://schemas.microsoft.com/office/powerpoint/2010/main" val="166843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47" imgH="348" progId="TCLayout.ActiveDocument.1">
                  <p:embed/>
                </p:oleObj>
              </mc:Choice>
              <mc:Fallback>
                <p:oleObj name="think-cell Slide" r:id="rId25" imgW="347" imgH="348" progId="TCLayout.ActiveDocument.1">
                  <p:embed/>
                  <p:pic>
                    <p:nvPicPr>
                      <p:cNvPr id="2" name="think-cell data - do not delete" hidden="1">
                        <a:extLst>
                          <a:ext uri="{FF2B5EF4-FFF2-40B4-BE49-F238E27FC236}">
                            <a16:creationId xmlns:a16="http://schemas.microsoft.com/office/drawing/2014/main" id="{B63ED2D0-918F-0D1A-4A2A-19AB7BC24E13}"/>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800769356"/>
      </p:ext>
    </p:extLst>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Lst>
  <p:hf sldNum="0" hdr="0" ftr="0" dt="0"/>
  <p:txStyles>
    <p:titleStyle>
      <a:lvl1pPr algn="ctr" defTabSz="761894" rtl="0" eaLnBrk="1" latinLnBrk="0" hangingPunct="1">
        <a:spcBef>
          <a:spcPct val="0"/>
        </a:spcBef>
        <a:buNone/>
        <a:defRPr sz="3666" kern="1200">
          <a:solidFill>
            <a:schemeClr val="tx1"/>
          </a:solidFill>
          <a:latin typeface="+mj-lt"/>
          <a:ea typeface="+mj-ea"/>
          <a:cs typeface="+mj-cs"/>
        </a:defRPr>
      </a:lvl1pPr>
    </p:titleStyle>
    <p:bodyStyle>
      <a:lvl1pPr marL="285711" indent="-285711" algn="l" defTabSz="761894" rtl="0" eaLnBrk="1" latinLnBrk="0" hangingPunct="1">
        <a:spcBef>
          <a:spcPct val="20000"/>
        </a:spcBef>
        <a:buFont typeface="Arial" pitchFamily="34" charset="0"/>
        <a:buChar char="•"/>
        <a:defRPr sz="2666" kern="1200">
          <a:solidFill>
            <a:schemeClr val="tx1"/>
          </a:solidFill>
          <a:latin typeface="+mn-lt"/>
          <a:ea typeface="+mn-ea"/>
          <a:cs typeface="+mn-cs"/>
        </a:defRPr>
      </a:lvl1pPr>
      <a:lvl2pPr marL="619038" indent="-238092" algn="l" defTabSz="761894" rtl="0" eaLnBrk="1" latinLnBrk="0" hangingPunct="1">
        <a:spcBef>
          <a:spcPct val="20000"/>
        </a:spcBef>
        <a:buFont typeface="Arial" pitchFamily="34" charset="0"/>
        <a:buChar char="–"/>
        <a:defRPr sz="2333" kern="1200">
          <a:solidFill>
            <a:schemeClr val="tx1"/>
          </a:solidFill>
          <a:latin typeface="+mn-lt"/>
          <a:ea typeface="+mn-ea"/>
          <a:cs typeface="+mn-cs"/>
        </a:defRPr>
      </a:lvl2pPr>
      <a:lvl3pPr marL="952367" indent="-190473" algn="l" defTabSz="761894"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333313" indent="-190473" algn="l" defTabSz="761894" rtl="0" eaLnBrk="1" latinLnBrk="0" hangingPunct="1">
        <a:spcBef>
          <a:spcPct val="20000"/>
        </a:spcBef>
        <a:buFont typeface="Arial" pitchFamily="34" charset="0"/>
        <a:buChar char="–"/>
        <a:defRPr sz="1667" kern="1200">
          <a:solidFill>
            <a:schemeClr val="tx1"/>
          </a:solidFill>
          <a:latin typeface="+mn-lt"/>
          <a:ea typeface="+mn-ea"/>
          <a:cs typeface="+mn-cs"/>
        </a:defRPr>
      </a:lvl4pPr>
      <a:lvl5pPr marL="1714259" indent="-190473" algn="l" defTabSz="761894" rtl="0" eaLnBrk="1" latinLnBrk="0" hangingPunct="1">
        <a:spcBef>
          <a:spcPct val="20000"/>
        </a:spcBef>
        <a:buFont typeface="Arial" pitchFamily="34" charset="0"/>
        <a:buChar char="»"/>
        <a:defRPr sz="1667" kern="1200">
          <a:solidFill>
            <a:schemeClr val="tx1"/>
          </a:solidFill>
          <a:latin typeface="+mn-lt"/>
          <a:ea typeface="+mn-ea"/>
          <a:cs typeface="+mn-cs"/>
        </a:defRPr>
      </a:lvl5pPr>
      <a:lvl6pPr marL="2095206" indent="-190473" algn="l" defTabSz="761894" rtl="0" eaLnBrk="1" latinLnBrk="0" hangingPunct="1">
        <a:spcBef>
          <a:spcPct val="20000"/>
        </a:spcBef>
        <a:buFont typeface="Arial" pitchFamily="34" charset="0"/>
        <a:buChar char="•"/>
        <a:defRPr sz="1667" kern="1200">
          <a:solidFill>
            <a:schemeClr val="tx1"/>
          </a:solidFill>
          <a:latin typeface="+mn-lt"/>
          <a:ea typeface="+mn-ea"/>
          <a:cs typeface="+mn-cs"/>
        </a:defRPr>
      </a:lvl6pPr>
      <a:lvl7pPr marL="2476153" indent="-190473" algn="l" defTabSz="761894" rtl="0" eaLnBrk="1" latinLnBrk="0" hangingPunct="1">
        <a:spcBef>
          <a:spcPct val="20000"/>
        </a:spcBef>
        <a:buFont typeface="Arial" pitchFamily="34" charset="0"/>
        <a:buChar char="•"/>
        <a:defRPr sz="1667" kern="1200">
          <a:solidFill>
            <a:schemeClr val="tx1"/>
          </a:solidFill>
          <a:latin typeface="+mn-lt"/>
          <a:ea typeface="+mn-ea"/>
          <a:cs typeface="+mn-cs"/>
        </a:defRPr>
      </a:lvl7pPr>
      <a:lvl8pPr marL="2857100" indent="-190473" algn="l" defTabSz="761894" rtl="0" eaLnBrk="1" latinLnBrk="0" hangingPunct="1">
        <a:spcBef>
          <a:spcPct val="20000"/>
        </a:spcBef>
        <a:buFont typeface="Arial" pitchFamily="34" charset="0"/>
        <a:buChar char="•"/>
        <a:defRPr sz="1667" kern="1200">
          <a:solidFill>
            <a:schemeClr val="tx1"/>
          </a:solidFill>
          <a:latin typeface="+mn-lt"/>
          <a:ea typeface="+mn-ea"/>
          <a:cs typeface="+mn-cs"/>
        </a:defRPr>
      </a:lvl8pPr>
      <a:lvl9pPr marL="3238046" indent="-190473" algn="l" defTabSz="761894" rtl="0" eaLnBrk="1" latinLnBrk="0" hangingPunct="1">
        <a:spcBef>
          <a:spcPct val="20000"/>
        </a:spcBef>
        <a:buFont typeface="Arial" pitchFamily="34" charset="0"/>
        <a:buChar char="•"/>
        <a:defRPr sz="1667" kern="1200">
          <a:solidFill>
            <a:schemeClr val="tx1"/>
          </a:solidFill>
          <a:latin typeface="+mn-lt"/>
          <a:ea typeface="+mn-ea"/>
          <a:cs typeface="+mn-cs"/>
        </a:defRPr>
      </a:lvl9pPr>
    </p:bodyStyle>
    <p:otherStyle>
      <a:defPPr>
        <a:defRPr lang="en-US"/>
      </a:defPPr>
      <a:lvl1pPr marL="0" algn="l" defTabSz="761894" rtl="0" eaLnBrk="1" latinLnBrk="0" hangingPunct="1">
        <a:defRPr sz="1500" kern="1200">
          <a:solidFill>
            <a:schemeClr val="tx1"/>
          </a:solidFill>
          <a:latin typeface="+mn-lt"/>
          <a:ea typeface="+mn-ea"/>
          <a:cs typeface="+mn-cs"/>
        </a:defRPr>
      </a:lvl1pPr>
      <a:lvl2pPr marL="380947" algn="l" defTabSz="761894" rtl="0" eaLnBrk="1" latinLnBrk="0" hangingPunct="1">
        <a:defRPr sz="1500" kern="1200">
          <a:solidFill>
            <a:schemeClr val="tx1"/>
          </a:solidFill>
          <a:latin typeface="+mn-lt"/>
          <a:ea typeface="+mn-ea"/>
          <a:cs typeface="+mn-cs"/>
        </a:defRPr>
      </a:lvl2pPr>
      <a:lvl3pPr marL="761894" algn="l" defTabSz="761894" rtl="0" eaLnBrk="1" latinLnBrk="0" hangingPunct="1">
        <a:defRPr sz="1500" kern="1200">
          <a:solidFill>
            <a:schemeClr val="tx1"/>
          </a:solidFill>
          <a:latin typeface="+mn-lt"/>
          <a:ea typeface="+mn-ea"/>
          <a:cs typeface="+mn-cs"/>
        </a:defRPr>
      </a:lvl3pPr>
      <a:lvl4pPr marL="1142840" algn="l" defTabSz="761894" rtl="0" eaLnBrk="1" latinLnBrk="0" hangingPunct="1">
        <a:defRPr sz="1500" kern="1200">
          <a:solidFill>
            <a:schemeClr val="tx1"/>
          </a:solidFill>
          <a:latin typeface="+mn-lt"/>
          <a:ea typeface="+mn-ea"/>
          <a:cs typeface="+mn-cs"/>
        </a:defRPr>
      </a:lvl4pPr>
      <a:lvl5pPr marL="1523787" algn="l" defTabSz="761894" rtl="0" eaLnBrk="1" latinLnBrk="0" hangingPunct="1">
        <a:defRPr sz="1500" kern="1200">
          <a:solidFill>
            <a:schemeClr val="tx1"/>
          </a:solidFill>
          <a:latin typeface="+mn-lt"/>
          <a:ea typeface="+mn-ea"/>
          <a:cs typeface="+mn-cs"/>
        </a:defRPr>
      </a:lvl5pPr>
      <a:lvl6pPr marL="1904734" algn="l" defTabSz="761894" rtl="0" eaLnBrk="1" latinLnBrk="0" hangingPunct="1">
        <a:defRPr sz="1500" kern="1200">
          <a:solidFill>
            <a:schemeClr val="tx1"/>
          </a:solidFill>
          <a:latin typeface="+mn-lt"/>
          <a:ea typeface="+mn-ea"/>
          <a:cs typeface="+mn-cs"/>
        </a:defRPr>
      </a:lvl6pPr>
      <a:lvl7pPr marL="2285681" algn="l" defTabSz="761894" rtl="0" eaLnBrk="1" latinLnBrk="0" hangingPunct="1">
        <a:defRPr sz="1500" kern="1200">
          <a:solidFill>
            <a:schemeClr val="tx1"/>
          </a:solidFill>
          <a:latin typeface="+mn-lt"/>
          <a:ea typeface="+mn-ea"/>
          <a:cs typeface="+mn-cs"/>
        </a:defRPr>
      </a:lvl7pPr>
      <a:lvl8pPr marL="2666627" algn="l" defTabSz="761894" rtl="0" eaLnBrk="1" latinLnBrk="0" hangingPunct="1">
        <a:defRPr sz="1500" kern="1200">
          <a:solidFill>
            <a:schemeClr val="tx1"/>
          </a:solidFill>
          <a:latin typeface="+mn-lt"/>
          <a:ea typeface="+mn-ea"/>
          <a:cs typeface="+mn-cs"/>
        </a:defRPr>
      </a:lvl8pPr>
      <a:lvl9pPr marL="3047574" algn="l" defTabSz="761894"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724AA6C-CD59-DF2B-A365-E31441A936E7}"/>
              </a:ext>
            </a:extLst>
          </p:cNvPr>
          <p:cNvGraphicFramePr>
            <a:graphicFrameLocks noChangeAspect="1"/>
          </p:cNvGraphicFramePr>
          <p:nvPr userDrawn="1">
            <p:custDataLst>
              <p:tags r:id="rId22"/>
            </p:custDataLst>
            <p:extLst>
              <p:ext uri="{D42A27DB-BD31-4B8C-83A1-F6EECF244321}">
                <p14:modId xmlns:p14="http://schemas.microsoft.com/office/powerpoint/2010/main" val="396680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47" imgH="348" progId="TCLayout.ActiveDocument.1">
                  <p:embed/>
                </p:oleObj>
              </mc:Choice>
              <mc:Fallback>
                <p:oleObj name="think-cell Slide" r:id="rId23" imgW="347" imgH="348" progId="TCLayout.ActiveDocument.1">
                  <p:embed/>
                  <p:pic>
                    <p:nvPicPr>
                      <p:cNvPr id="5" name="think-cell data - do not delete" hidden="1">
                        <a:extLst>
                          <a:ext uri="{FF2B5EF4-FFF2-40B4-BE49-F238E27FC236}">
                            <a16:creationId xmlns:a16="http://schemas.microsoft.com/office/drawing/2014/main" id="{0724AA6C-CD59-DF2B-A365-E31441A936E7}"/>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A101612-FF6A-3212-1CDB-1D472FED0CF9}"/>
              </a:ext>
            </a:extLst>
          </p:cNvPr>
          <p:cNvSpPr>
            <a:spLocks noGrp="1"/>
          </p:cNvSpPr>
          <p:nvPr>
            <p:ph type="body" idx="1"/>
          </p:nvPr>
        </p:nvSpPr>
        <p:spPr>
          <a:xfrm>
            <a:off x="838729" y="1825625"/>
            <a:ext cx="10514542" cy="4351073"/>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Placeholder 2">
            <a:extLst>
              <a:ext uri="{FF2B5EF4-FFF2-40B4-BE49-F238E27FC236}">
                <a16:creationId xmlns:a16="http://schemas.microsoft.com/office/drawing/2014/main" id="{DF13FB7E-773A-5613-DDC8-55BEE33B6A0C}"/>
              </a:ext>
            </a:extLst>
          </p:cNvPr>
          <p:cNvSpPr>
            <a:spLocks noGrp="1"/>
          </p:cNvSpPr>
          <p:nvPr>
            <p:ph type="title"/>
          </p:nvPr>
        </p:nvSpPr>
        <p:spPr>
          <a:xfrm>
            <a:off x="838729" y="365125"/>
            <a:ext cx="10514542" cy="1325563"/>
          </a:xfrm>
          <a:prstGeom prst="rect">
            <a:avLst/>
          </a:prstGeom>
        </p:spPr>
        <p:txBody>
          <a:bodyPr vert="horz" lIns="91440" tIns="45720" rIns="91440" bIns="45720" rtlCol="0" anchor="ctr">
            <a:normAutofit/>
          </a:bodyPr>
          <a:lstStyle/>
          <a:p>
            <a:r>
              <a:rPr lang="en-GB"/>
              <a:t>Click to edit Master title style</a:t>
            </a:r>
            <a:endParaRPr lang="en-US"/>
          </a:p>
        </p:txBody>
      </p:sp>
    </p:spTree>
    <p:extLst>
      <p:ext uri="{BB962C8B-B14F-4D97-AF65-F5344CB8AC3E}">
        <p14:creationId xmlns:p14="http://schemas.microsoft.com/office/powerpoint/2010/main" val="1866652632"/>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40" r:id="rId20"/>
  </p:sldLayoutIdLst>
  <p:hf sldNum="0" hdr="0" ftr="0" dt="0"/>
  <p:txStyles>
    <p:titleStyle>
      <a:lvl1pPr algn="ctr" defTabSz="914364" rtl="0" eaLnBrk="1" latinLnBrk="0" hangingPunct="1">
        <a:spcBef>
          <a:spcPct val="0"/>
        </a:spcBef>
        <a:buNone/>
        <a:defRPr sz="2800" b="0" i="0" kern="1200">
          <a:solidFill>
            <a:schemeClr val="tx1"/>
          </a:solidFill>
          <a:latin typeface="Moderat" pitchFamily="2" charset="77"/>
          <a:ea typeface="+mj-ea"/>
          <a:cs typeface="+mj-cs"/>
        </a:defRPr>
      </a:lvl1pPr>
    </p:titleStyle>
    <p:bodyStyle>
      <a:lvl1pPr marL="342887" indent="-342887" algn="l" defTabSz="914364" rtl="0" eaLnBrk="1" latinLnBrk="0" hangingPunct="1">
        <a:spcBef>
          <a:spcPct val="20000"/>
        </a:spcBef>
        <a:buFont typeface="Arial" pitchFamily="34" charset="0"/>
        <a:buChar char="•"/>
        <a:defRPr sz="3200" b="0" i="0" kern="1200">
          <a:solidFill>
            <a:schemeClr val="tx1"/>
          </a:solidFill>
          <a:latin typeface="Moderat" pitchFamily="2" charset="77"/>
          <a:ea typeface="+mn-ea"/>
          <a:cs typeface="+mn-cs"/>
        </a:defRPr>
      </a:lvl1pPr>
      <a:lvl2pPr marL="742920" indent="-285738" algn="l" defTabSz="914364" rtl="0" eaLnBrk="1" latinLnBrk="0" hangingPunct="1">
        <a:spcBef>
          <a:spcPct val="20000"/>
        </a:spcBef>
        <a:buFont typeface="Arial" pitchFamily="34" charset="0"/>
        <a:buChar char="–"/>
        <a:defRPr sz="2800" b="0" i="0" kern="1200">
          <a:solidFill>
            <a:schemeClr val="tx1"/>
          </a:solidFill>
          <a:latin typeface="Moderat" pitchFamily="2" charset="77"/>
          <a:ea typeface="+mn-ea"/>
          <a:cs typeface="+mn-cs"/>
        </a:defRPr>
      </a:lvl2pPr>
      <a:lvl3pPr marL="1142954" indent="-228590" algn="l" defTabSz="914364" rtl="0" eaLnBrk="1" latinLnBrk="0" hangingPunct="1">
        <a:spcBef>
          <a:spcPct val="20000"/>
        </a:spcBef>
        <a:buFont typeface="Arial" pitchFamily="34" charset="0"/>
        <a:buChar char="•"/>
        <a:defRPr sz="2400" b="0" i="0" kern="1200">
          <a:solidFill>
            <a:schemeClr val="tx1"/>
          </a:solidFill>
          <a:latin typeface="Moderat" pitchFamily="2" charset="77"/>
          <a:ea typeface="+mn-ea"/>
          <a:cs typeface="+mn-cs"/>
        </a:defRPr>
      </a:lvl3pPr>
      <a:lvl4pPr marL="1600136" indent="-228590" algn="l" defTabSz="914364" rtl="0" eaLnBrk="1" latinLnBrk="0" hangingPunct="1">
        <a:spcBef>
          <a:spcPct val="20000"/>
        </a:spcBef>
        <a:buFont typeface="Arial" pitchFamily="34" charset="0"/>
        <a:buChar char="–"/>
        <a:defRPr sz="2000" b="0" i="0" kern="1200">
          <a:solidFill>
            <a:schemeClr val="tx1"/>
          </a:solidFill>
          <a:latin typeface="Moderat" pitchFamily="2" charset="77"/>
          <a:ea typeface="+mn-ea"/>
          <a:cs typeface="+mn-cs"/>
        </a:defRPr>
      </a:lvl4pPr>
      <a:lvl5pPr marL="2057317" indent="-228590" algn="l" defTabSz="914364" rtl="0" eaLnBrk="1" latinLnBrk="0" hangingPunct="1">
        <a:spcBef>
          <a:spcPct val="20000"/>
        </a:spcBef>
        <a:buFont typeface="Arial" pitchFamily="34" charset="0"/>
        <a:buChar char="»"/>
        <a:defRPr sz="2000" b="0" i="0" kern="1200">
          <a:solidFill>
            <a:schemeClr val="tx1"/>
          </a:solidFill>
          <a:latin typeface="Moderat" pitchFamily="2" charset="77"/>
          <a:ea typeface="+mn-ea"/>
          <a:cs typeface="+mn-cs"/>
        </a:defRPr>
      </a:lvl5pPr>
      <a:lvl6pPr marL="2514499" indent="-228590" algn="l" defTabSz="91436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0" algn="l" defTabSz="91436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0" algn="l" defTabSz="91436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4" indent="-228590" algn="l" defTabSz="91436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4" rtl="0" eaLnBrk="1" latinLnBrk="0" hangingPunct="1">
        <a:defRPr sz="1800" kern="1200">
          <a:solidFill>
            <a:schemeClr val="tx1"/>
          </a:solidFill>
          <a:latin typeface="+mn-lt"/>
          <a:ea typeface="+mn-ea"/>
          <a:cs typeface="+mn-cs"/>
        </a:defRPr>
      </a:lvl1pPr>
      <a:lvl2pPr marL="457182" algn="l" defTabSz="914364" rtl="0" eaLnBrk="1" latinLnBrk="0" hangingPunct="1">
        <a:defRPr sz="1800" kern="1200">
          <a:solidFill>
            <a:schemeClr val="tx1"/>
          </a:solidFill>
          <a:latin typeface="+mn-lt"/>
          <a:ea typeface="+mn-ea"/>
          <a:cs typeface="+mn-cs"/>
        </a:defRPr>
      </a:lvl2pPr>
      <a:lvl3pPr marL="914364" algn="l" defTabSz="914364" rtl="0" eaLnBrk="1" latinLnBrk="0" hangingPunct="1">
        <a:defRPr sz="1800" kern="1200">
          <a:solidFill>
            <a:schemeClr val="tx1"/>
          </a:solidFill>
          <a:latin typeface="+mn-lt"/>
          <a:ea typeface="+mn-ea"/>
          <a:cs typeface="+mn-cs"/>
        </a:defRPr>
      </a:lvl3pPr>
      <a:lvl4pPr marL="1371545" algn="l" defTabSz="914364" rtl="0" eaLnBrk="1" latinLnBrk="0" hangingPunct="1">
        <a:defRPr sz="1800" kern="1200">
          <a:solidFill>
            <a:schemeClr val="tx1"/>
          </a:solidFill>
          <a:latin typeface="+mn-lt"/>
          <a:ea typeface="+mn-ea"/>
          <a:cs typeface="+mn-cs"/>
        </a:defRPr>
      </a:lvl4pPr>
      <a:lvl5pPr marL="1828727" algn="l" defTabSz="914364" rtl="0" eaLnBrk="1" latinLnBrk="0" hangingPunct="1">
        <a:defRPr sz="1800" kern="1200">
          <a:solidFill>
            <a:schemeClr val="tx1"/>
          </a:solidFill>
          <a:latin typeface="+mn-lt"/>
          <a:ea typeface="+mn-ea"/>
          <a:cs typeface="+mn-cs"/>
        </a:defRPr>
      </a:lvl5pPr>
      <a:lvl6pPr marL="2285909" algn="l" defTabSz="914364" rtl="0" eaLnBrk="1" latinLnBrk="0" hangingPunct="1">
        <a:defRPr sz="1800" kern="1200">
          <a:solidFill>
            <a:schemeClr val="tx1"/>
          </a:solidFill>
          <a:latin typeface="+mn-lt"/>
          <a:ea typeface="+mn-ea"/>
          <a:cs typeface="+mn-cs"/>
        </a:defRPr>
      </a:lvl6pPr>
      <a:lvl7pPr marL="2743091" algn="l" defTabSz="914364" rtl="0" eaLnBrk="1" latinLnBrk="0" hangingPunct="1">
        <a:defRPr sz="1800" kern="1200">
          <a:solidFill>
            <a:schemeClr val="tx1"/>
          </a:solidFill>
          <a:latin typeface="+mn-lt"/>
          <a:ea typeface="+mn-ea"/>
          <a:cs typeface="+mn-cs"/>
        </a:defRPr>
      </a:lvl7pPr>
      <a:lvl8pPr marL="3200272" algn="l" defTabSz="914364" rtl="0" eaLnBrk="1" latinLnBrk="0" hangingPunct="1">
        <a:defRPr sz="1800" kern="1200">
          <a:solidFill>
            <a:schemeClr val="tx1"/>
          </a:solidFill>
          <a:latin typeface="+mn-lt"/>
          <a:ea typeface="+mn-ea"/>
          <a:cs typeface="+mn-cs"/>
        </a:defRPr>
      </a:lvl8pPr>
      <a:lvl9pPr marL="3657454" algn="l" defTabSz="91436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327C6E7-95F2-7A81-0F8E-502986431696}"/>
              </a:ext>
            </a:extLst>
          </p:cNvPr>
          <p:cNvGraphicFramePr>
            <a:graphicFrameLocks noChangeAspect="1"/>
          </p:cNvGraphicFramePr>
          <p:nvPr userDrawn="1">
            <p:custDataLst>
              <p:tags r:id="rId22"/>
            </p:custDataLst>
            <p:extLst>
              <p:ext uri="{D42A27DB-BD31-4B8C-83A1-F6EECF244321}">
                <p14:modId xmlns:p14="http://schemas.microsoft.com/office/powerpoint/2010/main" val="69696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47" imgH="348" progId="TCLayout.ActiveDocument.1">
                  <p:embed/>
                </p:oleObj>
              </mc:Choice>
              <mc:Fallback>
                <p:oleObj name="think-cell Slide" r:id="rId23" imgW="347" imgH="348" progId="TCLayout.ActiveDocument.1">
                  <p:embed/>
                  <p:pic>
                    <p:nvPicPr>
                      <p:cNvPr id="5" name="think-cell data - do not delete" hidden="1">
                        <a:extLst>
                          <a:ext uri="{FF2B5EF4-FFF2-40B4-BE49-F238E27FC236}">
                            <a16:creationId xmlns:a16="http://schemas.microsoft.com/office/drawing/2014/main" id="{9327C6E7-95F2-7A81-0F8E-50298643169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A101612-FF6A-3212-1CDB-1D472FED0CF9}"/>
              </a:ext>
            </a:extLst>
          </p:cNvPr>
          <p:cNvSpPr>
            <a:spLocks noGrp="1"/>
          </p:cNvSpPr>
          <p:nvPr>
            <p:ph type="body" idx="1"/>
          </p:nvPr>
        </p:nvSpPr>
        <p:spPr>
          <a:xfrm>
            <a:off x="838729" y="1825625"/>
            <a:ext cx="10514542" cy="4351073"/>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Placeholder 2">
            <a:extLst>
              <a:ext uri="{FF2B5EF4-FFF2-40B4-BE49-F238E27FC236}">
                <a16:creationId xmlns:a16="http://schemas.microsoft.com/office/drawing/2014/main" id="{DF13FB7E-773A-5613-DDC8-55BEE33B6A0C}"/>
              </a:ext>
            </a:extLst>
          </p:cNvPr>
          <p:cNvSpPr>
            <a:spLocks noGrp="1"/>
          </p:cNvSpPr>
          <p:nvPr>
            <p:ph type="title"/>
          </p:nvPr>
        </p:nvSpPr>
        <p:spPr>
          <a:xfrm>
            <a:off x="838729" y="365125"/>
            <a:ext cx="10514542" cy="1325563"/>
          </a:xfrm>
          <a:prstGeom prst="rect">
            <a:avLst/>
          </a:prstGeom>
        </p:spPr>
        <p:txBody>
          <a:bodyPr vert="horz" lIns="91440" tIns="45720" rIns="91440" bIns="45720" rtlCol="0" anchor="ctr">
            <a:normAutofit/>
          </a:bodyPr>
          <a:lstStyle/>
          <a:p>
            <a:r>
              <a:rPr lang="en-GB"/>
              <a:t>Click to edit Master title style</a:t>
            </a:r>
            <a:endParaRPr lang="en-US"/>
          </a:p>
        </p:txBody>
      </p:sp>
    </p:spTree>
    <p:extLst>
      <p:ext uri="{BB962C8B-B14F-4D97-AF65-F5344CB8AC3E}">
        <p14:creationId xmlns:p14="http://schemas.microsoft.com/office/powerpoint/2010/main" val="932386770"/>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059" r:id="rId12"/>
    <p:sldLayoutId id="2147484060" r:id="rId13"/>
    <p:sldLayoutId id="2147484061" r:id="rId14"/>
    <p:sldLayoutId id="2147484062" r:id="rId15"/>
    <p:sldLayoutId id="2147484063" r:id="rId16"/>
    <p:sldLayoutId id="2147484064" r:id="rId17"/>
    <p:sldLayoutId id="2147484065" r:id="rId18"/>
    <p:sldLayoutId id="2147484066" r:id="rId19"/>
    <p:sldLayoutId id="2147484067" r:id="rId20"/>
  </p:sldLayoutIdLst>
  <p:hf sldNum="0" hdr="0" ftr="0" dt="0"/>
  <p:txStyles>
    <p:titleStyle>
      <a:lvl1pPr algn="ctr" defTabSz="761940" rtl="0" eaLnBrk="1" latinLnBrk="0" hangingPunct="1">
        <a:spcBef>
          <a:spcPct val="0"/>
        </a:spcBef>
        <a:buNone/>
        <a:defRPr sz="2333" b="0" i="0" kern="1200">
          <a:solidFill>
            <a:schemeClr val="tx1"/>
          </a:solidFill>
          <a:latin typeface="Moderat" pitchFamily="2" charset="77"/>
          <a:ea typeface="+mj-ea"/>
          <a:cs typeface="+mj-cs"/>
        </a:defRPr>
      </a:lvl1pPr>
    </p:titleStyle>
    <p:bodyStyle>
      <a:lvl1pPr marL="285728" indent="-285728" algn="l" defTabSz="761940" rtl="0" eaLnBrk="1" latinLnBrk="0" hangingPunct="1">
        <a:spcBef>
          <a:spcPct val="20000"/>
        </a:spcBef>
        <a:buFont typeface="Arial" pitchFamily="34" charset="0"/>
        <a:buChar char="•"/>
        <a:defRPr sz="2667" b="0" i="0" kern="1200">
          <a:solidFill>
            <a:schemeClr val="tx1"/>
          </a:solidFill>
          <a:latin typeface="Moderat" pitchFamily="2" charset="77"/>
          <a:ea typeface="+mn-ea"/>
          <a:cs typeface="+mn-cs"/>
        </a:defRPr>
      </a:lvl1pPr>
      <a:lvl2pPr marL="619075" indent="-238105" algn="l" defTabSz="761940" rtl="0" eaLnBrk="1" latinLnBrk="0" hangingPunct="1">
        <a:spcBef>
          <a:spcPct val="20000"/>
        </a:spcBef>
        <a:buFont typeface="Arial" pitchFamily="34" charset="0"/>
        <a:buChar char="–"/>
        <a:defRPr sz="2333" b="0" i="0" kern="1200">
          <a:solidFill>
            <a:schemeClr val="tx1"/>
          </a:solidFill>
          <a:latin typeface="Moderat" pitchFamily="2" charset="77"/>
          <a:ea typeface="+mn-ea"/>
          <a:cs typeface="+mn-cs"/>
        </a:defRPr>
      </a:lvl2pPr>
      <a:lvl3pPr marL="952424" indent="-190484" algn="l" defTabSz="761940" rtl="0" eaLnBrk="1" latinLnBrk="0" hangingPunct="1">
        <a:spcBef>
          <a:spcPct val="20000"/>
        </a:spcBef>
        <a:buFont typeface="Arial" pitchFamily="34" charset="0"/>
        <a:buChar char="•"/>
        <a:defRPr sz="2000" b="0" i="0" kern="1200">
          <a:solidFill>
            <a:schemeClr val="tx1"/>
          </a:solidFill>
          <a:latin typeface="Moderat" pitchFamily="2" charset="77"/>
          <a:ea typeface="+mn-ea"/>
          <a:cs typeface="+mn-cs"/>
        </a:defRPr>
      </a:lvl3pPr>
      <a:lvl4pPr marL="1333393" indent="-190484" algn="l" defTabSz="761940" rtl="0" eaLnBrk="1" latinLnBrk="0" hangingPunct="1">
        <a:spcBef>
          <a:spcPct val="20000"/>
        </a:spcBef>
        <a:buFont typeface="Arial" pitchFamily="34" charset="0"/>
        <a:buChar char="–"/>
        <a:defRPr sz="1667" b="0" i="0" kern="1200">
          <a:solidFill>
            <a:schemeClr val="tx1"/>
          </a:solidFill>
          <a:latin typeface="Moderat" pitchFamily="2" charset="77"/>
          <a:ea typeface="+mn-ea"/>
          <a:cs typeface="+mn-cs"/>
        </a:defRPr>
      </a:lvl4pPr>
      <a:lvl5pPr marL="1714362" indent="-190484" algn="l" defTabSz="761940" rtl="0" eaLnBrk="1" latinLnBrk="0" hangingPunct="1">
        <a:spcBef>
          <a:spcPct val="20000"/>
        </a:spcBef>
        <a:buFont typeface="Arial" pitchFamily="34" charset="0"/>
        <a:buChar char="»"/>
        <a:defRPr sz="1667" b="0" i="0" kern="1200">
          <a:solidFill>
            <a:schemeClr val="tx1"/>
          </a:solidFill>
          <a:latin typeface="Moderat" pitchFamily="2" charset="77"/>
          <a:ea typeface="+mn-ea"/>
          <a:cs typeface="+mn-cs"/>
        </a:defRPr>
      </a:lvl5pPr>
      <a:lvl6pPr marL="2095332" indent="-190484" algn="l" defTabSz="761940" rtl="0" eaLnBrk="1" latinLnBrk="0" hangingPunct="1">
        <a:spcBef>
          <a:spcPct val="20000"/>
        </a:spcBef>
        <a:buFont typeface="Arial" pitchFamily="34" charset="0"/>
        <a:buChar char="•"/>
        <a:defRPr sz="1667" kern="1200">
          <a:solidFill>
            <a:schemeClr val="tx1"/>
          </a:solidFill>
          <a:latin typeface="+mn-lt"/>
          <a:ea typeface="+mn-ea"/>
          <a:cs typeface="+mn-cs"/>
        </a:defRPr>
      </a:lvl6pPr>
      <a:lvl7pPr marL="2476302" indent="-190484" algn="l" defTabSz="761940" rtl="0" eaLnBrk="1" latinLnBrk="0" hangingPunct="1">
        <a:spcBef>
          <a:spcPct val="20000"/>
        </a:spcBef>
        <a:buFont typeface="Arial" pitchFamily="34" charset="0"/>
        <a:buChar char="•"/>
        <a:defRPr sz="1667" kern="1200">
          <a:solidFill>
            <a:schemeClr val="tx1"/>
          </a:solidFill>
          <a:latin typeface="+mn-lt"/>
          <a:ea typeface="+mn-ea"/>
          <a:cs typeface="+mn-cs"/>
        </a:defRPr>
      </a:lvl7pPr>
      <a:lvl8pPr marL="2857272" indent="-190484" algn="l" defTabSz="761940" rtl="0" eaLnBrk="1" latinLnBrk="0" hangingPunct="1">
        <a:spcBef>
          <a:spcPct val="20000"/>
        </a:spcBef>
        <a:buFont typeface="Arial" pitchFamily="34" charset="0"/>
        <a:buChar char="•"/>
        <a:defRPr sz="1667" kern="1200">
          <a:solidFill>
            <a:schemeClr val="tx1"/>
          </a:solidFill>
          <a:latin typeface="+mn-lt"/>
          <a:ea typeface="+mn-ea"/>
          <a:cs typeface="+mn-cs"/>
        </a:defRPr>
      </a:lvl8pPr>
      <a:lvl9pPr marL="3238240" indent="-190484" algn="l" defTabSz="761940" rtl="0" eaLnBrk="1" latinLnBrk="0" hangingPunct="1">
        <a:spcBef>
          <a:spcPct val="20000"/>
        </a:spcBef>
        <a:buFont typeface="Arial" pitchFamily="34" charset="0"/>
        <a:buChar char="•"/>
        <a:defRPr sz="1667" kern="1200">
          <a:solidFill>
            <a:schemeClr val="tx1"/>
          </a:solidFill>
          <a:latin typeface="+mn-lt"/>
          <a:ea typeface="+mn-ea"/>
          <a:cs typeface="+mn-cs"/>
        </a:defRPr>
      </a:lvl9pPr>
    </p:bodyStyle>
    <p:otherStyle>
      <a:defPPr>
        <a:defRPr lang="en-US"/>
      </a:defPPr>
      <a:lvl1pPr marL="0" algn="l" defTabSz="761940" rtl="0" eaLnBrk="1" latinLnBrk="0" hangingPunct="1">
        <a:defRPr sz="1500" kern="1200">
          <a:solidFill>
            <a:schemeClr val="tx1"/>
          </a:solidFill>
          <a:latin typeface="+mn-lt"/>
          <a:ea typeface="+mn-ea"/>
          <a:cs typeface="+mn-cs"/>
        </a:defRPr>
      </a:lvl1pPr>
      <a:lvl2pPr marL="380970" algn="l" defTabSz="761940" rtl="0" eaLnBrk="1" latinLnBrk="0" hangingPunct="1">
        <a:defRPr sz="1500" kern="1200">
          <a:solidFill>
            <a:schemeClr val="tx1"/>
          </a:solidFill>
          <a:latin typeface="+mn-lt"/>
          <a:ea typeface="+mn-ea"/>
          <a:cs typeface="+mn-cs"/>
        </a:defRPr>
      </a:lvl2pPr>
      <a:lvl3pPr marL="761940" algn="l" defTabSz="761940" rtl="0" eaLnBrk="1" latinLnBrk="0" hangingPunct="1">
        <a:defRPr sz="1500" kern="1200">
          <a:solidFill>
            <a:schemeClr val="tx1"/>
          </a:solidFill>
          <a:latin typeface="+mn-lt"/>
          <a:ea typeface="+mn-ea"/>
          <a:cs typeface="+mn-cs"/>
        </a:defRPr>
      </a:lvl3pPr>
      <a:lvl4pPr marL="1142908" algn="l" defTabSz="761940" rtl="0" eaLnBrk="1" latinLnBrk="0" hangingPunct="1">
        <a:defRPr sz="1500" kern="1200">
          <a:solidFill>
            <a:schemeClr val="tx1"/>
          </a:solidFill>
          <a:latin typeface="+mn-lt"/>
          <a:ea typeface="+mn-ea"/>
          <a:cs typeface="+mn-cs"/>
        </a:defRPr>
      </a:lvl4pPr>
      <a:lvl5pPr marL="1523878" algn="l" defTabSz="761940" rtl="0" eaLnBrk="1" latinLnBrk="0" hangingPunct="1">
        <a:defRPr sz="1500" kern="1200">
          <a:solidFill>
            <a:schemeClr val="tx1"/>
          </a:solidFill>
          <a:latin typeface="+mn-lt"/>
          <a:ea typeface="+mn-ea"/>
          <a:cs typeface="+mn-cs"/>
        </a:defRPr>
      </a:lvl5pPr>
      <a:lvl6pPr marL="1904848" algn="l" defTabSz="761940" rtl="0" eaLnBrk="1" latinLnBrk="0" hangingPunct="1">
        <a:defRPr sz="1500" kern="1200">
          <a:solidFill>
            <a:schemeClr val="tx1"/>
          </a:solidFill>
          <a:latin typeface="+mn-lt"/>
          <a:ea typeface="+mn-ea"/>
          <a:cs typeface="+mn-cs"/>
        </a:defRPr>
      </a:lvl6pPr>
      <a:lvl7pPr marL="2285818" algn="l" defTabSz="761940" rtl="0" eaLnBrk="1" latinLnBrk="0" hangingPunct="1">
        <a:defRPr sz="1500" kern="1200">
          <a:solidFill>
            <a:schemeClr val="tx1"/>
          </a:solidFill>
          <a:latin typeface="+mn-lt"/>
          <a:ea typeface="+mn-ea"/>
          <a:cs typeface="+mn-cs"/>
        </a:defRPr>
      </a:lvl7pPr>
      <a:lvl8pPr marL="2666787" algn="l" defTabSz="761940" rtl="0" eaLnBrk="1" latinLnBrk="0" hangingPunct="1">
        <a:defRPr sz="1500" kern="1200">
          <a:solidFill>
            <a:schemeClr val="tx1"/>
          </a:solidFill>
          <a:latin typeface="+mn-lt"/>
          <a:ea typeface="+mn-ea"/>
          <a:cs typeface="+mn-cs"/>
        </a:defRPr>
      </a:lvl8pPr>
      <a:lvl9pPr marL="3047756" algn="l" defTabSz="761940" rtl="0" eaLnBrk="1" latinLnBrk="0" hangingPunct="1">
        <a:defRPr sz="15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341107D-68D3-74A4-FBED-BC69F6C9A08C}"/>
              </a:ext>
            </a:extLst>
          </p:cNvPr>
          <p:cNvGraphicFramePr>
            <a:graphicFrameLocks noChangeAspect="1"/>
          </p:cNvGraphicFramePr>
          <p:nvPr userDrawn="1">
            <p:custDataLst>
              <p:tags r:id="rId24"/>
            </p:custDataLst>
            <p:extLst>
              <p:ext uri="{D42A27DB-BD31-4B8C-83A1-F6EECF244321}">
                <p14:modId xmlns:p14="http://schemas.microsoft.com/office/powerpoint/2010/main" val="3767470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47" imgH="348" progId="TCLayout.ActiveDocument.1">
                  <p:embed/>
                </p:oleObj>
              </mc:Choice>
              <mc:Fallback>
                <p:oleObj name="think-cell Slide" r:id="rId25" imgW="347" imgH="348" progId="TCLayout.ActiveDocument.1">
                  <p:embed/>
                  <p:pic>
                    <p:nvPicPr>
                      <p:cNvPr id="2" name="think-cell data - do not delete" hidden="1">
                        <a:extLst>
                          <a:ext uri="{FF2B5EF4-FFF2-40B4-BE49-F238E27FC236}">
                            <a16:creationId xmlns:a16="http://schemas.microsoft.com/office/drawing/2014/main" id="{F341107D-68D3-74A4-FBED-BC69F6C9A08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547558354"/>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 id="2147484083" r:id="rId15"/>
    <p:sldLayoutId id="2147484084" r:id="rId16"/>
    <p:sldLayoutId id="2147484085" r:id="rId17"/>
    <p:sldLayoutId id="2147484086" r:id="rId18"/>
    <p:sldLayoutId id="2147484087" r:id="rId19"/>
    <p:sldLayoutId id="2147484088" r:id="rId20"/>
    <p:sldLayoutId id="2147484089" r:id="rId21"/>
    <p:sldLayoutId id="2147484090" r:id="rId22"/>
  </p:sldLayoutIdLst>
  <p:hf sldNum="0" hdr="0" ftr="0" dt="0"/>
  <p:txStyles>
    <p:titleStyle>
      <a:lvl1pPr algn="ctr" defTabSz="761894" rtl="0" eaLnBrk="1" latinLnBrk="0" hangingPunct="1">
        <a:spcBef>
          <a:spcPct val="0"/>
        </a:spcBef>
        <a:buNone/>
        <a:defRPr sz="3666" kern="1200">
          <a:solidFill>
            <a:schemeClr val="tx1"/>
          </a:solidFill>
          <a:latin typeface="+mj-lt"/>
          <a:ea typeface="+mj-ea"/>
          <a:cs typeface="+mj-cs"/>
        </a:defRPr>
      </a:lvl1pPr>
    </p:titleStyle>
    <p:bodyStyle>
      <a:lvl1pPr marL="285711" indent="-285711" algn="l" defTabSz="761894" rtl="0" eaLnBrk="1" latinLnBrk="0" hangingPunct="1">
        <a:spcBef>
          <a:spcPct val="20000"/>
        </a:spcBef>
        <a:buFont typeface="Arial" pitchFamily="34" charset="0"/>
        <a:buChar char="•"/>
        <a:defRPr sz="2666" kern="1200">
          <a:solidFill>
            <a:schemeClr val="tx1"/>
          </a:solidFill>
          <a:latin typeface="+mn-lt"/>
          <a:ea typeface="+mn-ea"/>
          <a:cs typeface="+mn-cs"/>
        </a:defRPr>
      </a:lvl1pPr>
      <a:lvl2pPr marL="619038" indent="-238092" algn="l" defTabSz="761894" rtl="0" eaLnBrk="1" latinLnBrk="0" hangingPunct="1">
        <a:spcBef>
          <a:spcPct val="20000"/>
        </a:spcBef>
        <a:buFont typeface="Arial" pitchFamily="34" charset="0"/>
        <a:buChar char="–"/>
        <a:defRPr sz="2333" kern="1200">
          <a:solidFill>
            <a:schemeClr val="tx1"/>
          </a:solidFill>
          <a:latin typeface="+mn-lt"/>
          <a:ea typeface="+mn-ea"/>
          <a:cs typeface="+mn-cs"/>
        </a:defRPr>
      </a:lvl2pPr>
      <a:lvl3pPr marL="952367" indent="-190473" algn="l" defTabSz="761894"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333313" indent="-190473" algn="l" defTabSz="761894" rtl="0" eaLnBrk="1" latinLnBrk="0" hangingPunct="1">
        <a:spcBef>
          <a:spcPct val="20000"/>
        </a:spcBef>
        <a:buFont typeface="Arial" pitchFamily="34" charset="0"/>
        <a:buChar char="–"/>
        <a:defRPr sz="1667" kern="1200">
          <a:solidFill>
            <a:schemeClr val="tx1"/>
          </a:solidFill>
          <a:latin typeface="+mn-lt"/>
          <a:ea typeface="+mn-ea"/>
          <a:cs typeface="+mn-cs"/>
        </a:defRPr>
      </a:lvl4pPr>
      <a:lvl5pPr marL="1714259" indent="-190473" algn="l" defTabSz="761894" rtl="0" eaLnBrk="1" latinLnBrk="0" hangingPunct="1">
        <a:spcBef>
          <a:spcPct val="20000"/>
        </a:spcBef>
        <a:buFont typeface="Arial" pitchFamily="34" charset="0"/>
        <a:buChar char="»"/>
        <a:defRPr sz="1667" kern="1200">
          <a:solidFill>
            <a:schemeClr val="tx1"/>
          </a:solidFill>
          <a:latin typeface="+mn-lt"/>
          <a:ea typeface="+mn-ea"/>
          <a:cs typeface="+mn-cs"/>
        </a:defRPr>
      </a:lvl5pPr>
      <a:lvl6pPr marL="2095206" indent="-190473" algn="l" defTabSz="761894" rtl="0" eaLnBrk="1" latinLnBrk="0" hangingPunct="1">
        <a:spcBef>
          <a:spcPct val="20000"/>
        </a:spcBef>
        <a:buFont typeface="Arial" pitchFamily="34" charset="0"/>
        <a:buChar char="•"/>
        <a:defRPr sz="1667" kern="1200">
          <a:solidFill>
            <a:schemeClr val="tx1"/>
          </a:solidFill>
          <a:latin typeface="+mn-lt"/>
          <a:ea typeface="+mn-ea"/>
          <a:cs typeface="+mn-cs"/>
        </a:defRPr>
      </a:lvl6pPr>
      <a:lvl7pPr marL="2476153" indent="-190473" algn="l" defTabSz="761894" rtl="0" eaLnBrk="1" latinLnBrk="0" hangingPunct="1">
        <a:spcBef>
          <a:spcPct val="20000"/>
        </a:spcBef>
        <a:buFont typeface="Arial" pitchFamily="34" charset="0"/>
        <a:buChar char="•"/>
        <a:defRPr sz="1667" kern="1200">
          <a:solidFill>
            <a:schemeClr val="tx1"/>
          </a:solidFill>
          <a:latin typeface="+mn-lt"/>
          <a:ea typeface="+mn-ea"/>
          <a:cs typeface="+mn-cs"/>
        </a:defRPr>
      </a:lvl7pPr>
      <a:lvl8pPr marL="2857100" indent="-190473" algn="l" defTabSz="761894" rtl="0" eaLnBrk="1" latinLnBrk="0" hangingPunct="1">
        <a:spcBef>
          <a:spcPct val="20000"/>
        </a:spcBef>
        <a:buFont typeface="Arial" pitchFamily="34" charset="0"/>
        <a:buChar char="•"/>
        <a:defRPr sz="1667" kern="1200">
          <a:solidFill>
            <a:schemeClr val="tx1"/>
          </a:solidFill>
          <a:latin typeface="+mn-lt"/>
          <a:ea typeface="+mn-ea"/>
          <a:cs typeface="+mn-cs"/>
        </a:defRPr>
      </a:lvl8pPr>
      <a:lvl9pPr marL="3238046" indent="-190473" algn="l" defTabSz="761894" rtl="0" eaLnBrk="1" latinLnBrk="0" hangingPunct="1">
        <a:spcBef>
          <a:spcPct val="20000"/>
        </a:spcBef>
        <a:buFont typeface="Arial" pitchFamily="34" charset="0"/>
        <a:buChar char="•"/>
        <a:defRPr sz="1667" kern="1200">
          <a:solidFill>
            <a:schemeClr val="tx1"/>
          </a:solidFill>
          <a:latin typeface="+mn-lt"/>
          <a:ea typeface="+mn-ea"/>
          <a:cs typeface="+mn-cs"/>
        </a:defRPr>
      </a:lvl9pPr>
    </p:bodyStyle>
    <p:otherStyle>
      <a:defPPr>
        <a:defRPr lang="en-US"/>
      </a:defPPr>
      <a:lvl1pPr marL="0" algn="l" defTabSz="761894" rtl="0" eaLnBrk="1" latinLnBrk="0" hangingPunct="1">
        <a:defRPr sz="1500" kern="1200">
          <a:solidFill>
            <a:schemeClr val="tx1"/>
          </a:solidFill>
          <a:latin typeface="+mn-lt"/>
          <a:ea typeface="+mn-ea"/>
          <a:cs typeface="+mn-cs"/>
        </a:defRPr>
      </a:lvl1pPr>
      <a:lvl2pPr marL="380947" algn="l" defTabSz="761894" rtl="0" eaLnBrk="1" latinLnBrk="0" hangingPunct="1">
        <a:defRPr sz="1500" kern="1200">
          <a:solidFill>
            <a:schemeClr val="tx1"/>
          </a:solidFill>
          <a:latin typeface="+mn-lt"/>
          <a:ea typeface="+mn-ea"/>
          <a:cs typeface="+mn-cs"/>
        </a:defRPr>
      </a:lvl2pPr>
      <a:lvl3pPr marL="761894" algn="l" defTabSz="761894" rtl="0" eaLnBrk="1" latinLnBrk="0" hangingPunct="1">
        <a:defRPr sz="1500" kern="1200">
          <a:solidFill>
            <a:schemeClr val="tx1"/>
          </a:solidFill>
          <a:latin typeface="+mn-lt"/>
          <a:ea typeface="+mn-ea"/>
          <a:cs typeface="+mn-cs"/>
        </a:defRPr>
      </a:lvl3pPr>
      <a:lvl4pPr marL="1142840" algn="l" defTabSz="761894" rtl="0" eaLnBrk="1" latinLnBrk="0" hangingPunct="1">
        <a:defRPr sz="1500" kern="1200">
          <a:solidFill>
            <a:schemeClr val="tx1"/>
          </a:solidFill>
          <a:latin typeface="+mn-lt"/>
          <a:ea typeface="+mn-ea"/>
          <a:cs typeface="+mn-cs"/>
        </a:defRPr>
      </a:lvl4pPr>
      <a:lvl5pPr marL="1523787" algn="l" defTabSz="761894" rtl="0" eaLnBrk="1" latinLnBrk="0" hangingPunct="1">
        <a:defRPr sz="1500" kern="1200">
          <a:solidFill>
            <a:schemeClr val="tx1"/>
          </a:solidFill>
          <a:latin typeface="+mn-lt"/>
          <a:ea typeface="+mn-ea"/>
          <a:cs typeface="+mn-cs"/>
        </a:defRPr>
      </a:lvl5pPr>
      <a:lvl6pPr marL="1904734" algn="l" defTabSz="761894" rtl="0" eaLnBrk="1" latinLnBrk="0" hangingPunct="1">
        <a:defRPr sz="1500" kern="1200">
          <a:solidFill>
            <a:schemeClr val="tx1"/>
          </a:solidFill>
          <a:latin typeface="+mn-lt"/>
          <a:ea typeface="+mn-ea"/>
          <a:cs typeface="+mn-cs"/>
        </a:defRPr>
      </a:lvl6pPr>
      <a:lvl7pPr marL="2285681" algn="l" defTabSz="761894" rtl="0" eaLnBrk="1" latinLnBrk="0" hangingPunct="1">
        <a:defRPr sz="1500" kern="1200">
          <a:solidFill>
            <a:schemeClr val="tx1"/>
          </a:solidFill>
          <a:latin typeface="+mn-lt"/>
          <a:ea typeface="+mn-ea"/>
          <a:cs typeface="+mn-cs"/>
        </a:defRPr>
      </a:lvl7pPr>
      <a:lvl8pPr marL="2666627" algn="l" defTabSz="761894" rtl="0" eaLnBrk="1" latinLnBrk="0" hangingPunct="1">
        <a:defRPr sz="1500" kern="1200">
          <a:solidFill>
            <a:schemeClr val="tx1"/>
          </a:solidFill>
          <a:latin typeface="+mn-lt"/>
          <a:ea typeface="+mn-ea"/>
          <a:cs typeface="+mn-cs"/>
        </a:defRPr>
      </a:lvl8pPr>
      <a:lvl9pPr marL="3047574" algn="l" defTabSz="761894"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7.xml"/><Relationship Id="rId1" Type="http://schemas.openxmlformats.org/officeDocument/2006/relationships/tags" Target="../tags/tag57.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oleObject" Target="../embeddings/oleObject9.bin"/><Relationship Id="rId7" Type="http://schemas.openxmlformats.org/officeDocument/2006/relationships/image" Target="../media/image47.png"/><Relationship Id="rId12" Type="http://schemas.openxmlformats.org/officeDocument/2006/relationships/image" Target="../media/image52.svg"/><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image" Target="../media/image46.sv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svg"/><Relationship Id="rId4" Type="http://schemas.openxmlformats.org/officeDocument/2006/relationships/image" Target="../media/image1.emf"/><Relationship Id="rId9" Type="http://schemas.openxmlformats.org/officeDocument/2006/relationships/image" Target="../media/image49.png"/></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7.xml"/><Relationship Id="rId1" Type="http://schemas.openxmlformats.org/officeDocument/2006/relationships/tags" Target="../tags/tag60.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tags" Target="../tags/tag61.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image" Target="../media/image1.emf"/><Relationship Id="rId5" Type="http://schemas.openxmlformats.org/officeDocument/2006/relationships/oleObject" Target="../embeddings/oleObject11.bin"/><Relationship Id="rId4" Type="http://schemas.microsoft.com/office/2018/10/relationships/comments" Target="../comments/modernComment_7FFFF82E_A92FE9AA.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image" Target="../media/image55.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57.svg"/><Relationship Id="rId7" Type="http://schemas.openxmlformats.org/officeDocument/2006/relationships/image" Target="../media/image61.svg"/><Relationship Id="rId2" Type="http://schemas.openxmlformats.org/officeDocument/2006/relationships/image" Target="../media/image56.png"/><Relationship Id="rId1" Type="http://schemas.openxmlformats.org/officeDocument/2006/relationships/slideLayout" Target="../slideLayouts/slideLayout8.xml"/><Relationship Id="rId6" Type="http://schemas.openxmlformats.org/officeDocument/2006/relationships/image" Target="../media/image60.png"/><Relationship Id="rId5" Type="http://schemas.openxmlformats.org/officeDocument/2006/relationships/image" Target="../media/image59.svg"/><Relationship Id="rId4" Type="http://schemas.openxmlformats.org/officeDocument/2006/relationships/image" Target="../media/image58.png"/></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tags" Target="../tags/tag64.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image" Target="../media/image62.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5.xml"/><Relationship Id="rId7" Type="http://schemas.openxmlformats.org/officeDocument/2006/relationships/diagramLayout" Target="../diagrams/layout1.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11.bin"/><Relationship Id="rId9" Type="http://schemas.openxmlformats.org/officeDocument/2006/relationships/diagramColors" Target="../diagrams/colors1.xml"/></Relationships>
</file>

<file path=ppt/slides/_rels/slide24.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9.bin"/><Relationship Id="rId7" Type="http://schemas.openxmlformats.org/officeDocument/2006/relationships/diagramQuickStyle" Target="../diagrams/quickStyle2.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1.emf"/><Relationship Id="rId9" Type="http://schemas.microsoft.com/office/2007/relationships/diagramDrawing" Target="../diagrams/drawing2.xml"/></Relationships>
</file>

<file path=ppt/slides/_rels/slide25.xml.rels><?xml version="1.0" encoding="UTF-8" standalone="yes"?>
<Relationships xmlns="http://schemas.openxmlformats.org/package/2006/relationships"><Relationship Id="rId8" Type="http://schemas.openxmlformats.org/officeDocument/2006/relationships/image" Target="../media/image66.svg"/><Relationship Id="rId13" Type="http://schemas.openxmlformats.org/officeDocument/2006/relationships/image" Target="../media/image71.png"/><Relationship Id="rId3" Type="http://schemas.openxmlformats.org/officeDocument/2006/relationships/oleObject" Target="../embeddings/oleObject8.bin"/><Relationship Id="rId7" Type="http://schemas.openxmlformats.org/officeDocument/2006/relationships/image" Target="../media/image65.png"/><Relationship Id="rId12" Type="http://schemas.openxmlformats.org/officeDocument/2006/relationships/image" Target="../media/image70.svg"/><Relationship Id="rId2" Type="http://schemas.openxmlformats.org/officeDocument/2006/relationships/slideLayout" Target="../slideLayouts/slideLayout7.xml"/><Relationship Id="rId16" Type="http://schemas.openxmlformats.org/officeDocument/2006/relationships/image" Target="../media/image74.svg"/><Relationship Id="rId1" Type="http://schemas.openxmlformats.org/officeDocument/2006/relationships/tags" Target="../tags/tag68.xml"/><Relationship Id="rId6" Type="http://schemas.openxmlformats.org/officeDocument/2006/relationships/image" Target="../media/image64.svg"/><Relationship Id="rId11" Type="http://schemas.openxmlformats.org/officeDocument/2006/relationships/image" Target="../media/image69.png"/><Relationship Id="rId5" Type="http://schemas.openxmlformats.org/officeDocument/2006/relationships/image" Target="../media/image63.png"/><Relationship Id="rId15" Type="http://schemas.openxmlformats.org/officeDocument/2006/relationships/image" Target="../media/image73.png"/><Relationship Id="rId10" Type="http://schemas.openxmlformats.org/officeDocument/2006/relationships/image" Target="../media/image68.svg"/><Relationship Id="rId4" Type="http://schemas.openxmlformats.org/officeDocument/2006/relationships/image" Target="../media/image1.emf"/><Relationship Id="rId9" Type="http://schemas.openxmlformats.org/officeDocument/2006/relationships/image" Target="../media/image67.png"/><Relationship Id="rId14" Type="http://schemas.openxmlformats.org/officeDocument/2006/relationships/image" Target="../media/image72.sv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3" Type="http://schemas.openxmlformats.org/officeDocument/2006/relationships/notesSlide" Target="../notesSlides/notesSlide6.xml"/><Relationship Id="rId7" Type="http://schemas.openxmlformats.org/officeDocument/2006/relationships/image" Target="../media/image76.svg"/><Relationship Id="rId12" Type="http://schemas.openxmlformats.org/officeDocument/2006/relationships/image" Target="../media/image81.png"/><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image" Target="../media/image75.png"/><Relationship Id="rId11" Type="http://schemas.openxmlformats.org/officeDocument/2006/relationships/image" Target="../media/image80.svg"/><Relationship Id="rId5" Type="http://schemas.openxmlformats.org/officeDocument/2006/relationships/image" Target="../media/image1.emf"/><Relationship Id="rId10" Type="http://schemas.openxmlformats.org/officeDocument/2006/relationships/image" Target="../media/image79.png"/><Relationship Id="rId4" Type="http://schemas.openxmlformats.org/officeDocument/2006/relationships/oleObject" Target="../embeddings/oleObject9.bin"/><Relationship Id="rId9" Type="http://schemas.openxmlformats.org/officeDocument/2006/relationships/image" Target="../media/image78.sv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28.png"/><Relationship Id="rId3" Type="http://schemas.openxmlformats.org/officeDocument/2006/relationships/oleObject" Target="../embeddings/oleObject5.bin"/><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slideLayout" Target="../slideLayouts/slideLayout7.xml"/><Relationship Id="rId16" Type="http://schemas.openxmlformats.org/officeDocument/2006/relationships/image" Target="../media/image31.svg"/><Relationship Id="rId1" Type="http://schemas.openxmlformats.org/officeDocument/2006/relationships/tags" Target="../tags/tag49.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5" Type="http://schemas.openxmlformats.org/officeDocument/2006/relationships/image" Target="../media/image30.png"/><Relationship Id="rId10" Type="http://schemas.openxmlformats.org/officeDocument/2006/relationships/image" Target="../media/image25.svg"/><Relationship Id="rId4" Type="http://schemas.openxmlformats.org/officeDocument/2006/relationships/image" Target="../media/image1.emf"/><Relationship Id="rId9" Type="http://schemas.openxmlformats.org/officeDocument/2006/relationships/image" Target="../media/image24.png"/><Relationship Id="rId14" Type="http://schemas.openxmlformats.org/officeDocument/2006/relationships/image" Target="../media/image29.sv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7.xml"/><Relationship Id="rId1" Type="http://schemas.openxmlformats.org/officeDocument/2006/relationships/tags" Target="../tags/tag51.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7.xml"/><Relationship Id="rId1" Type="http://schemas.openxmlformats.org/officeDocument/2006/relationships/tags" Target="../tags/tag52.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7.xml"/><Relationship Id="rId1" Type="http://schemas.openxmlformats.org/officeDocument/2006/relationships/tags" Target="../tags/tag53.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png"/><Relationship Id="rId3" Type="http://schemas.openxmlformats.org/officeDocument/2006/relationships/oleObject" Target="../embeddings/oleObject8.bin"/><Relationship Id="rId7" Type="http://schemas.openxmlformats.org/officeDocument/2006/relationships/image" Target="../media/image35.png"/><Relationship Id="rId12" Type="http://schemas.openxmlformats.org/officeDocument/2006/relationships/image" Target="../media/image40.svg"/><Relationship Id="rId2" Type="http://schemas.openxmlformats.org/officeDocument/2006/relationships/slideLayout" Target="../slideLayouts/slideLayout7.xml"/><Relationship Id="rId16" Type="http://schemas.openxmlformats.org/officeDocument/2006/relationships/image" Target="../media/image44.svg"/><Relationship Id="rId1" Type="http://schemas.openxmlformats.org/officeDocument/2006/relationships/tags" Target="../tags/tag54.xml"/><Relationship Id="rId6" Type="http://schemas.openxmlformats.org/officeDocument/2006/relationships/image" Target="../media/image34.sv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svg"/><Relationship Id="rId4" Type="http://schemas.openxmlformats.org/officeDocument/2006/relationships/image" Target="../media/image1.emf"/><Relationship Id="rId9" Type="http://schemas.openxmlformats.org/officeDocument/2006/relationships/image" Target="../media/image37.png"/><Relationship Id="rId14" Type="http://schemas.openxmlformats.org/officeDocument/2006/relationships/image" Target="../media/image4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ocument Title">
            <a:extLst>
              <a:ext uri="{FF2B5EF4-FFF2-40B4-BE49-F238E27FC236}">
                <a16:creationId xmlns:a16="http://schemas.microsoft.com/office/drawing/2014/main" id="{C47D0829-D463-337F-B4A7-C0B121E768EC}"/>
              </a:ext>
            </a:extLst>
          </p:cNvPr>
          <p:cNvSpPr txBox="1">
            <a:spLocks/>
          </p:cNvSpPr>
          <p:nvPr/>
        </p:nvSpPr>
        <p:spPr>
          <a:xfrm>
            <a:off x="390525" y="2931583"/>
            <a:ext cx="8886032" cy="275167"/>
          </a:xfrm>
          <a:prstGeom prst="rect">
            <a:avLst/>
          </a:prstGeom>
        </p:spPr>
        <p:txBody>
          <a:bodyPr anchor="ctr">
            <a:noAutofit/>
          </a:bodyPr>
          <a:lstStyle>
            <a:lvl1pPr marL="285711" indent="-285711" algn="l" defTabSz="761894" rtl="0" eaLnBrk="1" latinLnBrk="0" hangingPunct="1">
              <a:lnSpc>
                <a:spcPts val="13200"/>
              </a:lnSpc>
              <a:spcBef>
                <a:spcPct val="20000"/>
              </a:spcBef>
              <a:buFont typeface="Arial" pitchFamily="34" charset="0"/>
              <a:buChar char="•"/>
              <a:defRPr sz="2666" kern="1200">
                <a:solidFill>
                  <a:schemeClr val="tx1"/>
                </a:solidFill>
                <a:latin typeface="+mn-lt"/>
                <a:ea typeface="+mn-ea"/>
                <a:cs typeface="+mn-cs"/>
              </a:defRPr>
            </a:lvl1pPr>
            <a:lvl2pPr marL="619038" indent="-238092" algn="l" defTabSz="761894" rtl="0" eaLnBrk="1" latinLnBrk="0" hangingPunct="1">
              <a:spcBef>
                <a:spcPct val="20000"/>
              </a:spcBef>
              <a:buFont typeface="Arial" pitchFamily="34" charset="0"/>
              <a:buChar char="–"/>
              <a:defRPr sz="2333" kern="1200">
                <a:solidFill>
                  <a:schemeClr val="tx1"/>
                </a:solidFill>
                <a:latin typeface="+mn-lt"/>
                <a:ea typeface="+mn-ea"/>
                <a:cs typeface="+mn-cs"/>
              </a:defRPr>
            </a:lvl2pPr>
            <a:lvl3pPr marL="952367" indent="-190473" algn="l" defTabSz="761894"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333313" indent="-190473" algn="l" defTabSz="761894" rtl="0" eaLnBrk="1" latinLnBrk="0" hangingPunct="1">
              <a:spcBef>
                <a:spcPct val="20000"/>
              </a:spcBef>
              <a:buFont typeface="Arial" pitchFamily="34" charset="0"/>
              <a:buChar char="–"/>
              <a:defRPr sz="1667" kern="1200">
                <a:solidFill>
                  <a:schemeClr val="tx1"/>
                </a:solidFill>
                <a:latin typeface="+mn-lt"/>
                <a:ea typeface="+mn-ea"/>
                <a:cs typeface="+mn-cs"/>
              </a:defRPr>
            </a:lvl4pPr>
            <a:lvl5pPr marL="1714259" indent="-190473" algn="l" defTabSz="761894" rtl="0" eaLnBrk="1" latinLnBrk="0" hangingPunct="1">
              <a:spcBef>
                <a:spcPct val="20000"/>
              </a:spcBef>
              <a:buFont typeface="Arial" pitchFamily="34" charset="0"/>
              <a:buChar char="»"/>
              <a:defRPr sz="1667" kern="1200">
                <a:solidFill>
                  <a:schemeClr val="tx1"/>
                </a:solidFill>
                <a:latin typeface="+mn-lt"/>
                <a:ea typeface="+mn-ea"/>
                <a:cs typeface="+mn-cs"/>
              </a:defRPr>
            </a:lvl5pPr>
            <a:lvl6pPr marL="2095206" indent="-190473" algn="l" defTabSz="761894" rtl="0" eaLnBrk="1" latinLnBrk="0" hangingPunct="1">
              <a:spcBef>
                <a:spcPct val="20000"/>
              </a:spcBef>
              <a:buFont typeface="Arial" pitchFamily="34" charset="0"/>
              <a:buChar char="•"/>
              <a:defRPr sz="1667" kern="1200">
                <a:solidFill>
                  <a:schemeClr val="tx1"/>
                </a:solidFill>
                <a:latin typeface="+mn-lt"/>
                <a:ea typeface="+mn-ea"/>
                <a:cs typeface="+mn-cs"/>
              </a:defRPr>
            </a:lvl6pPr>
            <a:lvl7pPr marL="2476153" indent="-190473" algn="l" defTabSz="761894" rtl="0" eaLnBrk="1" latinLnBrk="0" hangingPunct="1">
              <a:spcBef>
                <a:spcPct val="20000"/>
              </a:spcBef>
              <a:buFont typeface="Arial" pitchFamily="34" charset="0"/>
              <a:buChar char="•"/>
              <a:defRPr sz="1667" kern="1200">
                <a:solidFill>
                  <a:schemeClr val="tx1"/>
                </a:solidFill>
                <a:latin typeface="+mn-lt"/>
                <a:ea typeface="+mn-ea"/>
                <a:cs typeface="+mn-cs"/>
              </a:defRPr>
            </a:lvl7pPr>
            <a:lvl8pPr marL="2857100" indent="-190473" algn="l" defTabSz="761894" rtl="0" eaLnBrk="1" latinLnBrk="0" hangingPunct="1">
              <a:spcBef>
                <a:spcPct val="20000"/>
              </a:spcBef>
              <a:buFont typeface="Arial" pitchFamily="34" charset="0"/>
              <a:buChar char="•"/>
              <a:defRPr sz="1667" kern="1200">
                <a:solidFill>
                  <a:schemeClr val="tx1"/>
                </a:solidFill>
                <a:latin typeface="+mn-lt"/>
                <a:ea typeface="+mn-ea"/>
                <a:cs typeface="+mn-cs"/>
              </a:defRPr>
            </a:lvl8pPr>
            <a:lvl9pPr marL="3238046" indent="-190473" algn="l" defTabSz="761894" rtl="0" eaLnBrk="1" latinLnBrk="0" hangingPunct="1">
              <a:spcBef>
                <a:spcPct val="20000"/>
              </a:spcBef>
              <a:buFont typeface="Arial" pitchFamily="34" charset="0"/>
              <a:buChar char="•"/>
              <a:defRPr sz="1667" kern="1200">
                <a:solidFill>
                  <a:schemeClr val="tx1"/>
                </a:solidFill>
                <a:latin typeface="+mn-lt"/>
                <a:ea typeface="+mn-ea"/>
                <a:cs typeface="+mn-cs"/>
              </a:defRPr>
            </a:lvl9pPr>
          </a:lstStyle>
          <a:p>
            <a:pPr marL="0" indent="0">
              <a:buFont typeface="Arial" pitchFamily="34" charset="0"/>
              <a:buNone/>
            </a:pPr>
            <a:r>
              <a:rPr lang="en-US" sz="3333">
                <a:solidFill>
                  <a:prstClr val="white"/>
                </a:solidFill>
              </a:rPr>
              <a:t>Learning as a Service: A Growth Multiplier </a:t>
            </a:r>
          </a:p>
        </p:txBody>
      </p:sp>
      <p:sp>
        <p:nvSpPr>
          <p:cNvPr id="3" name="TextBox 2">
            <a:extLst>
              <a:ext uri="{FF2B5EF4-FFF2-40B4-BE49-F238E27FC236}">
                <a16:creationId xmlns:a16="http://schemas.microsoft.com/office/drawing/2014/main" id="{391DF157-A9D3-6A62-6E5A-24EB55D868A7}"/>
              </a:ext>
            </a:extLst>
          </p:cNvPr>
          <p:cNvSpPr txBox="1"/>
          <p:nvPr/>
        </p:nvSpPr>
        <p:spPr>
          <a:xfrm>
            <a:off x="384970" y="3748810"/>
            <a:ext cx="7025480" cy="369332"/>
          </a:xfrm>
          <a:prstGeom prst="rect">
            <a:avLst/>
          </a:prstGeom>
          <a:noFill/>
        </p:spPr>
        <p:txBody>
          <a:bodyPr wrap="square">
            <a:spAutoFit/>
          </a:bodyPr>
          <a:lstStyle/>
          <a:p>
            <a:pPr defTabSz="914363">
              <a:defRPr/>
            </a:pPr>
            <a:r>
              <a:rPr lang="en-US">
                <a:solidFill>
                  <a:prstClr val="white"/>
                </a:solidFill>
                <a:latin typeface="Moderat" pitchFamily="2" charset="77"/>
              </a:rPr>
              <a:t>An Embedded Learning Partner — Enabling Readiness That Scales</a:t>
            </a:r>
          </a:p>
        </p:txBody>
      </p:sp>
      <p:sp>
        <p:nvSpPr>
          <p:cNvPr id="4" name="Rectangle 3">
            <a:extLst>
              <a:ext uri="{FF2B5EF4-FFF2-40B4-BE49-F238E27FC236}">
                <a16:creationId xmlns:a16="http://schemas.microsoft.com/office/drawing/2014/main" id="{91F86EA6-6BB9-EBB8-A78F-AFC2CBDB5D52}"/>
              </a:ext>
            </a:extLst>
          </p:cNvPr>
          <p:cNvSpPr/>
          <p:nvPr/>
        </p:nvSpPr>
        <p:spPr>
          <a:xfrm>
            <a:off x="472081" y="4351468"/>
            <a:ext cx="1918694" cy="50918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en-US" sz="1667">
                <a:solidFill>
                  <a:srgbClr val="FFFFFF"/>
                </a:solidFill>
                <a:latin typeface="Moderat" pitchFamily="2" charset="77"/>
                <a:cs typeface="Arial" panose="020B0604020202020204" pitchFamily="34" charset="0"/>
              </a:rPr>
              <a:t>November 2025</a:t>
            </a:r>
          </a:p>
        </p:txBody>
      </p:sp>
      <p:cxnSp>
        <p:nvCxnSpPr>
          <p:cNvPr id="5" name="Straight Connector 4">
            <a:extLst>
              <a:ext uri="{FF2B5EF4-FFF2-40B4-BE49-F238E27FC236}">
                <a16:creationId xmlns:a16="http://schemas.microsoft.com/office/drawing/2014/main" id="{FE5C550B-FA75-6DCE-AD78-CBD4FBBC976C}"/>
              </a:ext>
            </a:extLst>
          </p:cNvPr>
          <p:cNvCxnSpPr>
            <a:cxnSpLocks/>
          </p:cNvCxnSpPr>
          <p:nvPr/>
        </p:nvCxnSpPr>
        <p:spPr>
          <a:xfrm>
            <a:off x="199572" y="2304259"/>
            <a:ext cx="11557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34371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5FCBA71-635C-605B-7697-425E7C23425D}"/>
              </a:ext>
            </a:extLst>
          </p:cNvPr>
          <p:cNvGraphicFramePr>
            <a:graphicFrameLocks noChangeAspect="1"/>
          </p:cNvGraphicFramePr>
          <p:nvPr>
            <p:custDataLst>
              <p:tags r:id="rId1"/>
            </p:custDataLst>
            <p:extLst>
              <p:ext uri="{D42A27DB-BD31-4B8C-83A1-F6EECF244321}">
                <p14:modId xmlns:p14="http://schemas.microsoft.com/office/powerpoint/2010/main" val="966291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think-cell data - do not delete" hidden="1">
                        <a:extLst>
                          <a:ext uri="{FF2B5EF4-FFF2-40B4-BE49-F238E27FC236}">
                            <a16:creationId xmlns:a16="http://schemas.microsoft.com/office/drawing/2014/main" id="{A5FCBA71-635C-605B-7697-425E7C2342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5791D46-46B2-851F-C88B-3C8B469E9926}"/>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latin typeface="Moderat" pitchFamily="2" charset="77"/>
              </a:rPr>
              <a:t>Guiding Performance</a:t>
            </a:r>
          </a:p>
        </p:txBody>
      </p:sp>
      <p:sp>
        <p:nvSpPr>
          <p:cNvPr id="41" name="Text 1">
            <a:extLst>
              <a:ext uri="{FF2B5EF4-FFF2-40B4-BE49-F238E27FC236}">
                <a16:creationId xmlns:a16="http://schemas.microsoft.com/office/drawing/2014/main" id="{BC3B09E7-98D5-66F9-D47C-78F78D67DD7B}"/>
              </a:ext>
            </a:extLst>
          </p:cNvPr>
          <p:cNvSpPr/>
          <p:nvPr/>
        </p:nvSpPr>
        <p:spPr>
          <a:xfrm>
            <a:off x="515938" y="1222623"/>
            <a:ext cx="11141074" cy="205184"/>
          </a:xfrm>
          <a:prstGeom prst="rect">
            <a:avLst/>
          </a:prstGeom>
          <a:noFill/>
          <a:ln/>
        </p:spPr>
        <p:txBody>
          <a:bodyPr wrap="square" lIns="0" tIns="0" rIns="0" bIns="0" rtlCol="0" anchor="t">
            <a:spAutoFit/>
          </a:bodyPr>
          <a:lstStyle/>
          <a:p>
            <a:pPr defTabSz="571500">
              <a:lnSpc>
                <a:spcPts val="1563"/>
              </a:lnSpc>
            </a:pPr>
            <a:r>
              <a:rPr lang="en-US" sz="1400">
                <a:solidFill>
                  <a:srgbClr val="504C49"/>
                </a:solidFill>
                <a:latin typeface="Moderat" pitchFamily="2" charset="77"/>
                <a:ea typeface="Source Serif 4" pitchFamily="34" charset="-122"/>
                <a:cs typeface="Source Serif 4" pitchFamily="34" charset="-120"/>
              </a:rPr>
              <a:t>Practical GROW Coaching for GCC Leaders</a:t>
            </a:r>
          </a:p>
        </p:txBody>
      </p:sp>
      <p:sp>
        <p:nvSpPr>
          <p:cNvPr id="6" name="Text 8">
            <a:extLst>
              <a:ext uri="{FF2B5EF4-FFF2-40B4-BE49-F238E27FC236}">
                <a16:creationId xmlns:a16="http://schemas.microsoft.com/office/drawing/2014/main" id="{9B99D6B3-7725-020C-344C-CDFE335B1F3D}"/>
              </a:ext>
            </a:extLst>
          </p:cNvPr>
          <p:cNvSpPr/>
          <p:nvPr/>
        </p:nvSpPr>
        <p:spPr>
          <a:xfrm>
            <a:off x="515936" y="1653414"/>
            <a:ext cx="11160127" cy="215444"/>
          </a:xfrm>
          <a:prstGeom prst="rect">
            <a:avLst/>
          </a:prstGeom>
          <a:noFill/>
          <a:ln/>
        </p:spPr>
        <p:txBody>
          <a:bodyPr wrap="square" lIns="0" tIns="0" rIns="0" bIns="0" rtlCol="0" anchor="t">
            <a:spAutoFit/>
          </a:bodyPr>
          <a:lstStyle/>
          <a:p>
            <a:pPr>
              <a:spcBef>
                <a:spcPts val="400"/>
              </a:spcBef>
              <a:spcAft>
                <a:spcPts val="400"/>
              </a:spcAft>
            </a:pPr>
            <a:r>
              <a:rPr lang="en-US" sz="1400">
                <a:solidFill>
                  <a:schemeClr val="bg2">
                    <a:lumMod val="25000"/>
                  </a:schemeClr>
                </a:solidFill>
                <a:latin typeface="Moderat" pitchFamily="2" charset="77"/>
                <a:ea typeface="Lato" pitchFamily="34" charset="-122"/>
                <a:cs typeface="Lato" pitchFamily="34" charset="-120"/>
              </a:rPr>
              <a:t>Build muscle memory in structured coaching conversations that drive real accountability and results</a:t>
            </a:r>
          </a:p>
        </p:txBody>
      </p:sp>
      <p:sp>
        <p:nvSpPr>
          <p:cNvPr id="9" name="Shape 22">
            <a:extLst>
              <a:ext uri="{FF2B5EF4-FFF2-40B4-BE49-F238E27FC236}">
                <a16:creationId xmlns:a16="http://schemas.microsoft.com/office/drawing/2014/main" id="{D8D6B9F7-1EAA-8CE9-21EA-59EBB03C00DD}"/>
              </a:ext>
            </a:extLst>
          </p:cNvPr>
          <p:cNvSpPr/>
          <p:nvPr/>
        </p:nvSpPr>
        <p:spPr>
          <a:xfrm>
            <a:off x="0" y="6075501"/>
            <a:ext cx="12192000" cy="782499"/>
          </a:xfrm>
          <a:prstGeom prst="roundRect">
            <a:avLst>
              <a:gd name="adj" fmla="val 1453"/>
            </a:avLst>
          </a:prstGeom>
          <a:solidFill>
            <a:schemeClr val="accent1"/>
          </a:solidFill>
          <a:ln/>
        </p:spPr>
        <p:txBody>
          <a:bodyPr/>
          <a:lstStyle/>
          <a:p>
            <a:pPr defTabSz="571500"/>
            <a:endParaRPr lang="en-IN" sz="1125">
              <a:solidFill>
                <a:prstClr val="black"/>
              </a:solidFill>
              <a:latin typeface="Moderat" pitchFamily="2" charset="77"/>
            </a:endParaRPr>
          </a:p>
        </p:txBody>
      </p:sp>
      <p:sp>
        <p:nvSpPr>
          <p:cNvPr id="10" name="Text 18">
            <a:extLst>
              <a:ext uri="{FF2B5EF4-FFF2-40B4-BE49-F238E27FC236}">
                <a16:creationId xmlns:a16="http://schemas.microsoft.com/office/drawing/2014/main" id="{4951AC06-7B61-CDDB-36D2-BF82ED9328B4}"/>
              </a:ext>
            </a:extLst>
          </p:cNvPr>
          <p:cNvSpPr/>
          <p:nvPr/>
        </p:nvSpPr>
        <p:spPr>
          <a:xfrm>
            <a:off x="515939" y="6343640"/>
            <a:ext cx="10281763" cy="246221"/>
          </a:xfrm>
          <a:prstGeom prst="rect">
            <a:avLst/>
          </a:prstGeom>
          <a:noFill/>
          <a:ln/>
        </p:spPr>
        <p:txBody>
          <a:bodyPr wrap="square" lIns="0" tIns="0" rIns="0" bIns="0" rtlCol="0" anchor="t">
            <a:spAutoFit/>
          </a:bodyPr>
          <a:lstStyle/>
          <a:p>
            <a:r>
              <a:rPr lang="en-US" sz="1600" b="1">
                <a:solidFill>
                  <a:schemeClr val="bg1"/>
                </a:solidFill>
                <a:latin typeface="Moderat" pitchFamily="2" charset="77"/>
                <a:ea typeface="Raleway" pitchFamily="34" charset="-122"/>
                <a:cs typeface="Raleway" pitchFamily="34" charset="-120"/>
              </a:rPr>
              <a:t>"This isn't theory. It's practical coaching you'll use the very next day and every day after."</a:t>
            </a:r>
          </a:p>
        </p:txBody>
      </p:sp>
      <p:sp>
        <p:nvSpPr>
          <p:cNvPr id="12" name="Shape 2">
            <a:extLst>
              <a:ext uri="{FF2B5EF4-FFF2-40B4-BE49-F238E27FC236}">
                <a16:creationId xmlns:a16="http://schemas.microsoft.com/office/drawing/2014/main" id="{29E34AE8-D917-B994-2A18-E33A55938573}"/>
              </a:ext>
            </a:extLst>
          </p:cNvPr>
          <p:cNvSpPr/>
          <p:nvPr/>
        </p:nvSpPr>
        <p:spPr>
          <a:xfrm flipV="1">
            <a:off x="4349277" y="2348776"/>
            <a:ext cx="3541841" cy="3636096"/>
          </a:xfrm>
          <a:prstGeom prst="round2SameRect">
            <a:avLst>
              <a:gd name="adj1" fmla="val 2546"/>
              <a:gd name="adj2" fmla="val 0"/>
            </a:avLst>
          </a:prstGeom>
          <a:solidFill>
            <a:schemeClr val="bg1">
              <a:lumMod val="95000"/>
            </a:schemeClr>
          </a:solidFill>
          <a:ln w="7620">
            <a:noFill/>
            <a:prstDash val="solid"/>
          </a:ln>
        </p:spPr>
        <p:txBody>
          <a:bodyPr/>
          <a:lstStyle/>
          <a:p>
            <a:endParaRPr lang="en-IN" sz="1125">
              <a:latin typeface="Moderat" pitchFamily="2" charset="77"/>
            </a:endParaRPr>
          </a:p>
        </p:txBody>
      </p:sp>
      <p:sp>
        <p:nvSpPr>
          <p:cNvPr id="13" name="Text 4">
            <a:extLst>
              <a:ext uri="{FF2B5EF4-FFF2-40B4-BE49-F238E27FC236}">
                <a16:creationId xmlns:a16="http://schemas.microsoft.com/office/drawing/2014/main" id="{20E5AF12-564E-4393-10B4-DBB197ACBFD7}"/>
              </a:ext>
            </a:extLst>
          </p:cNvPr>
          <p:cNvSpPr/>
          <p:nvPr/>
        </p:nvSpPr>
        <p:spPr>
          <a:xfrm>
            <a:off x="4547062" y="2758277"/>
            <a:ext cx="2952109" cy="222971"/>
          </a:xfrm>
          <a:prstGeom prst="rect">
            <a:avLst/>
          </a:prstGeom>
          <a:noFill/>
          <a:ln/>
        </p:spPr>
        <p:txBody>
          <a:bodyPr wrap="none" lIns="0" tIns="0" rIns="0" bIns="0" rtlCol="0" anchor="t"/>
          <a:lstStyle/>
          <a:p>
            <a:r>
              <a:rPr lang="en-US" sz="1600" b="1">
                <a:solidFill>
                  <a:schemeClr val="accent6"/>
                </a:solidFill>
                <a:latin typeface="Moderat" pitchFamily="2" charset="77"/>
                <a:ea typeface="Raleway" pitchFamily="34" charset="-122"/>
                <a:cs typeface="Raleway" pitchFamily="34" charset="-120"/>
              </a:rPr>
              <a:t>Triad Practice</a:t>
            </a:r>
          </a:p>
        </p:txBody>
      </p:sp>
      <p:sp>
        <p:nvSpPr>
          <p:cNvPr id="15" name="Rectangle 14">
            <a:extLst>
              <a:ext uri="{FF2B5EF4-FFF2-40B4-BE49-F238E27FC236}">
                <a16:creationId xmlns:a16="http://schemas.microsoft.com/office/drawing/2014/main" id="{EE682276-FFE0-01C0-1E02-5EDE8D752219}"/>
              </a:ext>
            </a:extLst>
          </p:cNvPr>
          <p:cNvSpPr/>
          <p:nvPr/>
        </p:nvSpPr>
        <p:spPr>
          <a:xfrm rot="5400000">
            <a:off x="6083708" y="541366"/>
            <a:ext cx="72979" cy="354184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a:solidFill>
                <a:srgbClr val="FFFFFF"/>
              </a:solidFill>
              <a:latin typeface="Moderat" pitchFamily="2" charset="77"/>
            </a:endParaRPr>
          </a:p>
        </p:txBody>
      </p:sp>
      <p:sp>
        <p:nvSpPr>
          <p:cNvPr id="23" name="Shape 2">
            <a:extLst>
              <a:ext uri="{FF2B5EF4-FFF2-40B4-BE49-F238E27FC236}">
                <a16:creationId xmlns:a16="http://schemas.microsoft.com/office/drawing/2014/main" id="{50E74855-56C1-80F2-4105-EFECE42AA3EB}"/>
              </a:ext>
            </a:extLst>
          </p:cNvPr>
          <p:cNvSpPr/>
          <p:nvPr/>
        </p:nvSpPr>
        <p:spPr>
          <a:xfrm flipV="1">
            <a:off x="515936" y="2348776"/>
            <a:ext cx="3541841" cy="3636096"/>
          </a:xfrm>
          <a:prstGeom prst="round2SameRect">
            <a:avLst>
              <a:gd name="adj1" fmla="val 2546"/>
              <a:gd name="adj2" fmla="val 0"/>
            </a:avLst>
          </a:prstGeom>
          <a:solidFill>
            <a:schemeClr val="bg1">
              <a:lumMod val="95000"/>
            </a:schemeClr>
          </a:solidFill>
          <a:ln w="7620">
            <a:noFill/>
            <a:prstDash val="solid"/>
          </a:ln>
        </p:spPr>
        <p:txBody>
          <a:bodyPr/>
          <a:lstStyle/>
          <a:p>
            <a:endParaRPr lang="en-IN" sz="1125">
              <a:latin typeface="Moderat" pitchFamily="2" charset="77"/>
            </a:endParaRPr>
          </a:p>
        </p:txBody>
      </p:sp>
      <p:sp>
        <p:nvSpPr>
          <p:cNvPr id="24" name="Text 4">
            <a:extLst>
              <a:ext uri="{FF2B5EF4-FFF2-40B4-BE49-F238E27FC236}">
                <a16:creationId xmlns:a16="http://schemas.microsoft.com/office/drawing/2014/main" id="{216D0189-0606-91B7-D0A4-6107C23DE344}"/>
              </a:ext>
            </a:extLst>
          </p:cNvPr>
          <p:cNvSpPr/>
          <p:nvPr/>
        </p:nvSpPr>
        <p:spPr>
          <a:xfrm>
            <a:off x="713722" y="2758277"/>
            <a:ext cx="2952109" cy="222971"/>
          </a:xfrm>
          <a:prstGeom prst="rect">
            <a:avLst/>
          </a:prstGeom>
          <a:noFill/>
          <a:ln/>
        </p:spPr>
        <p:txBody>
          <a:bodyPr wrap="none" lIns="0" tIns="0" rIns="0" bIns="0" rtlCol="0" anchor="t"/>
          <a:lstStyle/>
          <a:p>
            <a:r>
              <a:rPr lang="en-US" sz="1600" b="1">
                <a:solidFill>
                  <a:schemeClr val="accent6"/>
                </a:solidFill>
                <a:latin typeface="Moderat" pitchFamily="2" charset="77"/>
                <a:ea typeface="Raleway" pitchFamily="34" charset="-122"/>
                <a:cs typeface="Raleway" pitchFamily="34" charset="-120"/>
              </a:rPr>
              <a:t>Full-Day Workshop</a:t>
            </a:r>
          </a:p>
        </p:txBody>
      </p:sp>
      <p:sp>
        <p:nvSpPr>
          <p:cNvPr id="25" name="Text 5">
            <a:extLst>
              <a:ext uri="{FF2B5EF4-FFF2-40B4-BE49-F238E27FC236}">
                <a16:creationId xmlns:a16="http://schemas.microsoft.com/office/drawing/2014/main" id="{FCE76120-F7A7-34C6-4A95-7C5C42B6145E}"/>
              </a:ext>
            </a:extLst>
          </p:cNvPr>
          <p:cNvSpPr/>
          <p:nvPr/>
        </p:nvSpPr>
        <p:spPr>
          <a:xfrm>
            <a:off x="713721" y="2996350"/>
            <a:ext cx="3148774" cy="503590"/>
          </a:xfrm>
          <a:prstGeom prst="rect">
            <a:avLst/>
          </a:prstGeom>
          <a:noFill/>
          <a:ln/>
        </p:spPr>
        <p:txBody>
          <a:bodyPr wrap="square" lIns="0" tIns="36000" rIns="0" bIns="36000" rtlCol="0" anchor="t">
            <a:spAutoFit/>
          </a:bodyPr>
          <a:lstStyle/>
          <a:p>
            <a:pPr>
              <a:spcAft>
                <a:spcPts val="600"/>
              </a:spcAft>
            </a:pPr>
            <a:r>
              <a:rPr lang="en-US" sz="1400">
                <a:solidFill>
                  <a:srgbClr val="3C3939"/>
                </a:solidFill>
                <a:latin typeface="Moderat" pitchFamily="2" charset="77"/>
                <a:ea typeface="Roboto" pitchFamily="34" charset="-122"/>
                <a:cs typeface="Roboto" pitchFamily="34" charset="-120"/>
              </a:rPr>
              <a:t>In-person, hands-on practice with real scenarios from your environment</a:t>
            </a:r>
          </a:p>
        </p:txBody>
      </p:sp>
      <p:sp>
        <p:nvSpPr>
          <p:cNvPr id="26" name="Rectangle 25">
            <a:extLst>
              <a:ext uri="{FF2B5EF4-FFF2-40B4-BE49-F238E27FC236}">
                <a16:creationId xmlns:a16="http://schemas.microsoft.com/office/drawing/2014/main" id="{539550A7-024B-82F2-3861-088B3F2EB68E}"/>
              </a:ext>
            </a:extLst>
          </p:cNvPr>
          <p:cNvSpPr/>
          <p:nvPr/>
        </p:nvSpPr>
        <p:spPr>
          <a:xfrm rot="5400000">
            <a:off x="2250367" y="541366"/>
            <a:ext cx="72979" cy="354184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a:solidFill>
                <a:srgbClr val="FFFFFF"/>
              </a:solidFill>
              <a:latin typeface="Moderat" pitchFamily="2" charset="77"/>
            </a:endParaRPr>
          </a:p>
        </p:txBody>
      </p:sp>
      <p:sp>
        <p:nvSpPr>
          <p:cNvPr id="39" name="Shape 2">
            <a:extLst>
              <a:ext uri="{FF2B5EF4-FFF2-40B4-BE49-F238E27FC236}">
                <a16:creationId xmlns:a16="http://schemas.microsoft.com/office/drawing/2014/main" id="{F751F38A-A353-130D-EDBA-C60D8383B132}"/>
              </a:ext>
            </a:extLst>
          </p:cNvPr>
          <p:cNvSpPr/>
          <p:nvPr/>
        </p:nvSpPr>
        <p:spPr>
          <a:xfrm flipV="1">
            <a:off x="8134222" y="2348776"/>
            <a:ext cx="3541841" cy="3636096"/>
          </a:xfrm>
          <a:prstGeom prst="round2SameRect">
            <a:avLst>
              <a:gd name="adj1" fmla="val 2546"/>
              <a:gd name="adj2" fmla="val 0"/>
            </a:avLst>
          </a:prstGeom>
          <a:solidFill>
            <a:schemeClr val="bg1">
              <a:lumMod val="95000"/>
            </a:schemeClr>
          </a:solidFill>
          <a:ln w="7620">
            <a:noFill/>
            <a:prstDash val="solid"/>
          </a:ln>
        </p:spPr>
        <p:txBody>
          <a:bodyPr/>
          <a:lstStyle/>
          <a:p>
            <a:endParaRPr lang="en-IN" sz="1125">
              <a:latin typeface="Moderat" pitchFamily="2" charset="77"/>
            </a:endParaRPr>
          </a:p>
        </p:txBody>
      </p:sp>
      <p:sp>
        <p:nvSpPr>
          <p:cNvPr id="40" name="Text 4">
            <a:extLst>
              <a:ext uri="{FF2B5EF4-FFF2-40B4-BE49-F238E27FC236}">
                <a16:creationId xmlns:a16="http://schemas.microsoft.com/office/drawing/2014/main" id="{81876C5A-18F4-6A76-D6D4-4F52CD84704A}"/>
              </a:ext>
            </a:extLst>
          </p:cNvPr>
          <p:cNvSpPr/>
          <p:nvPr/>
        </p:nvSpPr>
        <p:spPr>
          <a:xfrm>
            <a:off x="8332008" y="2758277"/>
            <a:ext cx="2952109" cy="222971"/>
          </a:xfrm>
          <a:prstGeom prst="rect">
            <a:avLst/>
          </a:prstGeom>
          <a:noFill/>
          <a:ln/>
        </p:spPr>
        <p:txBody>
          <a:bodyPr wrap="none" lIns="0" tIns="0" rIns="0" bIns="0" rtlCol="0" anchor="t"/>
          <a:lstStyle/>
          <a:p>
            <a:r>
              <a:rPr lang="en-US" sz="1600" b="1">
                <a:solidFill>
                  <a:schemeClr val="accent6"/>
                </a:solidFill>
                <a:latin typeface="Moderat" pitchFamily="2" charset="77"/>
                <a:ea typeface="Raleway" pitchFamily="34" charset="-122"/>
                <a:cs typeface="Raleway" pitchFamily="34" charset="-120"/>
              </a:rPr>
              <a:t>Lasting Skills</a:t>
            </a:r>
          </a:p>
        </p:txBody>
      </p:sp>
      <p:sp>
        <p:nvSpPr>
          <p:cNvPr id="43" name="Rectangle 42">
            <a:extLst>
              <a:ext uri="{FF2B5EF4-FFF2-40B4-BE49-F238E27FC236}">
                <a16:creationId xmlns:a16="http://schemas.microsoft.com/office/drawing/2014/main" id="{CA5E99C2-A004-CF05-54A6-1760693412D8}"/>
              </a:ext>
            </a:extLst>
          </p:cNvPr>
          <p:cNvSpPr/>
          <p:nvPr/>
        </p:nvSpPr>
        <p:spPr>
          <a:xfrm rot="5400000">
            <a:off x="9868653" y="541366"/>
            <a:ext cx="72979" cy="354184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a:solidFill>
                <a:srgbClr val="FFFFFF"/>
              </a:solidFill>
              <a:latin typeface="Moderat" pitchFamily="2" charset="77"/>
            </a:endParaRPr>
          </a:p>
        </p:txBody>
      </p:sp>
      <p:sp>
        <p:nvSpPr>
          <p:cNvPr id="56" name="Text 5">
            <a:extLst>
              <a:ext uri="{FF2B5EF4-FFF2-40B4-BE49-F238E27FC236}">
                <a16:creationId xmlns:a16="http://schemas.microsoft.com/office/drawing/2014/main" id="{ABBA371C-7538-89CE-ADC9-18ECA597851E}"/>
              </a:ext>
            </a:extLst>
          </p:cNvPr>
          <p:cNvSpPr/>
          <p:nvPr/>
        </p:nvSpPr>
        <p:spPr>
          <a:xfrm>
            <a:off x="4547062" y="2996350"/>
            <a:ext cx="3148774" cy="503590"/>
          </a:xfrm>
          <a:prstGeom prst="rect">
            <a:avLst/>
          </a:prstGeom>
          <a:noFill/>
          <a:ln/>
        </p:spPr>
        <p:txBody>
          <a:bodyPr wrap="square" lIns="0" tIns="36000" rIns="0" bIns="36000" rtlCol="0" anchor="t">
            <a:spAutoFit/>
          </a:bodyPr>
          <a:lstStyle/>
          <a:p>
            <a:pPr>
              <a:spcAft>
                <a:spcPts val="600"/>
              </a:spcAft>
            </a:pPr>
            <a:r>
              <a:rPr lang="en-US" sz="1400">
                <a:solidFill>
                  <a:srgbClr val="3C3939"/>
                </a:solidFill>
                <a:latin typeface="Moderat" pitchFamily="2" charset="77"/>
                <a:ea typeface="Roboto" pitchFamily="34" charset="-122"/>
                <a:cs typeface="Roboto" pitchFamily="34" charset="-120"/>
              </a:rPr>
              <a:t>Structured peer coaching with immediate feedback loops</a:t>
            </a:r>
          </a:p>
        </p:txBody>
      </p:sp>
      <p:sp>
        <p:nvSpPr>
          <p:cNvPr id="57" name="Text 5">
            <a:extLst>
              <a:ext uri="{FF2B5EF4-FFF2-40B4-BE49-F238E27FC236}">
                <a16:creationId xmlns:a16="http://schemas.microsoft.com/office/drawing/2014/main" id="{52D8C29A-F45B-A6F8-0232-27167E70283D}"/>
              </a:ext>
            </a:extLst>
          </p:cNvPr>
          <p:cNvSpPr/>
          <p:nvPr/>
        </p:nvSpPr>
        <p:spPr>
          <a:xfrm>
            <a:off x="8332008" y="2996350"/>
            <a:ext cx="3148774" cy="503590"/>
          </a:xfrm>
          <a:prstGeom prst="rect">
            <a:avLst/>
          </a:prstGeom>
          <a:noFill/>
          <a:ln/>
        </p:spPr>
        <p:txBody>
          <a:bodyPr wrap="square" lIns="0" tIns="36000" rIns="0" bIns="36000" rtlCol="0" anchor="t">
            <a:spAutoFit/>
          </a:bodyPr>
          <a:lstStyle/>
          <a:p>
            <a:pPr>
              <a:spcAft>
                <a:spcPts val="600"/>
              </a:spcAft>
            </a:pPr>
            <a:r>
              <a:rPr lang="en-US" sz="1400">
                <a:solidFill>
                  <a:srgbClr val="3C3939"/>
                </a:solidFill>
                <a:latin typeface="Moderat" pitchFamily="2" charset="77"/>
                <a:ea typeface="Roboto" pitchFamily="34" charset="-122"/>
                <a:cs typeface="Roboto" pitchFamily="34" charset="-120"/>
              </a:rPr>
              <a:t>Confidence and consistency in every 1:1 and performance conversation</a:t>
            </a:r>
          </a:p>
        </p:txBody>
      </p:sp>
      <p:cxnSp>
        <p:nvCxnSpPr>
          <p:cNvPr id="19" name="Straight Connector 18">
            <a:extLst>
              <a:ext uri="{FF2B5EF4-FFF2-40B4-BE49-F238E27FC236}">
                <a16:creationId xmlns:a16="http://schemas.microsoft.com/office/drawing/2014/main" id="{5664FF1E-5DF4-AA2F-C6A2-8C0AFB01BAF8}"/>
              </a:ext>
            </a:extLst>
          </p:cNvPr>
          <p:cNvCxnSpPr/>
          <p:nvPr/>
        </p:nvCxnSpPr>
        <p:spPr>
          <a:xfrm>
            <a:off x="713722" y="5029595"/>
            <a:ext cx="3148773"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2" name="Text 4">
            <a:extLst>
              <a:ext uri="{FF2B5EF4-FFF2-40B4-BE49-F238E27FC236}">
                <a16:creationId xmlns:a16="http://schemas.microsoft.com/office/drawing/2014/main" id="{49663EB0-AA2C-EA83-C74F-366548D81C29}"/>
              </a:ext>
            </a:extLst>
          </p:cNvPr>
          <p:cNvSpPr/>
          <p:nvPr/>
        </p:nvSpPr>
        <p:spPr>
          <a:xfrm>
            <a:off x="713722" y="5123755"/>
            <a:ext cx="2952109" cy="222971"/>
          </a:xfrm>
          <a:prstGeom prst="rect">
            <a:avLst/>
          </a:prstGeom>
          <a:noFill/>
          <a:ln/>
        </p:spPr>
        <p:txBody>
          <a:bodyPr wrap="none" lIns="0" tIns="0" rIns="0" bIns="0" rtlCol="0" anchor="t"/>
          <a:lstStyle/>
          <a:p>
            <a:r>
              <a:rPr lang="en-US" sz="1600" b="1">
                <a:solidFill>
                  <a:schemeClr val="accent6"/>
                </a:solidFill>
                <a:latin typeface="Moderat" pitchFamily="2" charset="77"/>
                <a:ea typeface="Raleway" pitchFamily="34" charset="-122"/>
                <a:cs typeface="Raleway" pitchFamily="34" charset="-120"/>
              </a:rPr>
              <a:t>Clearer Conversations</a:t>
            </a:r>
          </a:p>
        </p:txBody>
      </p:sp>
      <p:sp>
        <p:nvSpPr>
          <p:cNvPr id="87" name="Text 5">
            <a:extLst>
              <a:ext uri="{FF2B5EF4-FFF2-40B4-BE49-F238E27FC236}">
                <a16:creationId xmlns:a16="http://schemas.microsoft.com/office/drawing/2014/main" id="{AD25E289-916A-0E1F-9575-0B0EE44EF45F}"/>
              </a:ext>
            </a:extLst>
          </p:cNvPr>
          <p:cNvSpPr/>
          <p:nvPr/>
        </p:nvSpPr>
        <p:spPr>
          <a:xfrm>
            <a:off x="713721" y="5361828"/>
            <a:ext cx="3148774" cy="503590"/>
          </a:xfrm>
          <a:prstGeom prst="rect">
            <a:avLst/>
          </a:prstGeom>
          <a:noFill/>
          <a:ln/>
        </p:spPr>
        <p:txBody>
          <a:bodyPr wrap="square" lIns="0" tIns="36000" rIns="0" bIns="36000" rtlCol="0" anchor="t">
            <a:spAutoFit/>
          </a:bodyPr>
          <a:lstStyle/>
          <a:p>
            <a:pPr>
              <a:spcAft>
                <a:spcPts val="600"/>
              </a:spcAft>
            </a:pPr>
            <a:r>
              <a:rPr lang="en-US" sz="1400">
                <a:solidFill>
                  <a:srgbClr val="3C3939"/>
                </a:solidFill>
                <a:latin typeface="Moderat" pitchFamily="2" charset="77"/>
                <a:ea typeface="Roboto" pitchFamily="34" charset="-122"/>
                <a:cs typeface="Roboto" pitchFamily="34" charset="-120"/>
              </a:rPr>
              <a:t>Structured approach replaces rambling discussions</a:t>
            </a:r>
          </a:p>
        </p:txBody>
      </p:sp>
      <p:grpSp>
        <p:nvGrpSpPr>
          <p:cNvPr id="89" name="Group 88">
            <a:extLst>
              <a:ext uri="{FF2B5EF4-FFF2-40B4-BE49-F238E27FC236}">
                <a16:creationId xmlns:a16="http://schemas.microsoft.com/office/drawing/2014/main" id="{909D4CC9-4864-2B80-83CA-6E95C863F985}"/>
              </a:ext>
            </a:extLst>
          </p:cNvPr>
          <p:cNvGrpSpPr/>
          <p:nvPr/>
        </p:nvGrpSpPr>
        <p:grpSpPr>
          <a:xfrm>
            <a:off x="1045801" y="3477080"/>
            <a:ext cx="2287950" cy="1458356"/>
            <a:chOff x="1045801" y="3499940"/>
            <a:chExt cx="2287950" cy="1458356"/>
          </a:xfrm>
        </p:grpSpPr>
        <p:graphicFrame>
          <p:nvGraphicFramePr>
            <p:cNvPr id="61" name="Chart 60">
              <a:extLst>
                <a:ext uri="{FF2B5EF4-FFF2-40B4-BE49-F238E27FC236}">
                  <a16:creationId xmlns:a16="http://schemas.microsoft.com/office/drawing/2014/main" id="{74A4B281-8A96-D4F8-70D0-C413B5AC90B1}"/>
                </a:ext>
              </a:extLst>
            </p:cNvPr>
            <p:cNvGraphicFramePr/>
            <p:nvPr>
              <p:extLst>
                <p:ext uri="{D42A27DB-BD31-4B8C-83A1-F6EECF244321}">
                  <p14:modId xmlns:p14="http://schemas.microsoft.com/office/powerpoint/2010/main" val="3554304247"/>
                </p:ext>
              </p:extLst>
            </p:nvPr>
          </p:nvGraphicFramePr>
          <p:xfrm>
            <a:off x="1318188" y="3499940"/>
            <a:ext cx="1743175" cy="1283792"/>
          </p:xfrm>
          <a:graphic>
            <a:graphicData uri="http://schemas.openxmlformats.org/drawingml/2006/chart">
              <c:chart xmlns:c="http://schemas.openxmlformats.org/drawingml/2006/chart" xmlns:r="http://schemas.openxmlformats.org/officeDocument/2006/relationships" r:id="rId5"/>
            </a:graphicData>
          </a:graphic>
        </p:graphicFrame>
        <p:sp>
          <p:nvSpPr>
            <p:cNvPr id="88" name="Text 5">
              <a:extLst>
                <a:ext uri="{FF2B5EF4-FFF2-40B4-BE49-F238E27FC236}">
                  <a16:creationId xmlns:a16="http://schemas.microsoft.com/office/drawing/2014/main" id="{892CE528-9388-B7EF-B35B-B1138A6E373E}"/>
                </a:ext>
              </a:extLst>
            </p:cNvPr>
            <p:cNvSpPr/>
            <p:nvPr/>
          </p:nvSpPr>
          <p:spPr>
            <a:xfrm>
              <a:off x="1971961" y="3982375"/>
              <a:ext cx="435629" cy="318924"/>
            </a:xfrm>
            <a:prstGeom prst="rect">
              <a:avLst/>
            </a:prstGeom>
            <a:noFill/>
            <a:ln/>
          </p:spPr>
          <p:txBody>
            <a:bodyPr wrap="square" lIns="0" tIns="36000" rIns="0" bIns="36000" rtlCol="0" anchor="ctr">
              <a:spAutoFit/>
            </a:bodyPr>
            <a:lstStyle/>
            <a:p>
              <a:pPr algn="ctr">
                <a:spcAft>
                  <a:spcPts val="600"/>
                </a:spcAft>
              </a:pPr>
              <a:r>
                <a:rPr lang="en-US" sz="1600" b="1">
                  <a:solidFill>
                    <a:schemeClr val="accent3"/>
                  </a:solidFill>
                  <a:latin typeface="Moderat" pitchFamily="2" charset="77"/>
                  <a:ea typeface="Roboto" pitchFamily="34" charset="-122"/>
                  <a:cs typeface="Roboto" pitchFamily="34" charset="-120"/>
                </a:rPr>
                <a:t>70%</a:t>
              </a:r>
            </a:p>
          </p:txBody>
        </p:sp>
        <p:sp>
          <p:nvSpPr>
            <p:cNvPr id="90" name="Text 5">
              <a:extLst>
                <a:ext uri="{FF2B5EF4-FFF2-40B4-BE49-F238E27FC236}">
                  <a16:creationId xmlns:a16="http://schemas.microsoft.com/office/drawing/2014/main" id="{82648AEB-9465-FBA3-22FE-5C8E27ABC401}"/>
                </a:ext>
              </a:extLst>
            </p:cNvPr>
            <p:cNvSpPr/>
            <p:nvPr/>
          </p:nvSpPr>
          <p:spPr>
            <a:xfrm>
              <a:off x="1045801" y="4639372"/>
              <a:ext cx="2287950" cy="318924"/>
            </a:xfrm>
            <a:prstGeom prst="rect">
              <a:avLst/>
            </a:prstGeom>
            <a:noFill/>
            <a:ln/>
          </p:spPr>
          <p:txBody>
            <a:bodyPr wrap="square" lIns="0" tIns="36000" rIns="0" bIns="36000" rtlCol="0" anchor="ctr">
              <a:spAutoFit/>
            </a:bodyPr>
            <a:lstStyle/>
            <a:p>
              <a:pPr algn="ctr">
                <a:spcAft>
                  <a:spcPts val="600"/>
                </a:spcAft>
              </a:pPr>
              <a:r>
                <a:rPr lang="en-US" sz="1600" b="1">
                  <a:solidFill>
                    <a:schemeClr val="accent3"/>
                  </a:solidFill>
                  <a:latin typeface="Moderat" pitchFamily="2" charset="77"/>
                  <a:ea typeface="Roboto" pitchFamily="34" charset="-122"/>
                  <a:cs typeface="Roboto" pitchFamily="34" charset="-120"/>
                </a:rPr>
                <a:t>Fewer Escalations</a:t>
              </a:r>
            </a:p>
          </p:txBody>
        </p:sp>
      </p:grpSp>
      <p:grpSp>
        <p:nvGrpSpPr>
          <p:cNvPr id="101" name="Group 100">
            <a:extLst>
              <a:ext uri="{FF2B5EF4-FFF2-40B4-BE49-F238E27FC236}">
                <a16:creationId xmlns:a16="http://schemas.microsoft.com/office/drawing/2014/main" id="{62DADFB3-850C-A231-BD8C-1C89D4F9FEA0}"/>
              </a:ext>
            </a:extLst>
          </p:cNvPr>
          <p:cNvGrpSpPr/>
          <p:nvPr/>
        </p:nvGrpSpPr>
        <p:grpSpPr>
          <a:xfrm>
            <a:off x="4547062" y="3477080"/>
            <a:ext cx="3148774" cy="2388338"/>
            <a:chOff x="713721" y="3477080"/>
            <a:chExt cx="3148774" cy="2388338"/>
          </a:xfrm>
        </p:grpSpPr>
        <p:cxnSp>
          <p:nvCxnSpPr>
            <p:cNvPr id="102" name="Straight Connector 101">
              <a:extLst>
                <a:ext uri="{FF2B5EF4-FFF2-40B4-BE49-F238E27FC236}">
                  <a16:creationId xmlns:a16="http://schemas.microsoft.com/office/drawing/2014/main" id="{4D710BC1-9F8C-724B-5A1F-D5519076FA28}"/>
                </a:ext>
              </a:extLst>
            </p:cNvPr>
            <p:cNvCxnSpPr/>
            <p:nvPr/>
          </p:nvCxnSpPr>
          <p:spPr>
            <a:xfrm>
              <a:off x="713722" y="5029595"/>
              <a:ext cx="3148773"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3" name="Text 4">
              <a:extLst>
                <a:ext uri="{FF2B5EF4-FFF2-40B4-BE49-F238E27FC236}">
                  <a16:creationId xmlns:a16="http://schemas.microsoft.com/office/drawing/2014/main" id="{5919C681-B788-5A4D-648A-28DF8FF8FC9F}"/>
                </a:ext>
              </a:extLst>
            </p:cNvPr>
            <p:cNvSpPr/>
            <p:nvPr/>
          </p:nvSpPr>
          <p:spPr>
            <a:xfrm>
              <a:off x="713722" y="5123755"/>
              <a:ext cx="2952109" cy="222971"/>
            </a:xfrm>
            <a:prstGeom prst="rect">
              <a:avLst/>
            </a:prstGeom>
            <a:noFill/>
            <a:ln/>
          </p:spPr>
          <p:txBody>
            <a:bodyPr wrap="none" lIns="0" tIns="0" rIns="0" bIns="0" rtlCol="0" anchor="t"/>
            <a:lstStyle/>
            <a:p>
              <a:r>
                <a:rPr lang="en-US" sz="1600" b="1">
                  <a:solidFill>
                    <a:schemeClr val="accent6"/>
                  </a:solidFill>
                  <a:latin typeface="Moderat" pitchFamily="2" charset="77"/>
                  <a:ea typeface="Raleway" pitchFamily="34" charset="-122"/>
                  <a:cs typeface="Raleway" pitchFamily="34" charset="-120"/>
                </a:rPr>
                <a:t>Faster Resolution</a:t>
              </a:r>
            </a:p>
          </p:txBody>
        </p:sp>
        <p:sp>
          <p:nvSpPr>
            <p:cNvPr id="104" name="Text 5">
              <a:extLst>
                <a:ext uri="{FF2B5EF4-FFF2-40B4-BE49-F238E27FC236}">
                  <a16:creationId xmlns:a16="http://schemas.microsoft.com/office/drawing/2014/main" id="{F0FDB022-9D9F-E019-3BDB-E1E4E9A41A8A}"/>
                </a:ext>
              </a:extLst>
            </p:cNvPr>
            <p:cNvSpPr/>
            <p:nvPr/>
          </p:nvSpPr>
          <p:spPr>
            <a:xfrm>
              <a:off x="713721" y="5361828"/>
              <a:ext cx="3148774" cy="503590"/>
            </a:xfrm>
            <a:prstGeom prst="rect">
              <a:avLst/>
            </a:prstGeom>
            <a:noFill/>
            <a:ln/>
          </p:spPr>
          <p:txBody>
            <a:bodyPr wrap="square" lIns="0" tIns="36000" rIns="0" bIns="36000" rtlCol="0" anchor="t">
              <a:spAutoFit/>
            </a:bodyPr>
            <a:lstStyle/>
            <a:p>
              <a:pPr>
                <a:spcAft>
                  <a:spcPts val="600"/>
                </a:spcAft>
              </a:pPr>
              <a:r>
                <a:rPr lang="en-US" sz="1400">
                  <a:solidFill>
                    <a:srgbClr val="3C3939"/>
                  </a:solidFill>
                  <a:latin typeface="Moderat" pitchFamily="2" charset="77"/>
                  <a:ea typeface="Roboto" pitchFamily="34" charset="-122"/>
                  <a:cs typeface="Roboto" pitchFamily="34" charset="-120"/>
                </a:rPr>
                <a:t>Issues addressed quickly with direct coaching</a:t>
              </a:r>
            </a:p>
          </p:txBody>
        </p:sp>
        <p:grpSp>
          <p:nvGrpSpPr>
            <p:cNvPr id="105" name="Group 104">
              <a:extLst>
                <a:ext uri="{FF2B5EF4-FFF2-40B4-BE49-F238E27FC236}">
                  <a16:creationId xmlns:a16="http://schemas.microsoft.com/office/drawing/2014/main" id="{9C34C4E4-5352-D549-7850-AB8C3D46AC83}"/>
                </a:ext>
              </a:extLst>
            </p:cNvPr>
            <p:cNvGrpSpPr/>
            <p:nvPr/>
          </p:nvGrpSpPr>
          <p:grpSpPr>
            <a:xfrm>
              <a:off x="1045801" y="3477080"/>
              <a:ext cx="2287950" cy="1458356"/>
              <a:chOff x="1045801" y="3499940"/>
              <a:chExt cx="2287950" cy="1458356"/>
            </a:xfrm>
          </p:grpSpPr>
          <p:graphicFrame>
            <p:nvGraphicFramePr>
              <p:cNvPr id="106" name="Chart 105">
                <a:extLst>
                  <a:ext uri="{FF2B5EF4-FFF2-40B4-BE49-F238E27FC236}">
                    <a16:creationId xmlns:a16="http://schemas.microsoft.com/office/drawing/2014/main" id="{532D4D22-51C9-B5AB-B79C-A65095A72D38}"/>
                  </a:ext>
                </a:extLst>
              </p:cNvPr>
              <p:cNvGraphicFramePr/>
              <p:nvPr>
                <p:extLst>
                  <p:ext uri="{D42A27DB-BD31-4B8C-83A1-F6EECF244321}">
                    <p14:modId xmlns:p14="http://schemas.microsoft.com/office/powerpoint/2010/main" val="249372704"/>
                  </p:ext>
                </p:extLst>
              </p:nvPr>
            </p:nvGraphicFramePr>
            <p:xfrm>
              <a:off x="1318188" y="3499940"/>
              <a:ext cx="1743175" cy="1283792"/>
            </p:xfrm>
            <a:graphic>
              <a:graphicData uri="http://schemas.openxmlformats.org/drawingml/2006/chart">
                <c:chart xmlns:c="http://schemas.openxmlformats.org/drawingml/2006/chart" xmlns:r="http://schemas.openxmlformats.org/officeDocument/2006/relationships" r:id="rId6"/>
              </a:graphicData>
            </a:graphic>
          </p:graphicFrame>
          <p:sp>
            <p:nvSpPr>
              <p:cNvPr id="107" name="Text 5">
                <a:extLst>
                  <a:ext uri="{FF2B5EF4-FFF2-40B4-BE49-F238E27FC236}">
                    <a16:creationId xmlns:a16="http://schemas.microsoft.com/office/drawing/2014/main" id="{E053E894-90EE-3865-00D2-FF4E121D2A08}"/>
                  </a:ext>
                </a:extLst>
              </p:cNvPr>
              <p:cNvSpPr/>
              <p:nvPr/>
            </p:nvSpPr>
            <p:spPr>
              <a:xfrm>
                <a:off x="1971961" y="3982375"/>
                <a:ext cx="435629" cy="318924"/>
              </a:xfrm>
              <a:prstGeom prst="rect">
                <a:avLst/>
              </a:prstGeom>
              <a:noFill/>
              <a:ln/>
            </p:spPr>
            <p:txBody>
              <a:bodyPr wrap="square" lIns="0" tIns="36000" rIns="0" bIns="36000" rtlCol="0" anchor="ctr">
                <a:spAutoFit/>
              </a:bodyPr>
              <a:lstStyle/>
              <a:p>
                <a:pPr algn="ctr">
                  <a:spcAft>
                    <a:spcPts val="600"/>
                  </a:spcAft>
                </a:pPr>
                <a:r>
                  <a:rPr lang="en-US" sz="1600" b="1">
                    <a:solidFill>
                      <a:schemeClr val="accent3"/>
                    </a:solidFill>
                    <a:latin typeface="Moderat" pitchFamily="2" charset="77"/>
                    <a:ea typeface="Roboto" pitchFamily="34" charset="-122"/>
                    <a:cs typeface="Roboto" pitchFamily="34" charset="-120"/>
                  </a:rPr>
                  <a:t>85%</a:t>
                </a:r>
              </a:p>
            </p:txBody>
          </p:sp>
          <p:sp>
            <p:nvSpPr>
              <p:cNvPr id="108" name="Text 5">
                <a:extLst>
                  <a:ext uri="{FF2B5EF4-FFF2-40B4-BE49-F238E27FC236}">
                    <a16:creationId xmlns:a16="http://schemas.microsoft.com/office/drawing/2014/main" id="{547171AA-A779-1A2A-A284-514269F1734E}"/>
                  </a:ext>
                </a:extLst>
              </p:cNvPr>
              <p:cNvSpPr/>
              <p:nvPr/>
            </p:nvSpPr>
            <p:spPr>
              <a:xfrm>
                <a:off x="1045801" y="4639372"/>
                <a:ext cx="2287950" cy="318924"/>
              </a:xfrm>
              <a:prstGeom prst="rect">
                <a:avLst/>
              </a:prstGeom>
              <a:noFill/>
              <a:ln/>
            </p:spPr>
            <p:txBody>
              <a:bodyPr wrap="square" lIns="0" tIns="36000" rIns="0" bIns="36000" rtlCol="0" anchor="ctr">
                <a:spAutoFit/>
              </a:bodyPr>
              <a:lstStyle/>
              <a:p>
                <a:pPr algn="ctr">
                  <a:spcAft>
                    <a:spcPts val="600"/>
                  </a:spcAft>
                </a:pPr>
                <a:r>
                  <a:rPr lang="en-US" sz="1600" b="1">
                    <a:solidFill>
                      <a:schemeClr val="accent3"/>
                    </a:solidFill>
                    <a:latin typeface="Moderat" pitchFamily="2" charset="77"/>
                    <a:ea typeface="Roboto" pitchFamily="34" charset="-122"/>
                    <a:cs typeface="Roboto" pitchFamily="34" charset="-120"/>
                  </a:rPr>
                  <a:t>Stronger Ownership</a:t>
                </a:r>
              </a:p>
            </p:txBody>
          </p:sp>
        </p:grpSp>
      </p:grpSp>
      <p:grpSp>
        <p:nvGrpSpPr>
          <p:cNvPr id="109" name="Group 108">
            <a:extLst>
              <a:ext uri="{FF2B5EF4-FFF2-40B4-BE49-F238E27FC236}">
                <a16:creationId xmlns:a16="http://schemas.microsoft.com/office/drawing/2014/main" id="{0742578D-BA06-3610-CF0F-223C09ED8D5A}"/>
              </a:ext>
            </a:extLst>
          </p:cNvPr>
          <p:cNvGrpSpPr/>
          <p:nvPr/>
        </p:nvGrpSpPr>
        <p:grpSpPr>
          <a:xfrm>
            <a:off x="8332008" y="3477080"/>
            <a:ext cx="3148774" cy="2388338"/>
            <a:chOff x="713721" y="3477080"/>
            <a:chExt cx="3148774" cy="2388338"/>
          </a:xfrm>
        </p:grpSpPr>
        <p:cxnSp>
          <p:nvCxnSpPr>
            <p:cNvPr id="110" name="Straight Connector 109">
              <a:extLst>
                <a:ext uri="{FF2B5EF4-FFF2-40B4-BE49-F238E27FC236}">
                  <a16:creationId xmlns:a16="http://schemas.microsoft.com/office/drawing/2014/main" id="{0DDF6844-A4E8-3D5C-10DE-70CEB9A4EB24}"/>
                </a:ext>
              </a:extLst>
            </p:cNvPr>
            <p:cNvCxnSpPr/>
            <p:nvPr/>
          </p:nvCxnSpPr>
          <p:spPr>
            <a:xfrm>
              <a:off x="713722" y="5029595"/>
              <a:ext cx="3148773"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1" name="Text 4">
              <a:extLst>
                <a:ext uri="{FF2B5EF4-FFF2-40B4-BE49-F238E27FC236}">
                  <a16:creationId xmlns:a16="http://schemas.microsoft.com/office/drawing/2014/main" id="{8778C9D7-8A65-6CEA-DE7A-518F52A8CA35}"/>
                </a:ext>
              </a:extLst>
            </p:cNvPr>
            <p:cNvSpPr/>
            <p:nvPr/>
          </p:nvSpPr>
          <p:spPr>
            <a:xfrm>
              <a:off x="713722" y="5123755"/>
              <a:ext cx="2952109" cy="222971"/>
            </a:xfrm>
            <a:prstGeom prst="rect">
              <a:avLst/>
            </a:prstGeom>
            <a:noFill/>
            <a:ln/>
          </p:spPr>
          <p:txBody>
            <a:bodyPr wrap="none" lIns="0" tIns="0" rIns="0" bIns="0" rtlCol="0" anchor="t"/>
            <a:lstStyle/>
            <a:p>
              <a:r>
                <a:rPr lang="en-US" sz="1600" b="1">
                  <a:solidFill>
                    <a:schemeClr val="accent6"/>
                  </a:solidFill>
                  <a:latin typeface="Moderat" pitchFamily="2" charset="77"/>
                  <a:ea typeface="Raleway" pitchFamily="34" charset="-122"/>
                  <a:cs typeface="Raleway" pitchFamily="34" charset="-120"/>
                </a:rPr>
                <a:t>Coaching Confidence</a:t>
              </a:r>
            </a:p>
          </p:txBody>
        </p:sp>
        <p:sp>
          <p:nvSpPr>
            <p:cNvPr id="112" name="Text 5">
              <a:extLst>
                <a:ext uri="{FF2B5EF4-FFF2-40B4-BE49-F238E27FC236}">
                  <a16:creationId xmlns:a16="http://schemas.microsoft.com/office/drawing/2014/main" id="{64191267-0EA1-4296-CB87-B6E122511D38}"/>
                </a:ext>
              </a:extLst>
            </p:cNvPr>
            <p:cNvSpPr/>
            <p:nvPr/>
          </p:nvSpPr>
          <p:spPr>
            <a:xfrm>
              <a:off x="713721" y="5361828"/>
              <a:ext cx="2952109" cy="503590"/>
            </a:xfrm>
            <a:prstGeom prst="rect">
              <a:avLst/>
            </a:prstGeom>
            <a:noFill/>
            <a:ln/>
          </p:spPr>
          <p:txBody>
            <a:bodyPr wrap="square" lIns="0" tIns="36000" rIns="0" bIns="36000" rtlCol="0" anchor="t">
              <a:spAutoFit/>
            </a:bodyPr>
            <a:lstStyle/>
            <a:p>
              <a:pPr>
                <a:spcAft>
                  <a:spcPts val="600"/>
                </a:spcAft>
              </a:pPr>
              <a:r>
                <a:rPr lang="en-US" sz="1400">
                  <a:solidFill>
                    <a:srgbClr val="3C3939"/>
                  </a:solidFill>
                  <a:latin typeface="Moderat" pitchFamily="2" charset="77"/>
                  <a:ea typeface="Roboto" pitchFamily="34" charset="-122"/>
                  <a:cs typeface="Roboto" pitchFamily="34" charset="-120"/>
                </a:rPr>
                <a:t>Managers who lead conversations with skill and consistency</a:t>
              </a:r>
            </a:p>
          </p:txBody>
        </p:sp>
        <p:grpSp>
          <p:nvGrpSpPr>
            <p:cNvPr id="113" name="Group 112">
              <a:extLst>
                <a:ext uri="{FF2B5EF4-FFF2-40B4-BE49-F238E27FC236}">
                  <a16:creationId xmlns:a16="http://schemas.microsoft.com/office/drawing/2014/main" id="{3B367635-4AB2-396F-58CA-5E26707A980C}"/>
                </a:ext>
              </a:extLst>
            </p:cNvPr>
            <p:cNvGrpSpPr/>
            <p:nvPr/>
          </p:nvGrpSpPr>
          <p:grpSpPr>
            <a:xfrm>
              <a:off x="1045801" y="3477080"/>
              <a:ext cx="2287950" cy="1458356"/>
              <a:chOff x="1045801" y="3499940"/>
              <a:chExt cx="2287950" cy="1458356"/>
            </a:xfrm>
          </p:grpSpPr>
          <p:graphicFrame>
            <p:nvGraphicFramePr>
              <p:cNvPr id="114" name="Chart 113">
                <a:extLst>
                  <a:ext uri="{FF2B5EF4-FFF2-40B4-BE49-F238E27FC236}">
                    <a16:creationId xmlns:a16="http://schemas.microsoft.com/office/drawing/2014/main" id="{3661ED47-8D49-AE22-DCAC-9D41CEF5F37A}"/>
                  </a:ext>
                </a:extLst>
              </p:cNvPr>
              <p:cNvGraphicFramePr/>
              <p:nvPr>
                <p:extLst>
                  <p:ext uri="{D42A27DB-BD31-4B8C-83A1-F6EECF244321}">
                    <p14:modId xmlns:p14="http://schemas.microsoft.com/office/powerpoint/2010/main" val="2399174059"/>
                  </p:ext>
                </p:extLst>
              </p:nvPr>
            </p:nvGraphicFramePr>
            <p:xfrm>
              <a:off x="1318188" y="3499940"/>
              <a:ext cx="1743175" cy="1283792"/>
            </p:xfrm>
            <a:graphic>
              <a:graphicData uri="http://schemas.openxmlformats.org/drawingml/2006/chart">
                <c:chart xmlns:c="http://schemas.openxmlformats.org/drawingml/2006/chart" xmlns:r="http://schemas.openxmlformats.org/officeDocument/2006/relationships" r:id="rId7"/>
              </a:graphicData>
            </a:graphic>
          </p:graphicFrame>
          <p:sp>
            <p:nvSpPr>
              <p:cNvPr id="115" name="Text 5">
                <a:extLst>
                  <a:ext uri="{FF2B5EF4-FFF2-40B4-BE49-F238E27FC236}">
                    <a16:creationId xmlns:a16="http://schemas.microsoft.com/office/drawing/2014/main" id="{0BE6A662-7640-A0EF-8724-DF391F0A636C}"/>
                  </a:ext>
                </a:extLst>
              </p:cNvPr>
              <p:cNvSpPr/>
              <p:nvPr/>
            </p:nvSpPr>
            <p:spPr>
              <a:xfrm>
                <a:off x="1971961" y="3982375"/>
                <a:ext cx="435629" cy="318924"/>
              </a:xfrm>
              <a:prstGeom prst="rect">
                <a:avLst/>
              </a:prstGeom>
              <a:noFill/>
              <a:ln/>
            </p:spPr>
            <p:txBody>
              <a:bodyPr wrap="square" lIns="0" tIns="36000" rIns="0" bIns="36000" rtlCol="0" anchor="ctr">
                <a:spAutoFit/>
              </a:bodyPr>
              <a:lstStyle/>
              <a:p>
                <a:pPr algn="ctr">
                  <a:spcAft>
                    <a:spcPts val="600"/>
                  </a:spcAft>
                </a:pPr>
                <a:r>
                  <a:rPr lang="en-US" sz="1600" b="1">
                    <a:solidFill>
                      <a:schemeClr val="accent3"/>
                    </a:solidFill>
                    <a:latin typeface="Moderat" pitchFamily="2" charset="77"/>
                    <a:ea typeface="Roboto" pitchFamily="34" charset="-122"/>
                    <a:cs typeface="Roboto" pitchFamily="34" charset="-120"/>
                  </a:rPr>
                  <a:t>90%</a:t>
                </a:r>
              </a:p>
            </p:txBody>
          </p:sp>
          <p:sp>
            <p:nvSpPr>
              <p:cNvPr id="116" name="Text 5">
                <a:extLst>
                  <a:ext uri="{FF2B5EF4-FFF2-40B4-BE49-F238E27FC236}">
                    <a16:creationId xmlns:a16="http://schemas.microsoft.com/office/drawing/2014/main" id="{3B6E7AE4-277B-2349-5A09-0465048CBB54}"/>
                  </a:ext>
                </a:extLst>
              </p:cNvPr>
              <p:cNvSpPr/>
              <p:nvPr/>
            </p:nvSpPr>
            <p:spPr>
              <a:xfrm>
                <a:off x="1045801" y="4639372"/>
                <a:ext cx="2287950" cy="318924"/>
              </a:xfrm>
              <a:prstGeom prst="rect">
                <a:avLst/>
              </a:prstGeom>
              <a:noFill/>
              <a:ln/>
            </p:spPr>
            <p:txBody>
              <a:bodyPr wrap="square" lIns="0" tIns="36000" rIns="0" bIns="36000" rtlCol="0" anchor="ctr">
                <a:spAutoFit/>
              </a:bodyPr>
              <a:lstStyle/>
              <a:p>
                <a:pPr algn="ctr">
                  <a:spcAft>
                    <a:spcPts val="600"/>
                  </a:spcAft>
                </a:pPr>
                <a:r>
                  <a:rPr lang="en-US" sz="1600" b="1">
                    <a:solidFill>
                      <a:schemeClr val="accent3"/>
                    </a:solidFill>
                    <a:latin typeface="Moderat" pitchFamily="2" charset="77"/>
                    <a:ea typeface="Roboto" pitchFamily="34" charset="-122"/>
                    <a:cs typeface="Roboto" pitchFamily="34" charset="-120"/>
                  </a:rPr>
                  <a:t>Manager Confidence</a:t>
                </a:r>
              </a:p>
            </p:txBody>
          </p:sp>
        </p:grpSp>
      </p:grpSp>
      <p:grpSp>
        <p:nvGrpSpPr>
          <p:cNvPr id="3" name="Group 2">
            <a:extLst>
              <a:ext uri="{FF2B5EF4-FFF2-40B4-BE49-F238E27FC236}">
                <a16:creationId xmlns:a16="http://schemas.microsoft.com/office/drawing/2014/main" id="{357DDD9F-7D70-2007-3350-528DB7BC3302}"/>
              </a:ext>
            </a:extLst>
          </p:cNvPr>
          <p:cNvGrpSpPr/>
          <p:nvPr/>
        </p:nvGrpSpPr>
        <p:grpSpPr>
          <a:xfrm>
            <a:off x="1942329" y="1967760"/>
            <a:ext cx="689054" cy="689054"/>
            <a:chOff x="1942329" y="1967760"/>
            <a:chExt cx="689054" cy="689054"/>
          </a:xfrm>
        </p:grpSpPr>
        <p:sp>
          <p:nvSpPr>
            <p:cNvPr id="27" name="Oval 26">
              <a:extLst>
                <a:ext uri="{FF2B5EF4-FFF2-40B4-BE49-F238E27FC236}">
                  <a16:creationId xmlns:a16="http://schemas.microsoft.com/office/drawing/2014/main" id="{5C8DE5E4-3153-BDC8-8FC1-6A13C8C26B90}"/>
                </a:ext>
              </a:extLst>
            </p:cNvPr>
            <p:cNvSpPr>
              <a:spLocks noChangeAspect="1"/>
            </p:cNvSpPr>
            <p:nvPr/>
          </p:nvSpPr>
          <p:spPr>
            <a:xfrm>
              <a:off x="1942329" y="1967760"/>
              <a:ext cx="689054" cy="68905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grpSp>
          <p:nvGrpSpPr>
            <p:cNvPr id="117" name="Pic">
              <a:extLst>
                <a:ext uri="{FF2B5EF4-FFF2-40B4-BE49-F238E27FC236}">
                  <a16:creationId xmlns:a16="http://schemas.microsoft.com/office/drawing/2014/main" id="{D841DF99-6F5B-0EFD-3808-1BFDF590D276}"/>
                </a:ext>
              </a:extLst>
            </p:cNvPr>
            <p:cNvGrpSpPr>
              <a:grpSpLocks noChangeAspect="1"/>
            </p:cNvGrpSpPr>
            <p:nvPr/>
          </p:nvGrpSpPr>
          <p:grpSpPr>
            <a:xfrm>
              <a:off x="2105137" y="2130531"/>
              <a:ext cx="363437" cy="363512"/>
              <a:chOff x="4025794" y="1026862"/>
              <a:chExt cx="708236" cy="708381"/>
            </a:xfrm>
            <a:solidFill>
              <a:schemeClr val="bg1"/>
            </a:solidFill>
          </p:grpSpPr>
          <p:sp>
            <p:nvSpPr>
              <p:cNvPr id="120" name="Freeform: Shape 119">
                <a:extLst>
                  <a:ext uri="{FF2B5EF4-FFF2-40B4-BE49-F238E27FC236}">
                    <a16:creationId xmlns:a16="http://schemas.microsoft.com/office/drawing/2014/main" id="{CCBE300B-25CD-94AB-505E-B0C1CA3DBDE4}"/>
                  </a:ext>
                </a:extLst>
              </p:cNvPr>
              <p:cNvSpPr/>
              <p:nvPr/>
            </p:nvSpPr>
            <p:spPr>
              <a:xfrm>
                <a:off x="4025794" y="1026862"/>
                <a:ext cx="212417" cy="481745"/>
              </a:xfrm>
              <a:custGeom>
                <a:avLst/>
                <a:gdLst>
                  <a:gd name="csX0" fmla="*/ 178807 w 212417"/>
                  <a:gd name="csY0" fmla="*/ 112366 h 481745"/>
                  <a:gd name="csX1" fmla="*/ 154932 w 212417"/>
                  <a:gd name="csY1" fmla="*/ 107079 h 481745"/>
                  <a:gd name="csX2" fmla="*/ 148654 w 212417"/>
                  <a:gd name="csY2" fmla="*/ 15899 h 481745"/>
                  <a:gd name="csX3" fmla="*/ 57473 w 212417"/>
                  <a:gd name="csY3" fmla="*/ 22177 h 481745"/>
                  <a:gd name="csX4" fmla="*/ 57473 w 212417"/>
                  <a:gd name="csY4" fmla="*/ 107079 h 481745"/>
                  <a:gd name="csX5" fmla="*/ 33598 w 212417"/>
                  <a:gd name="csY5" fmla="*/ 112366 h 481745"/>
                  <a:gd name="csX6" fmla="*/ 1 w 212417"/>
                  <a:gd name="csY6" fmla="*/ 154209 h 481745"/>
                  <a:gd name="csX7" fmla="*/ 1 w 212417"/>
                  <a:gd name="csY7" fmla="*/ 276960 h 481745"/>
                  <a:gd name="csX8" fmla="*/ 30741 w 212417"/>
                  <a:gd name="csY8" fmla="*/ 307700 h 481745"/>
                  <a:gd name="csX9" fmla="*/ 41591 w 212417"/>
                  <a:gd name="csY9" fmla="*/ 307700 h 481745"/>
                  <a:gd name="csX10" fmla="*/ 41591 w 212417"/>
                  <a:gd name="csY10" fmla="*/ 471197 h 481745"/>
                  <a:gd name="csX11" fmla="*/ 52139 w 212417"/>
                  <a:gd name="csY11" fmla="*/ 481745 h 481745"/>
                  <a:gd name="csX12" fmla="*/ 160279 w 212417"/>
                  <a:gd name="csY12" fmla="*/ 481745 h 481745"/>
                  <a:gd name="csX13" fmla="*/ 170827 w 212417"/>
                  <a:gd name="csY13" fmla="*/ 471197 h 481745"/>
                  <a:gd name="csX14" fmla="*/ 170827 w 212417"/>
                  <a:gd name="csY14" fmla="*/ 307700 h 481745"/>
                  <a:gd name="csX15" fmla="*/ 181677 w 212417"/>
                  <a:gd name="csY15" fmla="*/ 307700 h 481745"/>
                  <a:gd name="csX16" fmla="*/ 212417 w 212417"/>
                  <a:gd name="csY16" fmla="*/ 276960 h 481745"/>
                  <a:gd name="csX17" fmla="*/ 212417 w 212417"/>
                  <a:gd name="csY17" fmla="*/ 154209 h 481745"/>
                  <a:gd name="csX18" fmla="*/ 178807 w 212417"/>
                  <a:gd name="csY18" fmla="*/ 112366 h 481745"/>
                  <a:gd name="csX19" fmla="*/ 106206 w 212417"/>
                  <a:gd name="csY19" fmla="*/ 21241 h 481745"/>
                  <a:gd name="csX20" fmla="*/ 149725 w 212417"/>
                  <a:gd name="csY20" fmla="*/ 64772 h 481745"/>
                  <a:gd name="csX21" fmla="*/ 106194 w 212417"/>
                  <a:gd name="csY21" fmla="*/ 108291 h 481745"/>
                  <a:gd name="csX22" fmla="*/ 62675 w 212417"/>
                  <a:gd name="csY22" fmla="*/ 64766 h 481745"/>
                  <a:gd name="csX23" fmla="*/ 106206 w 212417"/>
                  <a:gd name="csY23" fmla="*/ 21241 h 481745"/>
                  <a:gd name="csX24" fmla="*/ 191309 w 212417"/>
                  <a:gd name="csY24" fmla="*/ 276960 h 481745"/>
                  <a:gd name="csX25" fmla="*/ 181665 w 212417"/>
                  <a:gd name="csY25" fmla="*/ 286604 h 481745"/>
                  <a:gd name="csX26" fmla="*/ 160279 w 212417"/>
                  <a:gd name="csY26" fmla="*/ 286604 h 481745"/>
                  <a:gd name="csX27" fmla="*/ 149731 w 212417"/>
                  <a:gd name="csY27" fmla="*/ 297152 h 481745"/>
                  <a:gd name="csX28" fmla="*/ 149731 w 212417"/>
                  <a:gd name="csY28" fmla="*/ 460637 h 481745"/>
                  <a:gd name="csX29" fmla="*/ 116754 w 212417"/>
                  <a:gd name="csY29" fmla="*/ 460637 h 481745"/>
                  <a:gd name="csX30" fmla="*/ 116754 w 212417"/>
                  <a:gd name="csY30" fmla="*/ 297152 h 481745"/>
                  <a:gd name="csX31" fmla="*/ 106206 w 212417"/>
                  <a:gd name="csY31" fmla="*/ 286604 h 481745"/>
                  <a:gd name="csX32" fmla="*/ 95658 w 212417"/>
                  <a:gd name="csY32" fmla="*/ 297152 h 481745"/>
                  <a:gd name="csX33" fmla="*/ 95658 w 212417"/>
                  <a:gd name="csY33" fmla="*/ 460637 h 481745"/>
                  <a:gd name="csX34" fmla="*/ 62675 w 212417"/>
                  <a:gd name="csY34" fmla="*/ 460637 h 481745"/>
                  <a:gd name="csX35" fmla="*/ 62675 w 212417"/>
                  <a:gd name="csY35" fmla="*/ 297152 h 481745"/>
                  <a:gd name="csX36" fmla="*/ 52127 w 212417"/>
                  <a:gd name="csY36" fmla="*/ 286604 h 481745"/>
                  <a:gd name="csX37" fmla="*/ 30747 w 212417"/>
                  <a:gd name="csY37" fmla="*/ 286604 h 481745"/>
                  <a:gd name="csX38" fmla="*/ 21103 w 212417"/>
                  <a:gd name="csY38" fmla="*/ 276960 h 481745"/>
                  <a:gd name="csX39" fmla="*/ 21103 w 212417"/>
                  <a:gd name="csY39" fmla="*/ 154209 h 481745"/>
                  <a:gd name="csX40" fmla="*/ 38167 w 212417"/>
                  <a:gd name="csY40" fmla="*/ 132962 h 481745"/>
                  <a:gd name="csX41" fmla="*/ 79877 w 212417"/>
                  <a:gd name="csY41" fmla="*/ 123721 h 481745"/>
                  <a:gd name="csX42" fmla="*/ 132540 w 212417"/>
                  <a:gd name="csY42" fmla="*/ 123721 h 481745"/>
                  <a:gd name="csX43" fmla="*/ 174251 w 212417"/>
                  <a:gd name="csY43" fmla="*/ 132962 h 481745"/>
                  <a:gd name="csX44" fmla="*/ 191315 w 212417"/>
                  <a:gd name="csY44" fmla="*/ 154209 h 48174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Lst>
                <a:rect l="l" t="t" r="r" b="b"/>
                <a:pathLst>
                  <a:path w="212417" h="481745">
                    <a:moveTo>
                      <a:pt x="178807" y="112366"/>
                    </a:moveTo>
                    <a:lnTo>
                      <a:pt x="154932" y="107079"/>
                    </a:lnTo>
                    <a:cubicBezTo>
                      <a:pt x="178378" y="80167"/>
                      <a:pt x="175567" y="39344"/>
                      <a:pt x="148654" y="15899"/>
                    </a:cubicBezTo>
                    <a:cubicBezTo>
                      <a:pt x="121741" y="-7547"/>
                      <a:pt x="80918" y="-4736"/>
                      <a:pt x="57473" y="22177"/>
                    </a:cubicBezTo>
                    <a:cubicBezTo>
                      <a:pt x="36276" y="46509"/>
                      <a:pt x="36276" y="82748"/>
                      <a:pt x="57473" y="107079"/>
                    </a:cubicBezTo>
                    <a:lnTo>
                      <a:pt x="33598" y="112366"/>
                    </a:lnTo>
                    <a:cubicBezTo>
                      <a:pt x="13915" y="116617"/>
                      <a:pt x="-100" y="134072"/>
                      <a:pt x="1" y="154209"/>
                    </a:cubicBezTo>
                    <a:lnTo>
                      <a:pt x="1" y="276960"/>
                    </a:lnTo>
                    <a:cubicBezTo>
                      <a:pt x="20" y="293929"/>
                      <a:pt x="13772" y="307680"/>
                      <a:pt x="30741" y="307700"/>
                    </a:cubicBezTo>
                    <a:lnTo>
                      <a:pt x="41591" y="307700"/>
                    </a:lnTo>
                    <a:lnTo>
                      <a:pt x="41591" y="471197"/>
                    </a:lnTo>
                    <a:cubicBezTo>
                      <a:pt x="41594" y="477021"/>
                      <a:pt x="46315" y="481742"/>
                      <a:pt x="52139" y="481745"/>
                    </a:cubicBezTo>
                    <a:lnTo>
                      <a:pt x="160279" y="481745"/>
                    </a:lnTo>
                    <a:cubicBezTo>
                      <a:pt x="166103" y="481742"/>
                      <a:pt x="170824" y="477021"/>
                      <a:pt x="170827" y="471197"/>
                    </a:cubicBezTo>
                    <a:lnTo>
                      <a:pt x="170827" y="307700"/>
                    </a:lnTo>
                    <a:lnTo>
                      <a:pt x="181677" y="307700"/>
                    </a:lnTo>
                    <a:cubicBezTo>
                      <a:pt x="198646" y="307680"/>
                      <a:pt x="212397" y="293929"/>
                      <a:pt x="212417" y="276960"/>
                    </a:cubicBezTo>
                    <a:lnTo>
                      <a:pt x="212417" y="154209"/>
                    </a:lnTo>
                    <a:cubicBezTo>
                      <a:pt x="212516" y="134069"/>
                      <a:pt x="198495" y="116612"/>
                      <a:pt x="178807" y="112366"/>
                    </a:cubicBezTo>
                    <a:close/>
                    <a:moveTo>
                      <a:pt x="106206" y="21241"/>
                    </a:moveTo>
                    <a:cubicBezTo>
                      <a:pt x="130244" y="21245"/>
                      <a:pt x="149728" y="40734"/>
                      <a:pt x="149725" y="64772"/>
                    </a:cubicBezTo>
                    <a:cubicBezTo>
                      <a:pt x="149721" y="88810"/>
                      <a:pt x="130232" y="108294"/>
                      <a:pt x="106194" y="108291"/>
                    </a:cubicBezTo>
                    <a:cubicBezTo>
                      <a:pt x="82158" y="108288"/>
                      <a:pt x="62675" y="88802"/>
                      <a:pt x="62675" y="64766"/>
                    </a:cubicBezTo>
                    <a:cubicBezTo>
                      <a:pt x="62701" y="40737"/>
                      <a:pt x="82176" y="21265"/>
                      <a:pt x="106206" y="21241"/>
                    </a:cubicBezTo>
                    <a:close/>
                    <a:moveTo>
                      <a:pt x="191309" y="276960"/>
                    </a:moveTo>
                    <a:cubicBezTo>
                      <a:pt x="191309" y="282286"/>
                      <a:pt x="186991" y="286604"/>
                      <a:pt x="181665" y="286604"/>
                    </a:cubicBezTo>
                    <a:lnTo>
                      <a:pt x="160279" y="286604"/>
                    </a:lnTo>
                    <a:cubicBezTo>
                      <a:pt x="154453" y="286604"/>
                      <a:pt x="149731" y="291326"/>
                      <a:pt x="149731" y="297152"/>
                    </a:cubicBezTo>
                    <a:lnTo>
                      <a:pt x="149731" y="460637"/>
                    </a:lnTo>
                    <a:lnTo>
                      <a:pt x="116754" y="460637"/>
                    </a:lnTo>
                    <a:lnTo>
                      <a:pt x="116754" y="297152"/>
                    </a:lnTo>
                    <a:cubicBezTo>
                      <a:pt x="116754" y="291326"/>
                      <a:pt x="112031" y="286604"/>
                      <a:pt x="106206" y="286604"/>
                    </a:cubicBezTo>
                    <a:cubicBezTo>
                      <a:pt x="100380" y="286604"/>
                      <a:pt x="95658" y="291326"/>
                      <a:pt x="95658" y="297152"/>
                    </a:cubicBezTo>
                    <a:lnTo>
                      <a:pt x="95658" y="460637"/>
                    </a:lnTo>
                    <a:lnTo>
                      <a:pt x="62675" y="460637"/>
                    </a:lnTo>
                    <a:lnTo>
                      <a:pt x="62675" y="297152"/>
                    </a:lnTo>
                    <a:cubicBezTo>
                      <a:pt x="62675" y="291326"/>
                      <a:pt x="57952" y="286604"/>
                      <a:pt x="52127" y="286604"/>
                    </a:cubicBezTo>
                    <a:lnTo>
                      <a:pt x="30747" y="286604"/>
                    </a:lnTo>
                    <a:cubicBezTo>
                      <a:pt x="25421" y="286604"/>
                      <a:pt x="21103" y="282286"/>
                      <a:pt x="21103" y="276960"/>
                    </a:cubicBezTo>
                    <a:lnTo>
                      <a:pt x="21103" y="154209"/>
                    </a:lnTo>
                    <a:cubicBezTo>
                      <a:pt x="21055" y="143984"/>
                      <a:pt x="28172" y="135121"/>
                      <a:pt x="38167" y="132962"/>
                    </a:cubicBezTo>
                    <a:lnTo>
                      <a:pt x="79877" y="123721"/>
                    </a:lnTo>
                    <a:cubicBezTo>
                      <a:pt x="96619" y="131276"/>
                      <a:pt x="115799" y="131276"/>
                      <a:pt x="132540" y="123721"/>
                    </a:cubicBezTo>
                    <a:lnTo>
                      <a:pt x="174251" y="132962"/>
                    </a:lnTo>
                    <a:cubicBezTo>
                      <a:pt x="184245" y="135121"/>
                      <a:pt x="191363" y="143984"/>
                      <a:pt x="191315" y="154209"/>
                    </a:cubicBezTo>
                    <a:close/>
                  </a:path>
                </a:pathLst>
              </a:custGeom>
              <a:grpFill/>
              <a:ln w="6028" cap="flat">
                <a:noFill/>
                <a:prstDash val="solid"/>
                <a:miter/>
              </a:ln>
            </p:spPr>
            <p:txBody>
              <a:bodyPr/>
              <a:lstStyle/>
              <a:p>
                <a:endParaRPr lang="en-IN"/>
              </a:p>
            </p:txBody>
          </p:sp>
          <p:sp>
            <p:nvSpPr>
              <p:cNvPr id="121" name="Freeform: Shape 120">
                <a:extLst>
                  <a:ext uri="{FF2B5EF4-FFF2-40B4-BE49-F238E27FC236}">
                    <a16:creationId xmlns:a16="http://schemas.microsoft.com/office/drawing/2014/main" id="{ACBF1317-DB57-B22F-6F2F-B99460ABD4F9}"/>
                  </a:ext>
                </a:extLst>
              </p:cNvPr>
              <p:cNvSpPr/>
              <p:nvPr/>
            </p:nvSpPr>
            <p:spPr>
              <a:xfrm>
                <a:off x="4273706" y="1533556"/>
                <a:ext cx="212405" cy="201687"/>
              </a:xfrm>
              <a:custGeom>
                <a:avLst/>
                <a:gdLst>
                  <a:gd name="csX0" fmla="*/ 178807 w 212405"/>
                  <a:gd name="csY0" fmla="*/ 112347 h 201687"/>
                  <a:gd name="csX1" fmla="*/ 154938 w 212405"/>
                  <a:gd name="csY1" fmla="*/ 107061 h 201687"/>
                  <a:gd name="csX2" fmla="*/ 148644 w 212405"/>
                  <a:gd name="csY2" fmla="*/ 15890 h 201687"/>
                  <a:gd name="csX3" fmla="*/ 57473 w 212405"/>
                  <a:gd name="csY3" fmla="*/ 22184 h 201687"/>
                  <a:gd name="csX4" fmla="*/ 57473 w 212405"/>
                  <a:gd name="csY4" fmla="*/ 107061 h 201687"/>
                  <a:gd name="csX5" fmla="*/ 33604 w 212405"/>
                  <a:gd name="csY5" fmla="*/ 112347 h 201687"/>
                  <a:gd name="csX6" fmla="*/ 1 w 212405"/>
                  <a:gd name="csY6" fmla="*/ 154196 h 201687"/>
                  <a:gd name="csX7" fmla="*/ 1 w 212405"/>
                  <a:gd name="csY7" fmla="*/ 191139 h 201687"/>
                  <a:gd name="csX8" fmla="*/ 10549 w 212405"/>
                  <a:gd name="csY8" fmla="*/ 201687 h 201687"/>
                  <a:gd name="csX9" fmla="*/ 21097 w 212405"/>
                  <a:gd name="csY9" fmla="*/ 191139 h 201687"/>
                  <a:gd name="csX10" fmla="*/ 21097 w 212405"/>
                  <a:gd name="csY10" fmla="*/ 154196 h 201687"/>
                  <a:gd name="csX11" fmla="*/ 38161 w 212405"/>
                  <a:gd name="csY11" fmla="*/ 132943 h 201687"/>
                  <a:gd name="csX12" fmla="*/ 79877 w 212405"/>
                  <a:gd name="csY12" fmla="*/ 123703 h 201687"/>
                  <a:gd name="csX13" fmla="*/ 132540 w 212405"/>
                  <a:gd name="csY13" fmla="*/ 123703 h 201687"/>
                  <a:gd name="csX14" fmla="*/ 174251 w 212405"/>
                  <a:gd name="csY14" fmla="*/ 132943 h 201687"/>
                  <a:gd name="csX15" fmla="*/ 191309 w 212405"/>
                  <a:gd name="csY15" fmla="*/ 154196 h 201687"/>
                  <a:gd name="csX16" fmla="*/ 191309 w 212405"/>
                  <a:gd name="csY16" fmla="*/ 191139 h 201687"/>
                  <a:gd name="csX17" fmla="*/ 201857 w 212405"/>
                  <a:gd name="csY17" fmla="*/ 201687 h 201687"/>
                  <a:gd name="csX18" fmla="*/ 212405 w 212405"/>
                  <a:gd name="csY18" fmla="*/ 191139 h 201687"/>
                  <a:gd name="csX19" fmla="*/ 212405 w 212405"/>
                  <a:gd name="csY19" fmla="*/ 154196 h 201687"/>
                  <a:gd name="csX20" fmla="*/ 178807 w 212405"/>
                  <a:gd name="csY20" fmla="*/ 112347 h 201687"/>
                  <a:gd name="csX21" fmla="*/ 62681 w 212405"/>
                  <a:gd name="csY21" fmla="*/ 64729 h 201687"/>
                  <a:gd name="csX22" fmla="*/ 106224 w 212405"/>
                  <a:gd name="csY22" fmla="*/ 21211 h 201687"/>
                  <a:gd name="csX23" fmla="*/ 149743 w 212405"/>
                  <a:gd name="csY23" fmla="*/ 64753 h 201687"/>
                  <a:gd name="csX24" fmla="*/ 106206 w 212405"/>
                  <a:gd name="csY24" fmla="*/ 108272 h 201687"/>
                  <a:gd name="csX25" fmla="*/ 62681 w 212405"/>
                  <a:gd name="csY25" fmla="*/ 64747 h 20168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Lst>
                <a:rect l="l" t="t" r="r" b="b"/>
                <a:pathLst>
                  <a:path w="212405" h="201687">
                    <a:moveTo>
                      <a:pt x="178807" y="112347"/>
                    </a:moveTo>
                    <a:lnTo>
                      <a:pt x="154938" y="107061"/>
                    </a:lnTo>
                    <a:cubicBezTo>
                      <a:pt x="178377" y="80146"/>
                      <a:pt x="175559" y="39328"/>
                      <a:pt x="148644" y="15890"/>
                    </a:cubicBezTo>
                    <a:cubicBezTo>
                      <a:pt x="121730" y="-7549"/>
                      <a:pt x="80911" y="-4731"/>
                      <a:pt x="57473" y="22184"/>
                    </a:cubicBezTo>
                    <a:cubicBezTo>
                      <a:pt x="36288" y="46510"/>
                      <a:pt x="36288" y="82734"/>
                      <a:pt x="57473" y="107061"/>
                    </a:cubicBezTo>
                    <a:lnTo>
                      <a:pt x="33604" y="112347"/>
                    </a:lnTo>
                    <a:cubicBezTo>
                      <a:pt x="13919" y="116601"/>
                      <a:pt x="-98" y="134057"/>
                      <a:pt x="1" y="154196"/>
                    </a:cubicBezTo>
                    <a:lnTo>
                      <a:pt x="1" y="191139"/>
                    </a:lnTo>
                    <a:cubicBezTo>
                      <a:pt x="1" y="196965"/>
                      <a:pt x="4723" y="201687"/>
                      <a:pt x="10549" y="201687"/>
                    </a:cubicBezTo>
                    <a:cubicBezTo>
                      <a:pt x="16374" y="201687"/>
                      <a:pt x="21097" y="196965"/>
                      <a:pt x="21097" y="191139"/>
                    </a:cubicBezTo>
                    <a:lnTo>
                      <a:pt x="21097" y="154196"/>
                    </a:lnTo>
                    <a:cubicBezTo>
                      <a:pt x="21046" y="143969"/>
                      <a:pt x="28164" y="135103"/>
                      <a:pt x="38161" y="132943"/>
                    </a:cubicBezTo>
                    <a:lnTo>
                      <a:pt x="79877" y="123703"/>
                    </a:lnTo>
                    <a:cubicBezTo>
                      <a:pt x="96619" y="131257"/>
                      <a:pt x="115799" y="131257"/>
                      <a:pt x="132540" y="123703"/>
                    </a:cubicBezTo>
                    <a:lnTo>
                      <a:pt x="174251" y="132943"/>
                    </a:lnTo>
                    <a:cubicBezTo>
                      <a:pt x="184245" y="135105"/>
                      <a:pt x="191360" y="143971"/>
                      <a:pt x="191309" y="154196"/>
                    </a:cubicBezTo>
                    <a:lnTo>
                      <a:pt x="191309" y="191139"/>
                    </a:lnTo>
                    <a:cubicBezTo>
                      <a:pt x="191309" y="196965"/>
                      <a:pt x="196031" y="201687"/>
                      <a:pt x="201857" y="201687"/>
                    </a:cubicBezTo>
                    <a:cubicBezTo>
                      <a:pt x="207682" y="201687"/>
                      <a:pt x="212405" y="196965"/>
                      <a:pt x="212405" y="191139"/>
                    </a:cubicBezTo>
                    <a:lnTo>
                      <a:pt x="212405" y="154196"/>
                    </a:lnTo>
                    <a:cubicBezTo>
                      <a:pt x="212506" y="134058"/>
                      <a:pt x="198491" y="116601"/>
                      <a:pt x="178807" y="112347"/>
                    </a:cubicBezTo>
                    <a:close/>
                    <a:moveTo>
                      <a:pt x="62681" y="64729"/>
                    </a:moveTo>
                    <a:cubicBezTo>
                      <a:pt x="62688" y="40688"/>
                      <a:pt x="82182" y="21204"/>
                      <a:pt x="106224" y="21211"/>
                    </a:cubicBezTo>
                    <a:cubicBezTo>
                      <a:pt x="130265" y="21217"/>
                      <a:pt x="149749" y="40712"/>
                      <a:pt x="149743" y="64753"/>
                    </a:cubicBezTo>
                    <a:cubicBezTo>
                      <a:pt x="149736" y="88793"/>
                      <a:pt x="130245" y="108276"/>
                      <a:pt x="106206" y="108272"/>
                    </a:cubicBezTo>
                    <a:cubicBezTo>
                      <a:pt x="82179" y="108246"/>
                      <a:pt x="62707" y="88775"/>
                      <a:pt x="62681" y="64747"/>
                    </a:cubicBezTo>
                    <a:close/>
                  </a:path>
                </a:pathLst>
              </a:custGeom>
              <a:grpFill/>
              <a:ln w="6028" cap="flat">
                <a:noFill/>
                <a:prstDash val="solid"/>
                <a:miter/>
              </a:ln>
            </p:spPr>
            <p:txBody>
              <a:bodyPr/>
              <a:lstStyle/>
              <a:p>
                <a:endParaRPr lang="en-IN"/>
              </a:p>
            </p:txBody>
          </p:sp>
          <p:sp>
            <p:nvSpPr>
              <p:cNvPr id="122" name="Freeform: Shape 121">
                <a:extLst>
                  <a:ext uri="{FF2B5EF4-FFF2-40B4-BE49-F238E27FC236}">
                    <a16:creationId xmlns:a16="http://schemas.microsoft.com/office/drawing/2014/main" id="{9A158F2F-E915-7E47-C0CD-D0FD00C67155}"/>
                  </a:ext>
                </a:extLst>
              </p:cNvPr>
              <p:cNvSpPr/>
              <p:nvPr/>
            </p:nvSpPr>
            <p:spPr>
              <a:xfrm>
                <a:off x="4025794" y="1533537"/>
                <a:ext cx="212405" cy="201705"/>
              </a:xfrm>
              <a:custGeom>
                <a:avLst/>
                <a:gdLst>
                  <a:gd name="csX0" fmla="*/ 178808 w 212405"/>
                  <a:gd name="csY0" fmla="*/ 112366 h 201705"/>
                  <a:gd name="csX1" fmla="*/ 154932 w 212405"/>
                  <a:gd name="csY1" fmla="*/ 107079 h 201705"/>
                  <a:gd name="csX2" fmla="*/ 148654 w 212405"/>
                  <a:gd name="csY2" fmla="*/ 15899 h 201705"/>
                  <a:gd name="csX3" fmla="*/ 57473 w 212405"/>
                  <a:gd name="csY3" fmla="*/ 22177 h 201705"/>
                  <a:gd name="csX4" fmla="*/ 57473 w 212405"/>
                  <a:gd name="csY4" fmla="*/ 107079 h 201705"/>
                  <a:gd name="csX5" fmla="*/ 33598 w 212405"/>
                  <a:gd name="csY5" fmla="*/ 112366 h 201705"/>
                  <a:gd name="csX6" fmla="*/ 1 w 212405"/>
                  <a:gd name="csY6" fmla="*/ 154215 h 201705"/>
                  <a:gd name="csX7" fmla="*/ 1 w 212405"/>
                  <a:gd name="csY7" fmla="*/ 191158 h 201705"/>
                  <a:gd name="csX8" fmla="*/ 10549 w 212405"/>
                  <a:gd name="csY8" fmla="*/ 201706 h 201705"/>
                  <a:gd name="csX9" fmla="*/ 21097 w 212405"/>
                  <a:gd name="csY9" fmla="*/ 191158 h 201705"/>
                  <a:gd name="csX10" fmla="*/ 21097 w 212405"/>
                  <a:gd name="csY10" fmla="*/ 154215 h 201705"/>
                  <a:gd name="csX11" fmla="*/ 38161 w 212405"/>
                  <a:gd name="csY11" fmla="*/ 132962 h 201705"/>
                  <a:gd name="csX12" fmla="*/ 79871 w 212405"/>
                  <a:gd name="csY12" fmla="*/ 123721 h 201705"/>
                  <a:gd name="csX13" fmla="*/ 132534 w 212405"/>
                  <a:gd name="csY13" fmla="*/ 123721 h 201705"/>
                  <a:gd name="csX14" fmla="*/ 174245 w 212405"/>
                  <a:gd name="csY14" fmla="*/ 132962 h 201705"/>
                  <a:gd name="csX15" fmla="*/ 191309 w 212405"/>
                  <a:gd name="csY15" fmla="*/ 154215 h 201705"/>
                  <a:gd name="csX16" fmla="*/ 191309 w 212405"/>
                  <a:gd name="csY16" fmla="*/ 191158 h 201705"/>
                  <a:gd name="csX17" fmla="*/ 201857 w 212405"/>
                  <a:gd name="csY17" fmla="*/ 201706 h 201705"/>
                  <a:gd name="csX18" fmla="*/ 212405 w 212405"/>
                  <a:gd name="csY18" fmla="*/ 191158 h 201705"/>
                  <a:gd name="csX19" fmla="*/ 212405 w 212405"/>
                  <a:gd name="csY19" fmla="*/ 154215 h 201705"/>
                  <a:gd name="csX20" fmla="*/ 178807 w 212405"/>
                  <a:gd name="csY20" fmla="*/ 112366 h 201705"/>
                  <a:gd name="csX21" fmla="*/ 62675 w 212405"/>
                  <a:gd name="csY21" fmla="*/ 64748 h 201705"/>
                  <a:gd name="csX22" fmla="*/ 106200 w 212405"/>
                  <a:gd name="csY22" fmla="*/ 21211 h 201705"/>
                  <a:gd name="csX23" fmla="*/ 149737 w 212405"/>
                  <a:gd name="csY23" fmla="*/ 64736 h 201705"/>
                  <a:gd name="csX24" fmla="*/ 106212 w 212405"/>
                  <a:gd name="csY24" fmla="*/ 108273 h 201705"/>
                  <a:gd name="csX25" fmla="*/ 106206 w 212405"/>
                  <a:gd name="csY25" fmla="*/ 108273 h 201705"/>
                  <a:gd name="csX26" fmla="*/ 62675 w 212405"/>
                  <a:gd name="csY26" fmla="*/ 64766 h 20170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Lst>
                <a:rect l="l" t="t" r="r" b="b"/>
                <a:pathLst>
                  <a:path w="212405" h="201705">
                    <a:moveTo>
                      <a:pt x="178808" y="112366"/>
                    </a:moveTo>
                    <a:lnTo>
                      <a:pt x="154932" y="107079"/>
                    </a:lnTo>
                    <a:cubicBezTo>
                      <a:pt x="178378" y="80167"/>
                      <a:pt x="175567" y="39344"/>
                      <a:pt x="148654" y="15899"/>
                    </a:cubicBezTo>
                    <a:cubicBezTo>
                      <a:pt x="121741" y="-7547"/>
                      <a:pt x="80918" y="-4736"/>
                      <a:pt x="57473" y="22177"/>
                    </a:cubicBezTo>
                    <a:cubicBezTo>
                      <a:pt x="36276" y="46509"/>
                      <a:pt x="36276" y="82748"/>
                      <a:pt x="57473" y="107079"/>
                    </a:cubicBezTo>
                    <a:lnTo>
                      <a:pt x="33598" y="112366"/>
                    </a:lnTo>
                    <a:cubicBezTo>
                      <a:pt x="13915" y="116620"/>
                      <a:pt x="-101" y="134077"/>
                      <a:pt x="1" y="154215"/>
                    </a:cubicBezTo>
                    <a:lnTo>
                      <a:pt x="1" y="191158"/>
                    </a:lnTo>
                    <a:cubicBezTo>
                      <a:pt x="1" y="196983"/>
                      <a:pt x="4723" y="201706"/>
                      <a:pt x="10549" y="201706"/>
                    </a:cubicBezTo>
                    <a:cubicBezTo>
                      <a:pt x="16374" y="201706"/>
                      <a:pt x="21097" y="196983"/>
                      <a:pt x="21097" y="191158"/>
                    </a:cubicBezTo>
                    <a:lnTo>
                      <a:pt x="21097" y="154215"/>
                    </a:lnTo>
                    <a:cubicBezTo>
                      <a:pt x="21046" y="143987"/>
                      <a:pt x="28164" y="135122"/>
                      <a:pt x="38161" y="132962"/>
                    </a:cubicBezTo>
                    <a:lnTo>
                      <a:pt x="79871" y="123721"/>
                    </a:lnTo>
                    <a:cubicBezTo>
                      <a:pt x="96613" y="131276"/>
                      <a:pt x="115793" y="131276"/>
                      <a:pt x="132534" y="123721"/>
                    </a:cubicBezTo>
                    <a:lnTo>
                      <a:pt x="174245" y="132962"/>
                    </a:lnTo>
                    <a:cubicBezTo>
                      <a:pt x="184241" y="135122"/>
                      <a:pt x="191360" y="143987"/>
                      <a:pt x="191309" y="154215"/>
                    </a:cubicBezTo>
                    <a:lnTo>
                      <a:pt x="191309" y="191158"/>
                    </a:lnTo>
                    <a:cubicBezTo>
                      <a:pt x="191309" y="196983"/>
                      <a:pt x="196031" y="201706"/>
                      <a:pt x="201857" y="201706"/>
                    </a:cubicBezTo>
                    <a:cubicBezTo>
                      <a:pt x="207682" y="201706"/>
                      <a:pt x="212405" y="196983"/>
                      <a:pt x="212405" y="191158"/>
                    </a:cubicBezTo>
                    <a:lnTo>
                      <a:pt x="212405" y="154215"/>
                    </a:lnTo>
                    <a:cubicBezTo>
                      <a:pt x="212506" y="134077"/>
                      <a:pt x="198491" y="116620"/>
                      <a:pt x="178807" y="112366"/>
                    </a:cubicBezTo>
                    <a:close/>
                    <a:moveTo>
                      <a:pt x="62675" y="64748"/>
                    </a:moveTo>
                    <a:cubicBezTo>
                      <a:pt x="62672" y="40707"/>
                      <a:pt x="82158" y="21214"/>
                      <a:pt x="106200" y="21211"/>
                    </a:cubicBezTo>
                    <a:cubicBezTo>
                      <a:pt x="130241" y="21208"/>
                      <a:pt x="149733" y="40695"/>
                      <a:pt x="149737" y="64736"/>
                    </a:cubicBezTo>
                    <a:cubicBezTo>
                      <a:pt x="149740" y="88777"/>
                      <a:pt x="130253" y="108270"/>
                      <a:pt x="106212" y="108273"/>
                    </a:cubicBezTo>
                    <a:cubicBezTo>
                      <a:pt x="106210" y="108273"/>
                      <a:pt x="106208" y="108273"/>
                      <a:pt x="106206" y="108273"/>
                    </a:cubicBezTo>
                    <a:cubicBezTo>
                      <a:pt x="82185" y="108246"/>
                      <a:pt x="62715" y="88787"/>
                      <a:pt x="62675" y="64766"/>
                    </a:cubicBezTo>
                    <a:close/>
                  </a:path>
                </a:pathLst>
              </a:custGeom>
              <a:grpFill/>
              <a:ln w="6028" cap="flat">
                <a:noFill/>
                <a:prstDash val="solid"/>
                <a:miter/>
              </a:ln>
            </p:spPr>
            <p:txBody>
              <a:bodyPr/>
              <a:lstStyle/>
              <a:p>
                <a:endParaRPr lang="en-IN"/>
              </a:p>
            </p:txBody>
          </p:sp>
          <p:sp>
            <p:nvSpPr>
              <p:cNvPr id="123" name="Freeform: Shape 122">
                <a:extLst>
                  <a:ext uri="{FF2B5EF4-FFF2-40B4-BE49-F238E27FC236}">
                    <a16:creationId xmlns:a16="http://schemas.microsoft.com/office/drawing/2014/main" id="{E29ACDBC-0882-48AE-3663-5D650233ECBF}"/>
                  </a:ext>
                </a:extLst>
              </p:cNvPr>
              <p:cNvSpPr/>
              <p:nvPr/>
            </p:nvSpPr>
            <p:spPr>
              <a:xfrm>
                <a:off x="4521625" y="1533537"/>
                <a:ext cx="212405" cy="201705"/>
              </a:xfrm>
              <a:custGeom>
                <a:avLst/>
                <a:gdLst>
                  <a:gd name="csX0" fmla="*/ 178807 w 212405"/>
                  <a:gd name="csY0" fmla="*/ 112366 h 201705"/>
                  <a:gd name="csX1" fmla="*/ 154932 w 212405"/>
                  <a:gd name="csY1" fmla="*/ 107079 h 201705"/>
                  <a:gd name="csX2" fmla="*/ 148654 w 212405"/>
                  <a:gd name="csY2" fmla="*/ 15899 h 201705"/>
                  <a:gd name="csX3" fmla="*/ 57473 w 212405"/>
                  <a:gd name="csY3" fmla="*/ 22177 h 201705"/>
                  <a:gd name="csX4" fmla="*/ 57473 w 212405"/>
                  <a:gd name="csY4" fmla="*/ 107079 h 201705"/>
                  <a:gd name="csX5" fmla="*/ 33604 w 212405"/>
                  <a:gd name="csY5" fmla="*/ 112366 h 201705"/>
                  <a:gd name="csX6" fmla="*/ 1 w 212405"/>
                  <a:gd name="csY6" fmla="*/ 154215 h 201705"/>
                  <a:gd name="csX7" fmla="*/ 1 w 212405"/>
                  <a:gd name="csY7" fmla="*/ 191158 h 201705"/>
                  <a:gd name="csX8" fmla="*/ 10549 w 212405"/>
                  <a:gd name="csY8" fmla="*/ 201706 h 201705"/>
                  <a:gd name="csX9" fmla="*/ 21097 w 212405"/>
                  <a:gd name="csY9" fmla="*/ 191158 h 201705"/>
                  <a:gd name="csX10" fmla="*/ 21097 w 212405"/>
                  <a:gd name="csY10" fmla="*/ 154215 h 201705"/>
                  <a:gd name="csX11" fmla="*/ 38161 w 212405"/>
                  <a:gd name="csY11" fmla="*/ 132962 h 201705"/>
                  <a:gd name="csX12" fmla="*/ 79871 w 212405"/>
                  <a:gd name="csY12" fmla="*/ 123721 h 201705"/>
                  <a:gd name="csX13" fmla="*/ 132534 w 212405"/>
                  <a:gd name="csY13" fmla="*/ 123721 h 201705"/>
                  <a:gd name="csX14" fmla="*/ 174251 w 212405"/>
                  <a:gd name="csY14" fmla="*/ 132962 h 201705"/>
                  <a:gd name="csX15" fmla="*/ 191309 w 212405"/>
                  <a:gd name="csY15" fmla="*/ 154215 h 201705"/>
                  <a:gd name="csX16" fmla="*/ 191309 w 212405"/>
                  <a:gd name="csY16" fmla="*/ 191158 h 201705"/>
                  <a:gd name="csX17" fmla="*/ 201857 w 212405"/>
                  <a:gd name="csY17" fmla="*/ 201706 h 201705"/>
                  <a:gd name="csX18" fmla="*/ 212405 w 212405"/>
                  <a:gd name="csY18" fmla="*/ 191158 h 201705"/>
                  <a:gd name="csX19" fmla="*/ 212405 w 212405"/>
                  <a:gd name="csY19" fmla="*/ 154215 h 201705"/>
                  <a:gd name="csX20" fmla="*/ 178807 w 212405"/>
                  <a:gd name="csY20" fmla="*/ 112366 h 201705"/>
                  <a:gd name="csX21" fmla="*/ 62675 w 212405"/>
                  <a:gd name="csY21" fmla="*/ 64748 h 201705"/>
                  <a:gd name="csX22" fmla="*/ 106200 w 212405"/>
                  <a:gd name="csY22" fmla="*/ 21211 h 201705"/>
                  <a:gd name="csX23" fmla="*/ 149737 w 212405"/>
                  <a:gd name="csY23" fmla="*/ 64736 h 201705"/>
                  <a:gd name="csX24" fmla="*/ 106212 w 212405"/>
                  <a:gd name="csY24" fmla="*/ 108273 h 201705"/>
                  <a:gd name="csX25" fmla="*/ 106206 w 212405"/>
                  <a:gd name="csY25" fmla="*/ 108273 h 201705"/>
                  <a:gd name="csX26" fmla="*/ 62675 w 212405"/>
                  <a:gd name="csY26" fmla="*/ 64766 h 20170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Lst>
                <a:rect l="l" t="t" r="r" b="b"/>
                <a:pathLst>
                  <a:path w="212405" h="201705">
                    <a:moveTo>
                      <a:pt x="178807" y="112366"/>
                    </a:moveTo>
                    <a:lnTo>
                      <a:pt x="154932" y="107079"/>
                    </a:lnTo>
                    <a:cubicBezTo>
                      <a:pt x="178377" y="80167"/>
                      <a:pt x="175567" y="39344"/>
                      <a:pt x="148654" y="15899"/>
                    </a:cubicBezTo>
                    <a:cubicBezTo>
                      <a:pt x="121741" y="-7547"/>
                      <a:pt x="80918" y="-4736"/>
                      <a:pt x="57473" y="22177"/>
                    </a:cubicBezTo>
                    <a:cubicBezTo>
                      <a:pt x="36276" y="46509"/>
                      <a:pt x="36276" y="82748"/>
                      <a:pt x="57473" y="107079"/>
                    </a:cubicBezTo>
                    <a:lnTo>
                      <a:pt x="33604" y="112366"/>
                    </a:lnTo>
                    <a:cubicBezTo>
                      <a:pt x="13919" y="116619"/>
                      <a:pt x="-98" y="134076"/>
                      <a:pt x="1" y="154215"/>
                    </a:cubicBezTo>
                    <a:lnTo>
                      <a:pt x="1" y="191158"/>
                    </a:lnTo>
                    <a:cubicBezTo>
                      <a:pt x="1" y="196983"/>
                      <a:pt x="4723" y="201706"/>
                      <a:pt x="10549" y="201706"/>
                    </a:cubicBezTo>
                    <a:cubicBezTo>
                      <a:pt x="16374" y="201706"/>
                      <a:pt x="21097" y="196983"/>
                      <a:pt x="21097" y="191158"/>
                    </a:cubicBezTo>
                    <a:lnTo>
                      <a:pt x="21097" y="154215"/>
                    </a:lnTo>
                    <a:cubicBezTo>
                      <a:pt x="21046" y="143987"/>
                      <a:pt x="28164" y="135122"/>
                      <a:pt x="38161" y="132962"/>
                    </a:cubicBezTo>
                    <a:lnTo>
                      <a:pt x="79871" y="123721"/>
                    </a:lnTo>
                    <a:cubicBezTo>
                      <a:pt x="96613" y="131276"/>
                      <a:pt x="115793" y="131276"/>
                      <a:pt x="132534" y="123721"/>
                    </a:cubicBezTo>
                    <a:lnTo>
                      <a:pt x="174251" y="132962"/>
                    </a:lnTo>
                    <a:cubicBezTo>
                      <a:pt x="184245" y="135124"/>
                      <a:pt x="191360" y="143989"/>
                      <a:pt x="191309" y="154215"/>
                    </a:cubicBezTo>
                    <a:lnTo>
                      <a:pt x="191309" y="191158"/>
                    </a:lnTo>
                    <a:cubicBezTo>
                      <a:pt x="191309" y="196983"/>
                      <a:pt x="196031" y="201706"/>
                      <a:pt x="201857" y="201706"/>
                    </a:cubicBezTo>
                    <a:cubicBezTo>
                      <a:pt x="207682" y="201706"/>
                      <a:pt x="212405" y="196983"/>
                      <a:pt x="212405" y="191158"/>
                    </a:cubicBezTo>
                    <a:lnTo>
                      <a:pt x="212405" y="154215"/>
                    </a:lnTo>
                    <a:cubicBezTo>
                      <a:pt x="212506" y="134077"/>
                      <a:pt x="198491" y="116620"/>
                      <a:pt x="178807" y="112366"/>
                    </a:cubicBezTo>
                    <a:close/>
                    <a:moveTo>
                      <a:pt x="62675" y="64748"/>
                    </a:moveTo>
                    <a:cubicBezTo>
                      <a:pt x="62672" y="40707"/>
                      <a:pt x="82158" y="21214"/>
                      <a:pt x="106200" y="21211"/>
                    </a:cubicBezTo>
                    <a:cubicBezTo>
                      <a:pt x="130241" y="21208"/>
                      <a:pt x="149733" y="40695"/>
                      <a:pt x="149737" y="64736"/>
                    </a:cubicBezTo>
                    <a:cubicBezTo>
                      <a:pt x="149740" y="88777"/>
                      <a:pt x="130253" y="108270"/>
                      <a:pt x="106212" y="108273"/>
                    </a:cubicBezTo>
                    <a:cubicBezTo>
                      <a:pt x="106210" y="108273"/>
                      <a:pt x="106208" y="108273"/>
                      <a:pt x="106206" y="108273"/>
                    </a:cubicBezTo>
                    <a:cubicBezTo>
                      <a:pt x="82183" y="108250"/>
                      <a:pt x="62711" y="88789"/>
                      <a:pt x="62675" y="64766"/>
                    </a:cubicBezTo>
                    <a:close/>
                  </a:path>
                </a:pathLst>
              </a:custGeom>
              <a:grpFill/>
              <a:ln w="6028" cap="flat">
                <a:noFill/>
                <a:prstDash val="solid"/>
                <a:miter/>
              </a:ln>
            </p:spPr>
            <p:txBody>
              <a:bodyPr/>
              <a:lstStyle/>
              <a:p>
                <a:endParaRPr lang="en-IN"/>
              </a:p>
            </p:txBody>
          </p:sp>
          <p:sp>
            <p:nvSpPr>
              <p:cNvPr id="124" name="Freeform: Shape 123">
                <a:extLst>
                  <a:ext uri="{FF2B5EF4-FFF2-40B4-BE49-F238E27FC236}">
                    <a16:creationId xmlns:a16="http://schemas.microsoft.com/office/drawing/2014/main" id="{6485A57B-B06D-DE81-22D7-7B71B2868AE0}"/>
                  </a:ext>
                </a:extLst>
              </p:cNvPr>
              <p:cNvSpPr/>
              <p:nvPr/>
            </p:nvSpPr>
            <p:spPr>
              <a:xfrm>
                <a:off x="4390701" y="1126642"/>
                <a:ext cx="226340" cy="226334"/>
              </a:xfrm>
              <a:custGeom>
                <a:avLst/>
                <a:gdLst>
                  <a:gd name="csX0" fmla="*/ 10548 w 226340"/>
                  <a:gd name="csY0" fmla="*/ 142497 h 226334"/>
                  <a:gd name="csX1" fmla="*/ 26895 w 226340"/>
                  <a:gd name="csY1" fmla="*/ 142497 h 226334"/>
                  <a:gd name="csX2" fmla="*/ 31434 w 226340"/>
                  <a:gd name="csY2" fmla="*/ 153419 h 226334"/>
                  <a:gd name="csX3" fmla="*/ 19867 w 226340"/>
                  <a:gd name="csY3" fmla="*/ 164992 h 226334"/>
                  <a:gd name="csX4" fmla="*/ 19855 w 226340"/>
                  <a:gd name="csY4" fmla="*/ 179892 h 226334"/>
                  <a:gd name="csX5" fmla="*/ 19867 w 226340"/>
                  <a:gd name="csY5" fmla="*/ 179904 h 226334"/>
                  <a:gd name="csX6" fmla="*/ 46424 w 226340"/>
                  <a:gd name="csY6" fmla="*/ 206467 h 226334"/>
                  <a:gd name="csX7" fmla="*/ 61333 w 226340"/>
                  <a:gd name="csY7" fmla="*/ 206477 h 226334"/>
                  <a:gd name="csX8" fmla="*/ 61342 w 226340"/>
                  <a:gd name="csY8" fmla="*/ 206467 h 226334"/>
                  <a:gd name="csX9" fmla="*/ 72915 w 226340"/>
                  <a:gd name="csY9" fmla="*/ 194900 h 226334"/>
                  <a:gd name="csX10" fmla="*/ 83837 w 226340"/>
                  <a:gd name="csY10" fmla="*/ 199439 h 226334"/>
                  <a:gd name="csX11" fmla="*/ 83837 w 226340"/>
                  <a:gd name="csY11" fmla="*/ 215786 h 226334"/>
                  <a:gd name="csX12" fmla="*/ 94385 w 226340"/>
                  <a:gd name="csY12" fmla="*/ 226334 h 226334"/>
                  <a:gd name="csX13" fmla="*/ 131949 w 226340"/>
                  <a:gd name="csY13" fmla="*/ 226334 h 226334"/>
                  <a:gd name="csX14" fmla="*/ 142497 w 226340"/>
                  <a:gd name="csY14" fmla="*/ 215786 h 226334"/>
                  <a:gd name="csX15" fmla="*/ 142497 w 226340"/>
                  <a:gd name="csY15" fmla="*/ 199403 h 226334"/>
                  <a:gd name="csX16" fmla="*/ 153401 w 226340"/>
                  <a:gd name="csY16" fmla="*/ 194876 h 226334"/>
                  <a:gd name="csX17" fmla="*/ 164992 w 226340"/>
                  <a:gd name="csY17" fmla="*/ 206467 h 226334"/>
                  <a:gd name="csX18" fmla="*/ 179910 w 226340"/>
                  <a:gd name="csY18" fmla="*/ 206467 h 226334"/>
                  <a:gd name="csX19" fmla="*/ 206467 w 226340"/>
                  <a:gd name="csY19" fmla="*/ 179904 h 226334"/>
                  <a:gd name="csX20" fmla="*/ 206467 w 226340"/>
                  <a:gd name="csY20" fmla="*/ 164992 h 226334"/>
                  <a:gd name="csX21" fmla="*/ 194876 w 226340"/>
                  <a:gd name="csY21" fmla="*/ 153401 h 226334"/>
                  <a:gd name="csX22" fmla="*/ 199403 w 226340"/>
                  <a:gd name="csY22" fmla="*/ 142497 h 226334"/>
                  <a:gd name="csX23" fmla="*/ 215792 w 226340"/>
                  <a:gd name="csY23" fmla="*/ 142497 h 226334"/>
                  <a:gd name="csX24" fmla="*/ 226340 w 226340"/>
                  <a:gd name="csY24" fmla="*/ 131949 h 226334"/>
                  <a:gd name="csX25" fmla="*/ 226340 w 226340"/>
                  <a:gd name="csY25" fmla="*/ 94385 h 226334"/>
                  <a:gd name="csX26" fmla="*/ 215792 w 226340"/>
                  <a:gd name="csY26" fmla="*/ 83837 h 226334"/>
                  <a:gd name="csX27" fmla="*/ 199439 w 226340"/>
                  <a:gd name="csY27" fmla="*/ 83837 h 226334"/>
                  <a:gd name="csX28" fmla="*/ 194900 w 226340"/>
                  <a:gd name="csY28" fmla="*/ 72915 h 226334"/>
                  <a:gd name="csX29" fmla="*/ 206467 w 226340"/>
                  <a:gd name="csY29" fmla="*/ 61342 h 226334"/>
                  <a:gd name="csX30" fmla="*/ 206467 w 226340"/>
                  <a:gd name="csY30" fmla="*/ 46424 h 226334"/>
                  <a:gd name="csX31" fmla="*/ 179910 w 226340"/>
                  <a:gd name="csY31" fmla="*/ 19867 h 226334"/>
                  <a:gd name="csX32" fmla="*/ 165001 w 226340"/>
                  <a:gd name="csY32" fmla="*/ 19857 h 226334"/>
                  <a:gd name="csX33" fmla="*/ 164992 w 226340"/>
                  <a:gd name="csY33" fmla="*/ 19867 h 226334"/>
                  <a:gd name="csX34" fmla="*/ 153419 w 226340"/>
                  <a:gd name="csY34" fmla="*/ 31464 h 226334"/>
                  <a:gd name="csX35" fmla="*/ 142497 w 226340"/>
                  <a:gd name="csY35" fmla="*/ 26925 h 226334"/>
                  <a:gd name="csX36" fmla="*/ 142497 w 226340"/>
                  <a:gd name="csY36" fmla="*/ 10548 h 226334"/>
                  <a:gd name="csX37" fmla="*/ 131949 w 226340"/>
                  <a:gd name="csY37" fmla="*/ 0 h 226334"/>
                  <a:gd name="csX38" fmla="*/ 94385 w 226340"/>
                  <a:gd name="csY38" fmla="*/ 0 h 226334"/>
                  <a:gd name="csX39" fmla="*/ 83837 w 226340"/>
                  <a:gd name="csY39" fmla="*/ 10548 h 226334"/>
                  <a:gd name="csX40" fmla="*/ 83837 w 226340"/>
                  <a:gd name="csY40" fmla="*/ 26931 h 226334"/>
                  <a:gd name="csX41" fmla="*/ 72933 w 226340"/>
                  <a:gd name="csY41" fmla="*/ 31464 h 226334"/>
                  <a:gd name="csX42" fmla="*/ 61342 w 226340"/>
                  <a:gd name="csY42" fmla="*/ 19879 h 226334"/>
                  <a:gd name="csX43" fmla="*/ 46424 w 226340"/>
                  <a:gd name="csY43" fmla="*/ 19879 h 226334"/>
                  <a:gd name="csX44" fmla="*/ 19867 w 226340"/>
                  <a:gd name="csY44" fmla="*/ 46436 h 226334"/>
                  <a:gd name="csX45" fmla="*/ 19857 w 226340"/>
                  <a:gd name="csY45" fmla="*/ 61345 h 226334"/>
                  <a:gd name="csX46" fmla="*/ 19867 w 226340"/>
                  <a:gd name="csY46" fmla="*/ 61354 h 226334"/>
                  <a:gd name="csX47" fmla="*/ 31458 w 226340"/>
                  <a:gd name="csY47" fmla="*/ 72939 h 226334"/>
                  <a:gd name="csX48" fmla="*/ 26931 w 226340"/>
                  <a:gd name="csY48" fmla="*/ 83849 h 226334"/>
                  <a:gd name="csX49" fmla="*/ 10548 w 226340"/>
                  <a:gd name="csY49" fmla="*/ 83849 h 226334"/>
                  <a:gd name="csX50" fmla="*/ 0 w 226340"/>
                  <a:gd name="csY50" fmla="*/ 94397 h 226334"/>
                  <a:gd name="csX51" fmla="*/ 0 w 226340"/>
                  <a:gd name="csY51" fmla="*/ 131961 h 226334"/>
                  <a:gd name="csX52" fmla="*/ 10548 w 226340"/>
                  <a:gd name="csY52" fmla="*/ 142497 h 226334"/>
                  <a:gd name="csX53" fmla="*/ 21096 w 226340"/>
                  <a:gd name="csY53" fmla="*/ 104933 h 226334"/>
                  <a:gd name="csX54" fmla="*/ 34851 w 226340"/>
                  <a:gd name="csY54" fmla="*/ 104933 h 226334"/>
                  <a:gd name="csX55" fmla="*/ 45098 w 226340"/>
                  <a:gd name="csY55" fmla="*/ 96838 h 226334"/>
                  <a:gd name="csX56" fmla="*/ 53494 w 226340"/>
                  <a:gd name="csY56" fmla="*/ 76598 h 226334"/>
                  <a:gd name="csX57" fmla="*/ 51963 w 226340"/>
                  <a:gd name="csY57" fmla="*/ 63615 h 226334"/>
                  <a:gd name="csX58" fmla="*/ 42253 w 226340"/>
                  <a:gd name="csY58" fmla="*/ 53886 h 226334"/>
                  <a:gd name="csX59" fmla="*/ 53892 w 226340"/>
                  <a:gd name="csY59" fmla="*/ 42241 h 226334"/>
                  <a:gd name="csX60" fmla="*/ 63621 w 226340"/>
                  <a:gd name="csY60" fmla="*/ 51957 h 226334"/>
                  <a:gd name="csX61" fmla="*/ 76598 w 226340"/>
                  <a:gd name="csY61" fmla="*/ 53488 h 226334"/>
                  <a:gd name="csX62" fmla="*/ 96832 w 226340"/>
                  <a:gd name="csY62" fmla="*/ 45092 h 226334"/>
                  <a:gd name="csX63" fmla="*/ 104933 w 226340"/>
                  <a:gd name="csY63" fmla="*/ 34845 h 226334"/>
                  <a:gd name="csX64" fmla="*/ 104933 w 226340"/>
                  <a:gd name="csY64" fmla="*/ 21096 h 226334"/>
                  <a:gd name="csX65" fmla="*/ 121401 w 226340"/>
                  <a:gd name="csY65" fmla="*/ 21096 h 226334"/>
                  <a:gd name="csX66" fmla="*/ 121401 w 226340"/>
                  <a:gd name="csY66" fmla="*/ 34821 h 226334"/>
                  <a:gd name="csX67" fmla="*/ 129508 w 226340"/>
                  <a:gd name="csY67" fmla="*/ 45068 h 226334"/>
                  <a:gd name="csX68" fmla="*/ 149730 w 226340"/>
                  <a:gd name="csY68" fmla="*/ 53470 h 226334"/>
                  <a:gd name="csX69" fmla="*/ 162725 w 226340"/>
                  <a:gd name="csY69" fmla="*/ 51951 h 226334"/>
                  <a:gd name="csX70" fmla="*/ 172448 w 226340"/>
                  <a:gd name="csY70" fmla="*/ 42241 h 226334"/>
                  <a:gd name="csX71" fmla="*/ 184093 w 226340"/>
                  <a:gd name="csY71" fmla="*/ 53886 h 226334"/>
                  <a:gd name="csX72" fmla="*/ 174371 w 226340"/>
                  <a:gd name="csY72" fmla="*/ 63609 h 226334"/>
                  <a:gd name="csX73" fmla="*/ 172852 w 226340"/>
                  <a:gd name="csY73" fmla="*/ 76604 h 226334"/>
                  <a:gd name="csX74" fmla="*/ 181254 w 226340"/>
                  <a:gd name="csY74" fmla="*/ 96826 h 226334"/>
                  <a:gd name="csX75" fmla="*/ 191501 w 226340"/>
                  <a:gd name="csY75" fmla="*/ 104933 h 226334"/>
                  <a:gd name="csX76" fmla="*/ 205232 w 226340"/>
                  <a:gd name="csY76" fmla="*/ 104933 h 226334"/>
                  <a:gd name="csX77" fmla="*/ 205232 w 226340"/>
                  <a:gd name="csY77" fmla="*/ 121401 h 226334"/>
                  <a:gd name="csX78" fmla="*/ 191483 w 226340"/>
                  <a:gd name="csY78" fmla="*/ 121401 h 226334"/>
                  <a:gd name="csX79" fmla="*/ 181236 w 226340"/>
                  <a:gd name="csY79" fmla="*/ 129496 h 226334"/>
                  <a:gd name="csX80" fmla="*/ 172846 w 226340"/>
                  <a:gd name="csY80" fmla="*/ 149730 h 226334"/>
                  <a:gd name="csX81" fmla="*/ 174377 w 226340"/>
                  <a:gd name="csY81" fmla="*/ 162713 h 226334"/>
                  <a:gd name="csX82" fmla="*/ 184111 w 226340"/>
                  <a:gd name="csY82" fmla="*/ 172448 h 226334"/>
                  <a:gd name="csX83" fmla="*/ 172448 w 226340"/>
                  <a:gd name="csY83" fmla="*/ 184093 h 226334"/>
                  <a:gd name="csX84" fmla="*/ 162713 w 226340"/>
                  <a:gd name="csY84" fmla="*/ 174359 h 226334"/>
                  <a:gd name="csX85" fmla="*/ 149736 w 226340"/>
                  <a:gd name="csY85" fmla="*/ 172828 h 226334"/>
                  <a:gd name="csX86" fmla="*/ 129496 w 226340"/>
                  <a:gd name="csY86" fmla="*/ 181224 h 226334"/>
                  <a:gd name="csX87" fmla="*/ 121401 w 226340"/>
                  <a:gd name="csY87" fmla="*/ 191471 h 226334"/>
                  <a:gd name="csX88" fmla="*/ 121401 w 226340"/>
                  <a:gd name="csY88" fmla="*/ 205238 h 226334"/>
                  <a:gd name="csX89" fmla="*/ 104939 w 226340"/>
                  <a:gd name="csY89" fmla="*/ 205238 h 226334"/>
                  <a:gd name="csX90" fmla="*/ 104939 w 226340"/>
                  <a:gd name="csY90" fmla="*/ 191519 h 226334"/>
                  <a:gd name="csX91" fmla="*/ 96832 w 226340"/>
                  <a:gd name="csY91" fmla="*/ 181272 h 226334"/>
                  <a:gd name="csX92" fmla="*/ 76610 w 226340"/>
                  <a:gd name="csY92" fmla="*/ 172852 h 226334"/>
                  <a:gd name="csX93" fmla="*/ 63615 w 226340"/>
                  <a:gd name="csY93" fmla="*/ 174371 h 226334"/>
                  <a:gd name="csX94" fmla="*/ 53886 w 226340"/>
                  <a:gd name="csY94" fmla="*/ 184093 h 226334"/>
                  <a:gd name="csX95" fmla="*/ 42253 w 226340"/>
                  <a:gd name="csY95" fmla="*/ 172448 h 226334"/>
                  <a:gd name="csX96" fmla="*/ 51975 w 226340"/>
                  <a:gd name="csY96" fmla="*/ 162725 h 226334"/>
                  <a:gd name="csX97" fmla="*/ 53500 w 226340"/>
                  <a:gd name="csY97" fmla="*/ 149736 h 226334"/>
                  <a:gd name="csX98" fmla="*/ 45092 w 226340"/>
                  <a:gd name="csY98" fmla="*/ 129508 h 226334"/>
                  <a:gd name="csX99" fmla="*/ 34845 w 226340"/>
                  <a:gd name="csY99" fmla="*/ 121401 h 226334"/>
                  <a:gd name="csX100" fmla="*/ 21096 w 226340"/>
                  <a:gd name="csY100" fmla="*/ 121401 h 22633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Lst>
                <a:rect l="l" t="t" r="r" b="b"/>
                <a:pathLst>
                  <a:path w="226340" h="226334">
                    <a:moveTo>
                      <a:pt x="10548" y="142497"/>
                    </a:moveTo>
                    <a:lnTo>
                      <a:pt x="26895" y="142497"/>
                    </a:lnTo>
                    <a:cubicBezTo>
                      <a:pt x="28167" y="146233"/>
                      <a:pt x="29684" y="149881"/>
                      <a:pt x="31434" y="153419"/>
                    </a:cubicBezTo>
                    <a:lnTo>
                      <a:pt x="19867" y="164992"/>
                    </a:lnTo>
                    <a:cubicBezTo>
                      <a:pt x="15749" y="169103"/>
                      <a:pt x="15744" y="175774"/>
                      <a:pt x="19855" y="179892"/>
                    </a:cubicBezTo>
                    <a:cubicBezTo>
                      <a:pt x="19859" y="179896"/>
                      <a:pt x="19863" y="179900"/>
                      <a:pt x="19867" y="179904"/>
                    </a:cubicBezTo>
                    <a:lnTo>
                      <a:pt x="46424" y="206467"/>
                    </a:lnTo>
                    <a:cubicBezTo>
                      <a:pt x="50538" y="210587"/>
                      <a:pt x="57213" y="210591"/>
                      <a:pt x="61333" y="206477"/>
                    </a:cubicBezTo>
                    <a:cubicBezTo>
                      <a:pt x="61336" y="206474"/>
                      <a:pt x="61339" y="206470"/>
                      <a:pt x="61342" y="206467"/>
                    </a:cubicBezTo>
                    <a:lnTo>
                      <a:pt x="72915" y="194900"/>
                    </a:lnTo>
                    <a:cubicBezTo>
                      <a:pt x="76451" y="196654"/>
                      <a:pt x="80100" y="198170"/>
                      <a:pt x="83837" y="199439"/>
                    </a:cubicBezTo>
                    <a:lnTo>
                      <a:pt x="83837" y="215786"/>
                    </a:lnTo>
                    <a:cubicBezTo>
                      <a:pt x="83837" y="221612"/>
                      <a:pt x="88560" y="226334"/>
                      <a:pt x="94385" y="226334"/>
                    </a:cubicBezTo>
                    <a:lnTo>
                      <a:pt x="131949" y="226334"/>
                    </a:lnTo>
                    <a:cubicBezTo>
                      <a:pt x="137773" y="226331"/>
                      <a:pt x="142494" y="221610"/>
                      <a:pt x="142497" y="215786"/>
                    </a:cubicBezTo>
                    <a:lnTo>
                      <a:pt x="142497" y="199403"/>
                    </a:lnTo>
                    <a:cubicBezTo>
                      <a:pt x="146227" y="198135"/>
                      <a:pt x="149869" y="196622"/>
                      <a:pt x="153401" y="194876"/>
                    </a:cubicBezTo>
                    <a:lnTo>
                      <a:pt x="164992" y="206467"/>
                    </a:lnTo>
                    <a:cubicBezTo>
                      <a:pt x="169176" y="210428"/>
                      <a:pt x="175726" y="210428"/>
                      <a:pt x="179910" y="206467"/>
                    </a:cubicBezTo>
                    <a:lnTo>
                      <a:pt x="206467" y="179904"/>
                    </a:lnTo>
                    <a:cubicBezTo>
                      <a:pt x="210583" y="175785"/>
                      <a:pt x="210583" y="169111"/>
                      <a:pt x="206467" y="164992"/>
                    </a:cubicBezTo>
                    <a:lnTo>
                      <a:pt x="194876" y="153401"/>
                    </a:lnTo>
                    <a:cubicBezTo>
                      <a:pt x="196622" y="149869"/>
                      <a:pt x="198134" y="146227"/>
                      <a:pt x="199403" y="142497"/>
                    </a:cubicBezTo>
                    <a:lnTo>
                      <a:pt x="215792" y="142497"/>
                    </a:lnTo>
                    <a:cubicBezTo>
                      <a:pt x="221618" y="142497"/>
                      <a:pt x="226340" y="137774"/>
                      <a:pt x="226340" y="131949"/>
                    </a:cubicBezTo>
                    <a:lnTo>
                      <a:pt x="226340" y="94385"/>
                    </a:lnTo>
                    <a:cubicBezTo>
                      <a:pt x="226340" y="88560"/>
                      <a:pt x="221618" y="83837"/>
                      <a:pt x="215792" y="83837"/>
                    </a:cubicBezTo>
                    <a:lnTo>
                      <a:pt x="199439" y="83837"/>
                    </a:lnTo>
                    <a:cubicBezTo>
                      <a:pt x="198169" y="80100"/>
                      <a:pt x="196653" y="76452"/>
                      <a:pt x="194900" y="72915"/>
                    </a:cubicBezTo>
                    <a:lnTo>
                      <a:pt x="206467" y="61342"/>
                    </a:lnTo>
                    <a:cubicBezTo>
                      <a:pt x="210584" y="57221"/>
                      <a:pt x="210584" y="50545"/>
                      <a:pt x="206467" y="46424"/>
                    </a:cubicBezTo>
                    <a:lnTo>
                      <a:pt x="179910" y="19867"/>
                    </a:lnTo>
                    <a:cubicBezTo>
                      <a:pt x="175796" y="15747"/>
                      <a:pt x="169121" y="15743"/>
                      <a:pt x="165001" y="19857"/>
                    </a:cubicBezTo>
                    <a:cubicBezTo>
                      <a:pt x="164998" y="19861"/>
                      <a:pt x="164995" y="19864"/>
                      <a:pt x="164992" y="19867"/>
                    </a:cubicBezTo>
                    <a:lnTo>
                      <a:pt x="153419" y="31464"/>
                    </a:lnTo>
                    <a:cubicBezTo>
                      <a:pt x="149883" y="29711"/>
                      <a:pt x="146234" y="28195"/>
                      <a:pt x="142497" y="26925"/>
                    </a:cubicBezTo>
                    <a:lnTo>
                      <a:pt x="142497" y="10548"/>
                    </a:lnTo>
                    <a:cubicBezTo>
                      <a:pt x="142494" y="4724"/>
                      <a:pt x="137773" y="3"/>
                      <a:pt x="131949" y="0"/>
                    </a:cubicBezTo>
                    <a:lnTo>
                      <a:pt x="94385" y="0"/>
                    </a:lnTo>
                    <a:cubicBezTo>
                      <a:pt x="88560" y="0"/>
                      <a:pt x="83837" y="4723"/>
                      <a:pt x="83837" y="10548"/>
                    </a:cubicBezTo>
                    <a:lnTo>
                      <a:pt x="83837" y="26931"/>
                    </a:lnTo>
                    <a:cubicBezTo>
                      <a:pt x="80107" y="28201"/>
                      <a:pt x="76465" y="29716"/>
                      <a:pt x="72933" y="31464"/>
                    </a:cubicBezTo>
                    <a:lnTo>
                      <a:pt x="61342" y="19879"/>
                    </a:lnTo>
                    <a:cubicBezTo>
                      <a:pt x="57158" y="15918"/>
                      <a:pt x="50608" y="15918"/>
                      <a:pt x="46424" y="19879"/>
                    </a:cubicBezTo>
                    <a:lnTo>
                      <a:pt x="19867" y="46436"/>
                    </a:lnTo>
                    <a:cubicBezTo>
                      <a:pt x="15747" y="50551"/>
                      <a:pt x="15743" y="57225"/>
                      <a:pt x="19857" y="61345"/>
                    </a:cubicBezTo>
                    <a:cubicBezTo>
                      <a:pt x="19861" y="61348"/>
                      <a:pt x="19864" y="61351"/>
                      <a:pt x="19867" y="61354"/>
                    </a:cubicBezTo>
                    <a:lnTo>
                      <a:pt x="31458" y="72939"/>
                    </a:lnTo>
                    <a:cubicBezTo>
                      <a:pt x="29713" y="76474"/>
                      <a:pt x="28201" y="80118"/>
                      <a:pt x="26931" y="83849"/>
                    </a:cubicBezTo>
                    <a:lnTo>
                      <a:pt x="10548" y="83849"/>
                    </a:lnTo>
                    <a:cubicBezTo>
                      <a:pt x="4723" y="83849"/>
                      <a:pt x="0" y="88572"/>
                      <a:pt x="0" y="94397"/>
                    </a:cubicBezTo>
                    <a:lnTo>
                      <a:pt x="0" y="131961"/>
                    </a:lnTo>
                    <a:cubicBezTo>
                      <a:pt x="7" y="137782"/>
                      <a:pt x="4727" y="142497"/>
                      <a:pt x="10548" y="142497"/>
                    </a:cubicBezTo>
                    <a:close/>
                    <a:moveTo>
                      <a:pt x="21096" y="104933"/>
                    </a:moveTo>
                    <a:lnTo>
                      <a:pt x="34851" y="104933"/>
                    </a:lnTo>
                    <a:cubicBezTo>
                      <a:pt x="39727" y="104928"/>
                      <a:pt x="43964" y="101581"/>
                      <a:pt x="45098" y="96838"/>
                    </a:cubicBezTo>
                    <a:cubicBezTo>
                      <a:pt x="46808" y="89690"/>
                      <a:pt x="49642" y="82858"/>
                      <a:pt x="53494" y="76598"/>
                    </a:cubicBezTo>
                    <a:cubicBezTo>
                      <a:pt x="56051" y="72438"/>
                      <a:pt x="55417" y="67066"/>
                      <a:pt x="51963" y="63615"/>
                    </a:cubicBezTo>
                    <a:lnTo>
                      <a:pt x="42253" y="53886"/>
                    </a:lnTo>
                    <a:lnTo>
                      <a:pt x="53892" y="42241"/>
                    </a:lnTo>
                    <a:lnTo>
                      <a:pt x="63621" y="51957"/>
                    </a:lnTo>
                    <a:cubicBezTo>
                      <a:pt x="67068" y="55415"/>
                      <a:pt x="72440" y="56048"/>
                      <a:pt x="76598" y="53488"/>
                    </a:cubicBezTo>
                    <a:cubicBezTo>
                      <a:pt x="82857" y="49638"/>
                      <a:pt x="89686" y="46805"/>
                      <a:pt x="96832" y="45092"/>
                    </a:cubicBezTo>
                    <a:cubicBezTo>
                      <a:pt x="101578" y="43962"/>
                      <a:pt x="104929" y="39724"/>
                      <a:pt x="104933" y="34845"/>
                    </a:cubicBezTo>
                    <a:lnTo>
                      <a:pt x="104933" y="21096"/>
                    </a:lnTo>
                    <a:lnTo>
                      <a:pt x="121401" y="21096"/>
                    </a:lnTo>
                    <a:lnTo>
                      <a:pt x="121401" y="34821"/>
                    </a:lnTo>
                    <a:cubicBezTo>
                      <a:pt x="121405" y="39701"/>
                      <a:pt x="124759" y="43941"/>
                      <a:pt x="129508" y="45068"/>
                    </a:cubicBezTo>
                    <a:cubicBezTo>
                      <a:pt x="136654" y="46770"/>
                      <a:pt x="143481" y="49607"/>
                      <a:pt x="149730" y="53470"/>
                    </a:cubicBezTo>
                    <a:cubicBezTo>
                      <a:pt x="153889" y="56043"/>
                      <a:pt x="159272" y="55414"/>
                      <a:pt x="162725" y="51951"/>
                    </a:cubicBezTo>
                    <a:lnTo>
                      <a:pt x="172448" y="42241"/>
                    </a:lnTo>
                    <a:lnTo>
                      <a:pt x="184093" y="53886"/>
                    </a:lnTo>
                    <a:lnTo>
                      <a:pt x="174371" y="63609"/>
                    </a:lnTo>
                    <a:cubicBezTo>
                      <a:pt x="170908" y="67062"/>
                      <a:pt x="170279" y="72445"/>
                      <a:pt x="172852" y="76604"/>
                    </a:cubicBezTo>
                    <a:cubicBezTo>
                      <a:pt x="176712" y="82854"/>
                      <a:pt x="179549" y="89681"/>
                      <a:pt x="181254" y="96826"/>
                    </a:cubicBezTo>
                    <a:cubicBezTo>
                      <a:pt x="182383" y="101574"/>
                      <a:pt x="186621" y="104926"/>
                      <a:pt x="191501" y="104933"/>
                    </a:cubicBezTo>
                    <a:lnTo>
                      <a:pt x="205232" y="104933"/>
                    </a:lnTo>
                    <a:lnTo>
                      <a:pt x="205232" y="121401"/>
                    </a:lnTo>
                    <a:lnTo>
                      <a:pt x="191483" y="121401"/>
                    </a:lnTo>
                    <a:cubicBezTo>
                      <a:pt x="186608" y="121411"/>
                      <a:pt x="182374" y="124756"/>
                      <a:pt x="181236" y="129496"/>
                    </a:cubicBezTo>
                    <a:cubicBezTo>
                      <a:pt x="179529" y="136642"/>
                      <a:pt x="176696" y="143472"/>
                      <a:pt x="172846" y="149730"/>
                    </a:cubicBezTo>
                    <a:cubicBezTo>
                      <a:pt x="170289" y="153891"/>
                      <a:pt x="170923" y="159262"/>
                      <a:pt x="174377" y="162713"/>
                    </a:cubicBezTo>
                    <a:lnTo>
                      <a:pt x="184111" y="172448"/>
                    </a:lnTo>
                    <a:lnTo>
                      <a:pt x="172448" y="184093"/>
                    </a:lnTo>
                    <a:lnTo>
                      <a:pt x="162713" y="174359"/>
                    </a:lnTo>
                    <a:cubicBezTo>
                      <a:pt x="159263" y="170908"/>
                      <a:pt x="153895" y="170274"/>
                      <a:pt x="149736" y="172828"/>
                    </a:cubicBezTo>
                    <a:cubicBezTo>
                      <a:pt x="143476" y="176679"/>
                      <a:pt x="136644" y="179513"/>
                      <a:pt x="129496" y="181224"/>
                    </a:cubicBezTo>
                    <a:cubicBezTo>
                      <a:pt x="124752" y="182356"/>
                      <a:pt x="121404" y="186594"/>
                      <a:pt x="121401" y="191471"/>
                    </a:cubicBezTo>
                    <a:lnTo>
                      <a:pt x="121401" y="205238"/>
                    </a:lnTo>
                    <a:lnTo>
                      <a:pt x="104939" y="205238"/>
                    </a:lnTo>
                    <a:lnTo>
                      <a:pt x="104939" y="191519"/>
                    </a:lnTo>
                    <a:cubicBezTo>
                      <a:pt x="104937" y="186638"/>
                      <a:pt x="101582" y="182398"/>
                      <a:pt x="96832" y="181272"/>
                    </a:cubicBezTo>
                    <a:cubicBezTo>
                      <a:pt x="89687" y="179558"/>
                      <a:pt x="82860" y="176716"/>
                      <a:pt x="76610" y="172852"/>
                    </a:cubicBezTo>
                    <a:cubicBezTo>
                      <a:pt x="72449" y="170286"/>
                      <a:pt x="67071" y="170914"/>
                      <a:pt x="63615" y="174371"/>
                    </a:cubicBezTo>
                    <a:lnTo>
                      <a:pt x="53886" y="184093"/>
                    </a:lnTo>
                    <a:lnTo>
                      <a:pt x="42253" y="172448"/>
                    </a:lnTo>
                    <a:lnTo>
                      <a:pt x="51975" y="162725"/>
                    </a:lnTo>
                    <a:cubicBezTo>
                      <a:pt x="55431" y="159271"/>
                      <a:pt x="56062" y="153897"/>
                      <a:pt x="53500" y="149736"/>
                    </a:cubicBezTo>
                    <a:cubicBezTo>
                      <a:pt x="49636" y="143485"/>
                      <a:pt x="46797" y="136656"/>
                      <a:pt x="45092" y="129508"/>
                    </a:cubicBezTo>
                    <a:cubicBezTo>
                      <a:pt x="43963" y="124761"/>
                      <a:pt x="39725" y="121408"/>
                      <a:pt x="34845" y="121401"/>
                    </a:cubicBezTo>
                    <a:lnTo>
                      <a:pt x="21096" y="121401"/>
                    </a:lnTo>
                    <a:close/>
                  </a:path>
                </a:pathLst>
              </a:custGeom>
              <a:grpFill/>
              <a:ln w="6028" cap="flat">
                <a:noFill/>
                <a:prstDash val="solid"/>
                <a:miter/>
              </a:ln>
            </p:spPr>
            <p:txBody>
              <a:bodyPr/>
              <a:lstStyle/>
              <a:p>
                <a:endParaRPr lang="en-IN"/>
              </a:p>
            </p:txBody>
          </p:sp>
          <p:sp>
            <p:nvSpPr>
              <p:cNvPr id="125" name="Freeform: Shape 124">
                <a:extLst>
                  <a:ext uri="{FF2B5EF4-FFF2-40B4-BE49-F238E27FC236}">
                    <a16:creationId xmlns:a16="http://schemas.microsoft.com/office/drawing/2014/main" id="{E59B5605-AD2C-FD4C-9A60-410F2211A2BF}"/>
                  </a:ext>
                </a:extLst>
              </p:cNvPr>
              <p:cNvSpPr/>
              <p:nvPr/>
            </p:nvSpPr>
            <p:spPr>
              <a:xfrm>
                <a:off x="4454551" y="1190492"/>
                <a:ext cx="98634" cy="98634"/>
              </a:xfrm>
              <a:custGeom>
                <a:avLst/>
                <a:gdLst>
                  <a:gd name="csX0" fmla="*/ 49317 w 98634"/>
                  <a:gd name="csY0" fmla="*/ 98635 h 98634"/>
                  <a:gd name="csX1" fmla="*/ 98635 w 98634"/>
                  <a:gd name="csY1" fmla="*/ 49317 h 98634"/>
                  <a:gd name="csX2" fmla="*/ 49317 w 98634"/>
                  <a:gd name="csY2" fmla="*/ 0 h 98634"/>
                  <a:gd name="csX3" fmla="*/ 0 w 98634"/>
                  <a:gd name="csY3" fmla="*/ 49317 h 98634"/>
                  <a:gd name="csX4" fmla="*/ 49317 w 98634"/>
                  <a:gd name="csY4" fmla="*/ 98635 h 98634"/>
                  <a:gd name="csX5" fmla="*/ 49317 w 98634"/>
                  <a:gd name="csY5" fmla="*/ 21096 h 98634"/>
                  <a:gd name="csX6" fmla="*/ 77538 w 98634"/>
                  <a:gd name="csY6" fmla="*/ 49317 h 98634"/>
                  <a:gd name="csX7" fmla="*/ 49317 w 98634"/>
                  <a:gd name="csY7" fmla="*/ 77538 h 98634"/>
                  <a:gd name="csX8" fmla="*/ 21096 w 98634"/>
                  <a:gd name="csY8" fmla="*/ 49317 h 98634"/>
                  <a:gd name="csX9" fmla="*/ 49317 w 98634"/>
                  <a:gd name="csY9" fmla="*/ 21096 h 9863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98634" h="98634">
                    <a:moveTo>
                      <a:pt x="49317" y="98635"/>
                    </a:moveTo>
                    <a:cubicBezTo>
                      <a:pt x="76555" y="98635"/>
                      <a:pt x="98635" y="76555"/>
                      <a:pt x="98635" y="49317"/>
                    </a:cubicBezTo>
                    <a:cubicBezTo>
                      <a:pt x="98635" y="22080"/>
                      <a:pt x="76555" y="0"/>
                      <a:pt x="49317" y="0"/>
                    </a:cubicBezTo>
                    <a:cubicBezTo>
                      <a:pt x="22080" y="0"/>
                      <a:pt x="0" y="22080"/>
                      <a:pt x="0" y="49317"/>
                    </a:cubicBezTo>
                    <a:cubicBezTo>
                      <a:pt x="30" y="76542"/>
                      <a:pt x="22093" y="98605"/>
                      <a:pt x="49317" y="98635"/>
                    </a:cubicBezTo>
                    <a:close/>
                    <a:moveTo>
                      <a:pt x="49317" y="21096"/>
                    </a:moveTo>
                    <a:cubicBezTo>
                      <a:pt x="64903" y="21096"/>
                      <a:pt x="77538" y="33731"/>
                      <a:pt x="77538" y="49317"/>
                    </a:cubicBezTo>
                    <a:cubicBezTo>
                      <a:pt x="77538" y="64903"/>
                      <a:pt x="64903" y="77538"/>
                      <a:pt x="49317" y="77538"/>
                    </a:cubicBezTo>
                    <a:cubicBezTo>
                      <a:pt x="33731" y="77538"/>
                      <a:pt x="21096" y="64903"/>
                      <a:pt x="21096" y="49317"/>
                    </a:cubicBezTo>
                    <a:cubicBezTo>
                      <a:pt x="21116" y="33740"/>
                      <a:pt x="33740" y="21116"/>
                      <a:pt x="49317" y="21096"/>
                    </a:cubicBezTo>
                    <a:close/>
                  </a:path>
                </a:pathLst>
              </a:custGeom>
              <a:grpFill/>
              <a:ln w="6028" cap="flat">
                <a:noFill/>
                <a:prstDash val="solid"/>
                <a:miter/>
              </a:ln>
            </p:spPr>
            <p:txBody>
              <a:bodyPr/>
              <a:lstStyle/>
              <a:p>
                <a:endParaRPr lang="en-IN"/>
              </a:p>
            </p:txBody>
          </p:sp>
          <p:sp>
            <p:nvSpPr>
              <p:cNvPr id="126" name="Freeform: Shape 125">
                <a:extLst>
                  <a:ext uri="{FF2B5EF4-FFF2-40B4-BE49-F238E27FC236}">
                    <a16:creationId xmlns:a16="http://schemas.microsoft.com/office/drawing/2014/main" id="{FCD7A2B1-F967-F6B8-340C-5F045CA2B03B}"/>
                  </a:ext>
                </a:extLst>
              </p:cNvPr>
              <p:cNvSpPr/>
              <p:nvPr/>
            </p:nvSpPr>
            <p:spPr>
              <a:xfrm>
                <a:off x="4273707" y="1027007"/>
                <a:ext cx="460323" cy="481608"/>
              </a:xfrm>
              <a:custGeom>
                <a:avLst/>
                <a:gdLst>
                  <a:gd name="csX0" fmla="*/ 449775 w 460323"/>
                  <a:gd name="csY0" fmla="*/ 0 h 481608"/>
                  <a:gd name="csX1" fmla="*/ 10548 w 460323"/>
                  <a:gd name="csY1" fmla="*/ 0 h 481608"/>
                  <a:gd name="csX2" fmla="*/ 0 w 460323"/>
                  <a:gd name="csY2" fmla="*/ 10548 h 481608"/>
                  <a:gd name="csX3" fmla="*/ 0 w 460323"/>
                  <a:gd name="csY3" fmla="*/ 56110 h 481608"/>
                  <a:gd name="csX4" fmla="*/ 10548 w 460323"/>
                  <a:gd name="csY4" fmla="*/ 66659 h 481608"/>
                  <a:gd name="csX5" fmla="*/ 23073 w 460323"/>
                  <a:gd name="csY5" fmla="*/ 66659 h 481608"/>
                  <a:gd name="csX6" fmla="*/ 23073 w 460323"/>
                  <a:gd name="csY6" fmla="*/ 369494 h 481608"/>
                  <a:gd name="csX7" fmla="*/ 33622 w 460323"/>
                  <a:gd name="csY7" fmla="*/ 380042 h 481608"/>
                  <a:gd name="csX8" fmla="*/ 219613 w 460323"/>
                  <a:gd name="csY8" fmla="*/ 380042 h 481608"/>
                  <a:gd name="csX9" fmla="*/ 219613 w 460323"/>
                  <a:gd name="csY9" fmla="*/ 414755 h 481608"/>
                  <a:gd name="csX10" fmla="*/ 197572 w 460323"/>
                  <a:gd name="csY10" fmla="*/ 457893 h 481608"/>
                  <a:gd name="csX11" fmla="*/ 240710 w 460323"/>
                  <a:gd name="csY11" fmla="*/ 479935 h 481608"/>
                  <a:gd name="csX12" fmla="*/ 262752 w 460323"/>
                  <a:gd name="csY12" fmla="*/ 436797 h 481608"/>
                  <a:gd name="csX13" fmla="*/ 240710 w 460323"/>
                  <a:gd name="csY13" fmla="*/ 414755 h 481608"/>
                  <a:gd name="csX14" fmla="*/ 240710 w 460323"/>
                  <a:gd name="csY14" fmla="*/ 380036 h 481608"/>
                  <a:gd name="csX15" fmla="*/ 426702 w 460323"/>
                  <a:gd name="csY15" fmla="*/ 380036 h 481608"/>
                  <a:gd name="csX16" fmla="*/ 437250 w 460323"/>
                  <a:gd name="csY16" fmla="*/ 369500 h 481608"/>
                  <a:gd name="csX17" fmla="*/ 437250 w 460323"/>
                  <a:gd name="csY17" fmla="*/ 369488 h 481608"/>
                  <a:gd name="csX18" fmla="*/ 437250 w 460323"/>
                  <a:gd name="csY18" fmla="*/ 66659 h 481608"/>
                  <a:gd name="csX19" fmla="*/ 449775 w 460323"/>
                  <a:gd name="csY19" fmla="*/ 66659 h 481608"/>
                  <a:gd name="csX20" fmla="*/ 460323 w 460323"/>
                  <a:gd name="csY20" fmla="*/ 56110 h 481608"/>
                  <a:gd name="csX21" fmla="*/ 460323 w 460323"/>
                  <a:gd name="csY21" fmla="*/ 10548 h 481608"/>
                  <a:gd name="csX22" fmla="*/ 449775 w 460323"/>
                  <a:gd name="csY22" fmla="*/ 0 h 481608"/>
                  <a:gd name="csX23" fmla="*/ 230162 w 460323"/>
                  <a:gd name="csY23" fmla="*/ 460504 h 481608"/>
                  <a:gd name="csX24" fmla="*/ 217003 w 460323"/>
                  <a:gd name="csY24" fmla="*/ 447346 h 481608"/>
                  <a:gd name="csX25" fmla="*/ 230162 w 460323"/>
                  <a:gd name="csY25" fmla="*/ 434188 h 481608"/>
                  <a:gd name="csX26" fmla="*/ 243320 w 460323"/>
                  <a:gd name="csY26" fmla="*/ 447340 h 481608"/>
                  <a:gd name="csX27" fmla="*/ 230162 w 460323"/>
                  <a:gd name="csY27" fmla="*/ 460492 h 481608"/>
                  <a:gd name="csX28" fmla="*/ 416153 w 460323"/>
                  <a:gd name="csY28" fmla="*/ 358940 h 481608"/>
                  <a:gd name="csX29" fmla="*/ 44170 w 460323"/>
                  <a:gd name="csY29" fmla="*/ 358940 h 481608"/>
                  <a:gd name="csX30" fmla="*/ 44170 w 460323"/>
                  <a:gd name="csY30" fmla="*/ 66659 h 481608"/>
                  <a:gd name="csX31" fmla="*/ 416153 w 460323"/>
                  <a:gd name="csY31" fmla="*/ 66659 h 481608"/>
                  <a:gd name="csX32" fmla="*/ 439227 w 460323"/>
                  <a:gd name="csY32" fmla="*/ 45556 h 481608"/>
                  <a:gd name="csX33" fmla="*/ 21096 w 460323"/>
                  <a:gd name="csY33" fmla="*/ 45556 h 481608"/>
                  <a:gd name="csX34" fmla="*/ 21096 w 460323"/>
                  <a:gd name="csY34" fmla="*/ 21096 h 481608"/>
                  <a:gd name="csX35" fmla="*/ 439227 w 460323"/>
                  <a:gd name="csY35" fmla="*/ 21096 h 48160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Lst>
                <a:rect l="l" t="t" r="r" b="b"/>
                <a:pathLst>
                  <a:path w="460323" h="481608">
                    <a:moveTo>
                      <a:pt x="449775" y="0"/>
                    </a:moveTo>
                    <a:lnTo>
                      <a:pt x="10548" y="0"/>
                    </a:lnTo>
                    <a:cubicBezTo>
                      <a:pt x="4724" y="3"/>
                      <a:pt x="3" y="4724"/>
                      <a:pt x="0" y="10548"/>
                    </a:cubicBezTo>
                    <a:lnTo>
                      <a:pt x="0" y="56110"/>
                    </a:lnTo>
                    <a:cubicBezTo>
                      <a:pt x="3" y="61935"/>
                      <a:pt x="4724" y="66655"/>
                      <a:pt x="10548" y="66659"/>
                    </a:cubicBezTo>
                    <a:lnTo>
                      <a:pt x="23073" y="66659"/>
                    </a:lnTo>
                    <a:lnTo>
                      <a:pt x="23073" y="369494"/>
                    </a:lnTo>
                    <a:cubicBezTo>
                      <a:pt x="23073" y="375320"/>
                      <a:pt x="27796" y="380042"/>
                      <a:pt x="33622" y="380042"/>
                    </a:cubicBezTo>
                    <a:lnTo>
                      <a:pt x="219613" y="380042"/>
                    </a:lnTo>
                    <a:lnTo>
                      <a:pt x="219613" y="414755"/>
                    </a:lnTo>
                    <a:cubicBezTo>
                      <a:pt x="201614" y="420581"/>
                      <a:pt x="191746" y="439894"/>
                      <a:pt x="197572" y="457893"/>
                    </a:cubicBezTo>
                    <a:cubicBezTo>
                      <a:pt x="203397" y="475892"/>
                      <a:pt x="222711" y="485761"/>
                      <a:pt x="240710" y="479935"/>
                    </a:cubicBezTo>
                    <a:cubicBezTo>
                      <a:pt x="258709" y="474109"/>
                      <a:pt x="268577" y="454796"/>
                      <a:pt x="262752" y="436797"/>
                    </a:cubicBezTo>
                    <a:cubicBezTo>
                      <a:pt x="259367" y="426338"/>
                      <a:pt x="251168" y="418140"/>
                      <a:pt x="240710" y="414755"/>
                    </a:cubicBezTo>
                    <a:lnTo>
                      <a:pt x="240710" y="380036"/>
                    </a:lnTo>
                    <a:lnTo>
                      <a:pt x="426702" y="380036"/>
                    </a:lnTo>
                    <a:cubicBezTo>
                      <a:pt x="432524" y="380040"/>
                      <a:pt x="437246" y="375323"/>
                      <a:pt x="437250" y="369500"/>
                    </a:cubicBezTo>
                    <a:cubicBezTo>
                      <a:pt x="437250" y="369496"/>
                      <a:pt x="437250" y="369492"/>
                      <a:pt x="437250" y="369488"/>
                    </a:cubicBezTo>
                    <a:lnTo>
                      <a:pt x="437250" y="66659"/>
                    </a:lnTo>
                    <a:lnTo>
                      <a:pt x="449775" y="66659"/>
                    </a:lnTo>
                    <a:cubicBezTo>
                      <a:pt x="455601" y="66659"/>
                      <a:pt x="460323" y="61936"/>
                      <a:pt x="460323" y="56110"/>
                    </a:cubicBezTo>
                    <a:lnTo>
                      <a:pt x="460323" y="10548"/>
                    </a:lnTo>
                    <a:cubicBezTo>
                      <a:pt x="460323" y="4723"/>
                      <a:pt x="455601" y="0"/>
                      <a:pt x="449775" y="0"/>
                    </a:cubicBezTo>
                    <a:close/>
                    <a:moveTo>
                      <a:pt x="230162" y="460504"/>
                    </a:moveTo>
                    <a:cubicBezTo>
                      <a:pt x="222895" y="460504"/>
                      <a:pt x="217003" y="454613"/>
                      <a:pt x="217003" y="447346"/>
                    </a:cubicBezTo>
                    <a:cubicBezTo>
                      <a:pt x="217003" y="440079"/>
                      <a:pt x="222895" y="434188"/>
                      <a:pt x="230162" y="434188"/>
                    </a:cubicBezTo>
                    <a:cubicBezTo>
                      <a:pt x="237426" y="434188"/>
                      <a:pt x="243316" y="440075"/>
                      <a:pt x="243320" y="447340"/>
                    </a:cubicBezTo>
                    <a:cubicBezTo>
                      <a:pt x="243306" y="454600"/>
                      <a:pt x="237422" y="460482"/>
                      <a:pt x="230162" y="460492"/>
                    </a:cubicBezTo>
                    <a:close/>
                    <a:moveTo>
                      <a:pt x="416153" y="358940"/>
                    </a:moveTo>
                    <a:lnTo>
                      <a:pt x="44170" y="358940"/>
                    </a:lnTo>
                    <a:lnTo>
                      <a:pt x="44170" y="66659"/>
                    </a:lnTo>
                    <a:lnTo>
                      <a:pt x="416153" y="66659"/>
                    </a:lnTo>
                    <a:close/>
                    <a:moveTo>
                      <a:pt x="439227" y="45556"/>
                    </a:moveTo>
                    <a:lnTo>
                      <a:pt x="21096" y="45556"/>
                    </a:lnTo>
                    <a:lnTo>
                      <a:pt x="21096" y="21096"/>
                    </a:lnTo>
                    <a:lnTo>
                      <a:pt x="439227" y="21096"/>
                    </a:lnTo>
                    <a:close/>
                  </a:path>
                </a:pathLst>
              </a:custGeom>
              <a:grpFill/>
              <a:ln w="6028" cap="flat">
                <a:noFill/>
                <a:prstDash val="solid"/>
                <a:miter/>
              </a:ln>
            </p:spPr>
            <p:txBody>
              <a:bodyPr/>
              <a:lstStyle/>
              <a:p>
                <a:endParaRPr lang="en-IN"/>
              </a:p>
            </p:txBody>
          </p:sp>
        </p:grpSp>
      </p:grpSp>
      <p:grpSp>
        <p:nvGrpSpPr>
          <p:cNvPr id="4" name="Group 3">
            <a:extLst>
              <a:ext uri="{FF2B5EF4-FFF2-40B4-BE49-F238E27FC236}">
                <a16:creationId xmlns:a16="http://schemas.microsoft.com/office/drawing/2014/main" id="{E6D5CBFF-ECEC-BBDD-7BED-6C0A3D08654C}"/>
              </a:ext>
            </a:extLst>
          </p:cNvPr>
          <p:cNvGrpSpPr/>
          <p:nvPr/>
        </p:nvGrpSpPr>
        <p:grpSpPr>
          <a:xfrm>
            <a:off x="5775671" y="1967760"/>
            <a:ext cx="689054" cy="689054"/>
            <a:chOff x="5775671" y="1967760"/>
            <a:chExt cx="689054" cy="689054"/>
          </a:xfrm>
        </p:grpSpPr>
        <p:sp>
          <p:nvSpPr>
            <p:cNvPr id="16" name="Oval 15">
              <a:extLst>
                <a:ext uri="{FF2B5EF4-FFF2-40B4-BE49-F238E27FC236}">
                  <a16:creationId xmlns:a16="http://schemas.microsoft.com/office/drawing/2014/main" id="{C04BBF7A-BCA4-841C-9ADA-9646F9C178D9}"/>
                </a:ext>
              </a:extLst>
            </p:cNvPr>
            <p:cNvSpPr>
              <a:spLocks noChangeAspect="1"/>
            </p:cNvSpPr>
            <p:nvPr/>
          </p:nvSpPr>
          <p:spPr>
            <a:xfrm>
              <a:off x="5775671" y="1967760"/>
              <a:ext cx="689054" cy="68905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sp>
          <p:nvSpPr>
            <p:cNvPr id="118" name="Pic">
              <a:extLst>
                <a:ext uri="{FF2B5EF4-FFF2-40B4-BE49-F238E27FC236}">
                  <a16:creationId xmlns:a16="http://schemas.microsoft.com/office/drawing/2014/main" id="{50D7FCE7-46C5-7231-6EA7-F68F48C82B77}"/>
                </a:ext>
              </a:extLst>
            </p:cNvPr>
            <p:cNvSpPr>
              <a:spLocks noChangeAspect="1"/>
            </p:cNvSpPr>
            <p:nvPr/>
          </p:nvSpPr>
          <p:spPr>
            <a:xfrm>
              <a:off x="5929140" y="2126825"/>
              <a:ext cx="382117" cy="370923"/>
            </a:xfrm>
            <a:custGeom>
              <a:avLst/>
              <a:gdLst>
                <a:gd name="csX0" fmla="*/ 401275 w 744638"/>
                <a:gd name="csY0" fmla="*/ 695091 h 722823"/>
                <a:gd name="csX1" fmla="*/ 389603 w 744638"/>
                <a:gd name="csY1" fmla="*/ 706764 h 722823"/>
                <a:gd name="csX2" fmla="*/ 163565 w 744638"/>
                <a:gd name="csY2" fmla="*/ 706764 h 722823"/>
                <a:gd name="csX3" fmla="*/ 69978 w 744638"/>
                <a:gd name="csY3" fmla="*/ 613222 h 722823"/>
                <a:gd name="csX4" fmla="*/ 69978 w 744638"/>
                <a:gd name="csY4" fmla="*/ 464885 h 722823"/>
                <a:gd name="csX5" fmla="*/ 50786 w 744638"/>
                <a:gd name="csY5" fmla="*/ 484078 h 722823"/>
                <a:gd name="csX6" fmla="*/ 34275 w 744638"/>
                <a:gd name="csY6" fmla="*/ 484078 h 722823"/>
                <a:gd name="csX7" fmla="*/ 34275 w 744638"/>
                <a:gd name="csY7" fmla="*/ 467581 h 722823"/>
                <a:gd name="csX8" fmla="*/ 73388 w 744638"/>
                <a:gd name="csY8" fmla="*/ 428468 h 722823"/>
                <a:gd name="csX9" fmla="*/ 74248 w 744638"/>
                <a:gd name="csY9" fmla="*/ 427696 h 722823"/>
                <a:gd name="csX10" fmla="*/ 74613 w 744638"/>
                <a:gd name="csY10" fmla="*/ 427419 h 722823"/>
                <a:gd name="csX11" fmla="*/ 75152 w 744638"/>
                <a:gd name="csY11" fmla="*/ 427011 h 722823"/>
                <a:gd name="csX12" fmla="*/ 75633 w 744638"/>
                <a:gd name="csY12" fmla="*/ 426719 h 722823"/>
                <a:gd name="csX13" fmla="*/ 76143 w 744638"/>
                <a:gd name="csY13" fmla="*/ 426428 h 722823"/>
                <a:gd name="csX14" fmla="*/ 76653 w 744638"/>
                <a:gd name="csY14" fmla="*/ 426180 h 722823"/>
                <a:gd name="csX15" fmla="*/ 77177 w 744638"/>
                <a:gd name="csY15" fmla="*/ 425932 h 722823"/>
                <a:gd name="csX16" fmla="*/ 77687 w 744638"/>
                <a:gd name="csY16" fmla="*/ 425743 h 722823"/>
                <a:gd name="csX17" fmla="*/ 78256 w 744638"/>
                <a:gd name="csY17" fmla="*/ 425539 h 722823"/>
                <a:gd name="csX18" fmla="*/ 78766 w 744638"/>
                <a:gd name="csY18" fmla="*/ 425408 h 722823"/>
                <a:gd name="csX19" fmla="*/ 79349 w 744638"/>
                <a:gd name="csY19" fmla="*/ 425262 h 722823"/>
                <a:gd name="csX20" fmla="*/ 79975 w 744638"/>
                <a:gd name="csY20" fmla="*/ 425160 h 722823"/>
                <a:gd name="csX21" fmla="*/ 80485 w 744638"/>
                <a:gd name="csY21" fmla="*/ 425087 h 722823"/>
                <a:gd name="csX22" fmla="*/ 82788 w 744638"/>
                <a:gd name="csY22" fmla="*/ 425087 h 722823"/>
                <a:gd name="csX23" fmla="*/ 83240 w 744638"/>
                <a:gd name="csY23" fmla="*/ 425146 h 722823"/>
                <a:gd name="csX24" fmla="*/ 83910 w 744638"/>
                <a:gd name="csY24" fmla="*/ 425248 h 722823"/>
                <a:gd name="csX25" fmla="*/ 84435 w 744638"/>
                <a:gd name="csY25" fmla="*/ 425379 h 722823"/>
                <a:gd name="csX26" fmla="*/ 85017 w 744638"/>
                <a:gd name="csY26" fmla="*/ 425524 h 722823"/>
                <a:gd name="csX27" fmla="*/ 85527 w 744638"/>
                <a:gd name="csY27" fmla="*/ 425699 h 722823"/>
                <a:gd name="csX28" fmla="*/ 86096 w 744638"/>
                <a:gd name="csY28" fmla="*/ 425903 h 722823"/>
                <a:gd name="csX29" fmla="*/ 86562 w 744638"/>
                <a:gd name="csY29" fmla="*/ 426122 h 722823"/>
                <a:gd name="csX30" fmla="*/ 87130 w 744638"/>
                <a:gd name="csY30" fmla="*/ 426399 h 722823"/>
                <a:gd name="csX31" fmla="*/ 87582 w 744638"/>
                <a:gd name="csY31" fmla="*/ 426661 h 722823"/>
                <a:gd name="csX32" fmla="*/ 88121 w 744638"/>
                <a:gd name="csY32" fmla="*/ 426982 h 722823"/>
                <a:gd name="csX33" fmla="*/ 88602 w 744638"/>
                <a:gd name="csY33" fmla="*/ 427346 h 722823"/>
                <a:gd name="csX34" fmla="*/ 89025 w 744638"/>
                <a:gd name="csY34" fmla="*/ 427667 h 722823"/>
                <a:gd name="csX35" fmla="*/ 89870 w 744638"/>
                <a:gd name="csY35" fmla="*/ 428439 h 722823"/>
                <a:gd name="csX36" fmla="*/ 89870 w 744638"/>
                <a:gd name="csY36" fmla="*/ 428439 h 722823"/>
                <a:gd name="csX37" fmla="*/ 129027 w 744638"/>
                <a:gd name="csY37" fmla="*/ 467552 h 722823"/>
                <a:gd name="csX38" fmla="*/ 129027 w 744638"/>
                <a:gd name="csY38" fmla="*/ 484049 h 722823"/>
                <a:gd name="csX39" fmla="*/ 120764 w 744638"/>
                <a:gd name="csY39" fmla="*/ 487473 h 722823"/>
                <a:gd name="csX40" fmla="*/ 112516 w 744638"/>
                <a:gd name="csY40" fmla="*/ 484063 h 722823"/>
                <a:gd name="csX41" fmla="*/ 93280 w 744638"/>
                <a:gd name="csY41" fmla="*/ 464842 h 722823"/>
                <a:gd name="csX42" fmla="*/ 93280 w 744638"/>
                <a:gd name="csY42" fmla="*/ 613207 h 722823"/>
                <a:gd name="csX43" fmla="*/ 163521 w 744638"/>
                <a:gd name="csY43" fmla="*/ 683404 h 722823"/>
                <a:gd name="csX44" fmla="*/ 389559 w 744638"/>
                <a:gd name="csY44" fmla="*/ 683404 h 722823"/>
                <a:gd name="csX45" fmla="*/ 401232 w 744638"/>
                <a:gd name="csY45" fmla="*/ 695077 h 722823"/>
                <a:gd name="csX46" fmla="*/ 363867 w 744638"/>
                <a:gd name="csY46" fmla="*/ 93324 h 722823"/>
                <a:gd name="csX47" fmla="*/ 559302 w 744638"/>
                <a:gd name="csY47" fmla="*/ 93324 h 722823"/>
                <a:gd name="csX48" fmla="*/ 629543 w 744638"/>
                <a:gd name="csY48" fmla="*/ 163521 h 722823"/>
                <a:gd name="csX49" fmla="*/ 629543 w 744638"/>
                <a:gd name="csY49" fmla="*/ 257952 h 722823"/>
                <a:gd name="csX50" fmla="*/ 610307 w 744638"/>
                <a:gd name="csY50" fmla="*/ 238716 h 722823"/>
                <a:gd name="csX51" fmla="*/ 593811 w 744638"/>
                <a:gd name="csY51" fmla="*/ 238716 h 722823"/>
                <a:gd name="csX52" fmla="*/ 593811 w 744638"/>
                <a:gd name="csY52" fmla="*/ 255213 h 722823"/>
                <a:gd name="csX53" fmla="*/ 632968 w 744638"/>
                <a:gd name="csY53" fmla="*/ 294370 h 722823"/>
                <a:gd name="csX54" fmla="*/ 633827 w 744638"/>
                <a:gd name="csY54" fmla="*/ 295157 h 722823"/>
                <a:gd name="csX55" fmla="*/ 633944 w 744638"/>
                <a:gd name="csY55" fmla="*/ 295244 h 722823"/>
                <a:gd name="csX56" fmla="*/ 634745 w 744638"/>
                <a:gd name="csY56" fmla="*/ 295841 h 722823"/>
                <a:gd name="csX57" fmla="*/ 634877 w 744638"/>
                <a:gd name="csY57" fmla="*/ 295914 h 722823"/>
                <a:gd name="csX58" fmla="*/ 635722 w 744638"/>
                <a:gd name="csY58" fmla="*/ 296424 h 722823"/>
                <a:gd name="csX59" fmla="*/ 635809 w 744638"/>
                <a:gd name="csY59" fmla="*/ 296468 h 722823"/>
                <a:gd name="csX60" fmla="*/ 636757 w 744638"/>
                <a:gd name="csY60" fmla="*/ 296905 h 722823"/>
                <a:gd name="csX61" fmla="*/ 636829 w 744638"/>
                <a:gd name="csY61" fmla="*/ 296934 h 722823"/>
                <a:gd name="csX62" fmla="*/ 637835 w 744638"/>
                <a:gd name="csY62" fmla="*/ 297299 h 722823"/>
                <a:gd name="csX63" fmla="*/ 637922 w 744638"/>
                <a:gd name="csY63" fmla="*/ 297313 h 722823"/>
                <a:gd name="csX64" fmla="*/ 638942 w 744638"/>
                <a:gd name="csY64" fmla="*/ 297576 h 722823"/>
                <a:gd name="csX65" fmla="*/ 639190 w 744638"/>
                <a:gd name="csY65" fmla="*/ 297619 h 722823"/>
                <a:gd name="csX66" fmla="*/ 640065 w 744638"/>
                <a:gd name="csY66" fmla="*/ 297751 h 722823"/>
                <a:gd name="csX67" fmla="*/ 641230 w 744638"/>
                <a:gd name="csY67" fmla="*/ 297809 h 722823"/>
                <a:gd name="csX68" fmla="*/ 642396 w 744638"/>
                <a:gd name="csY68" fmla="*/ 297751 h 722823"/>
                <a:gd name="csX69" fmla="*/ 643416 w 744638"/>
                <a:gd name="csY69" fmla="*/ 297605 h 722823"/>
                <a:gd name="csX70" fmla="*/ 643533 w 744638"/>
                <a:gd name="csY70" fmla="*/ 297590 h 722823"/>
                <a:gd name="csX71" fmla="*/ 645704 w 744638"/>
                <a:gd name="csY71" fmla="*/ 296934 h 722823"/>
                <a:gd name="csX72" fmla="*/ 646681 w 744638"/>
                <a:gd name="csY72" fmla="*/ 296468 h 722823"/>
                <a:gd name="csX73" fmla="*/ 646739 w 744638"/>
                <a:gd name="csY73" fmla="*/ 296439 h 722823"/>
                <a:gd name="csX74" fmla="*/ 647613 w 744638"/>
                <a:gd name="csY74" fmla="*/ 295914 h 722823"/>
                <a:gd name="csX75" fmla="*/ 647730 w 744638"/>
                <a:gd name="csY75" fmla="*/ 295841 h 722823"/>
                <a:gd name="csX76" fmla="*/ 648560 w 744638"/>
                <a:gd name="csY76" fmla="*/ 295229 h 722823"/>
                <a:gd name="csX77" fmla="*/ 648648 w 744638"/>
                <a:gd name="csY77" fmla="*/ 295157 h 722823"/>
                <a:gd name="csX78" fmla="*/ 649508 w 744638"/>
                <a:gd name="csY78" fmla="*/ 294370 h 722823"/>
                <a:gd name="csX79" fmla="*/ 688621 w 744638"/>
                <a:gd name="csY79" fmla="*/ 255213 h 722823"/>
                <a:gd name="csX80" fmla="*/ 688621 w 744638"/>
                <a:gd name="csY80" fmla="*/ 238716 h 722823"/>
                <a:gd name="csX81" fmla="*/ 672125 w 744638"/>
                <a:gd name="csY81" fmla="*/ 238716 h 722823"/>
                <a:gd name="csX82" fmla="*/ 652932 w 744638"/>
                <a:gd name="csY82" fmla="*/ 257938 h 722823"/>
                <a:gd name="csX83" fmla="*/ 652932 w 744638"/>
                <a:gd name="csY83" fmla="*/ 163521 h 722823"/>
                <a:gd name="csX84" fmla="*/ 559346 w 744638"/>
                <a:gd name="csY84" fmla="*/ 69978 h 722823"/>
                <a:gd name="csX85" fmla="*/ 363911 w 744638"/>
                <a:gd name="csY85" fmla="*/ 69978 h 722823"/>
                <a:gd name="csX86" fmla="*/ 352238 w 744638"/>
                <a:gd name="csY86" fmla="*/ 81651 h 722823"/>
                <a:gd name="csX87" fmla="*/ 363911 w 744638"/>
                <a:gd name="csY87" fmla="*/ 93324 h 722823"/>
                <a:gd name="csX88" fmla="*/ 290770 w 744638"/>
                <a:gd name="csY88" fmla="*/ 315340 h 722823"/>
                <a:gd name="csX89" fmla="*/ 290770 w 744638"/>
                <a:gd name="csY89" fmla="*/ 206321 h 722823"/>
                <a:gd name="csX90" fmla="*/ 335407 w 744638"/>
                <a:gd name="csY90" fmla="*/ 161685 h 722823"/>
                <a:gd name="csX91" fmla="*/ 519606 w 744638"/>
                <a:gd name="csY91" fmla="*/ 161685 h 722823"/>
                <a:gd name="csX92" fmla="*/ 564243 w 744638"/>
                <a:gd name="csY92" fmla="*/ 206321 h 722823"/>
                <a:gd name="csX93" fmla="*/ 564243 w 744638"/>
                <a:gd name="csY93" fmla="*/ 315340 h 722823"/>
                <a:gd name="csX94" fmla="*/ 519606 w 744638"/>
                <a:gd name="csY94" fmla="*/ 359976 h 722823"/>
                <a:gd name="csX95" fmla="*/ 512145 w 744638"/>
                <a:gd name="csY95" fmla="*/ 359976 h 722823"/>
                <a:gd name="csX96" fmla="*/ 512145 w 744638"/>
                <a:gd name="csY96" fmla="*/ 415761 h 722823"/>
                <a:gd name="csX97" fmla="*/ 505150 w 744638"/>
                <a:gd name="csY97" fmla="*/ 426457 h 722823"/>
                <a:gd name="csX98" fmla="*/ 500472 w 744638"/>
                <a:gd name="csY98" fmla="*/ 427433 h 722823"/>
                <a:gd name="csX99" fmla="*/ 492545 w 744638"/>
                <a:gd name="csY99" fmla="*/ 424329 h 722823"/>
                <a:gd name="csX100" fmla="*/ 422945 w 744638"/>
                <a:gd name="csY100" fmla="*/ 359976 h 722823"/>
                <a:gd name="csX101" fmla="*/ 335392 w 744638"/>
                <a:gd name="csY101" fmla="*/ 359976 h 722823"/>
                <a:gd name="csX102" fmla="*/ 290756 w 744638"/>
                <a:gd name="csY102" fmla="*/ 315340 h 722823"/>
                <a:gd name="csX103" fmla="*/ 314116 w 744638"/>
                <a:gd name="csY103" fmla="*/ 315340 h 722823"/>
                <a:gd name="csX104" fmla="*/ 335407 w 744638"/>
                <a:gd name="csY104" fmla="*/ 336631 h 722823"/>
                <a:gd name="csX105" fmla="*/ 427521 w 744638"/>
                <a:gd name="csY105" fmla="*/ 336631 h 722823"/>
                <a:gd name="csX106" fmla="*/ 435448 w 744638"/>
                <a:gd name="csY106" fmla="*/ 339735 h 722823"/>
                <a:gd name="csX107" fmla="*/ 488814 w 744638"/>
                <a:gd name="csY107" fmla="*/ 389078 h 722823"/>
                <a:gd name="csX108" fmla="*/ 488814 w 744638"/>
                <a:gd name="csY108" fmla="*/ 348303 h 722823"/>
                <a:gd name="csX109" fmla="*/ 500487 w 744638"/>
                <a:gd name="csY109" fmla="*/ 336631 h 722823"/>
                <a:gd name="csX110" fmla="*/ 519606 w 744638"/>
                <a:gd name="csY110" fmla="*/ 336631 h 722823"/>
                <a:gd name="csX111" fmla="*/ 540897 w 744638"/>
                <a:gd name="csY111" fmla="*/ 315340 h 722823"/>
                <a:gd name="csX112" fmla="*/ 540897 w 744638"/>
                <a:gd name="csY112" fmla="*/ 206321 h 722823"/>
                <a:gd name="csX113" fmla="*/ 519606 w 744638"/>
                <a:gd name="csY113" fmla="*/ 185030 h 722823"/>
                <a:gd name="csX114" fmla="*/ 335407 w 744638"/>
                <a:gd name="csY114" fmla="*/ 185030 h 722823"/>
                <a:gd name="csX115" fmla="*/ 314116 w 744638"/>
                <a:gd name="csY115" fmla="*/ 206321 h 722823"/>
                <a:gd name="csX116" fmla="*/ 329519 w 744638"/>
                <a:gd name="csY116" fmla="*/ 260852 h 722823"/>
                <a:gd name="csX117" fmla="*/ 360268 w 744638"/>
                <a:gd name="csY117" fmla="*/ 230060 h 722823"/>
                <a:gd name="csX118" fmla="*/ 391060 w 744638"/>
                <a:gd name="csY118" fmla="*/ 260852 h 722823"/>
                <a:gd name="csX119" fmla="*/ 360268 w 744638"/>
                <a:gd name="csY119" fmla="*/ 291601 h 722823"/>
                <a:gd name="csX120" fmla="*/ 329519 w 744638"/>
                <a:gd name="csY120" fmla="*/ 260852 h 722823"/>
                <a:gd name="csX121" fmla="*/ 352865 w 744638"/>
                <a:gd name="csY121" fmla="*/ 260852 h 722823"/>
                <a:gd name="csX122" fmla="*/ 360282 w 744638"/>
                <a:gd name="csY122" fmla="*/ 268270 h 722823"/>
                <a:gd name="csX123" fmla="*/ 367743 w 744638"/>
                <a:gd name="csY123" fmla="*/ 260852 h 722823"/>
                <a:gd name="csX124" fmla="*/ 360282 w 744638"/>
                <a:gd name="csY124" fmla="*/ 253391 h 722823"/>
                <a:gd name="csX125" fmla="*/ 352865 w 744638"/>
                <a:gd name="csY125" fmla="*/ 260852 h 722823"/>
                <a:gd name="csX126" fmla="*/ 396729 w 744638"/>
                <a:gd name="csY126" fmla="*/ 260852 h 722823"/>
                <a:gd name="csX127" fmla="*/ 427521 w 744638"/>
                <a:gd name="csY127" fmla="*/ 230060 h 722823"/>
                <a:gd name="csX128" fmla="*/ 458269 w 744638"/>
                <a:gd name="csY128" fmla="*/ 260852 h 722823"/>
                <a:gd name="csX129" fmla="*/ 427521 w 744638"/>
                <a:gd name="csY129" fmla="*/ 291601 h 722823"/>
                <a:gd name="csX130" fmla="*/ 396729 w 744638"/>
                <a:gd name="csY130" fmla="*/ 260852 h 722823"/>
                <a:gd name="csX131" fmla="*/ 420074 w 744638"/>
                <a:gd name="csY131" fmla="*/ 260852 h 722823"/>
                <a:gd name="csX132" fmla="*/ 427535 w 744638"/>
                <a:gd name="csY132" fmla="*/ 268270 h 722823"/>
                <a:gd name="csX133" fmla="*/ 434953 w 744638"/>
                <a:gd name="csY133" fmla="*/ 260852 h 722823"/>
                <a:gd name="csX134" fmla="*/ 427535 w 744638"/>
                <a:gd name="csY134" fmla="*/ 253391 h 722823"/>
                <a:gd name="csX135" fmla="*/ 420074 w 744638"/>
                <a:gd name="csY135" fmla="*/ 260852 h 722823"/>
                <a:gd name="csX136" fmla="*/ 463938 w 744638"/>
                <a:gd name="csY136" fmla="*/ 260852 h 722823"/>
                <a:gd name="csX137" fmla="*/ 494730 w 744638"/>
                <a:gd name="csY137" fmla="*/ 230060 h 722823"/>
                <a:gd name="csX138" fmla="*/ 525479 w 744638"/>
                <a:gd name="csY138" fmla="*/ 260852 h 722823"/>
                <a:gd name="csX139" fmla="*/ 494730 w 744638"/>
                <a:gd name="csY139" fmla="*/ 291601 h 722823"/>
                <a:gd name="csX140" fmla="*/ 463938 w 744638"/>
                <a:gd name="csY140" fmla="*/ 260852 h 722823"/>
                <a:gd name="csX141" fmla="*/ 487284 w 744638"/>
                <a:gd name="csY141" fmla="*/ 260852 h 722823"/>
                <a:gd name="csX142" fmla="*/ 494745 w 744638"/>
                <a:gd name="csY142" fmla="*/ 268270 h 722823"/>
                <a:gd name="csX143" fmla="*/ 502163 w 744638"/>
                <a:gd name="csY143" fmla="*/ 260852 h 722823"/>
                <a:gd name="csX144" fmla="*/ 494745 w 744638"/>
                <a:gd name="csY144" fmla="*/ 253391 h 722823"/>
                <a:gd name="csX145" fmla="*/ 487284 w 744638"/>
                <a:gd name="csY145" fmla="*/ 260852 h 722823"/>
                <a:gd name="csX146" fmla="*/ 744639 w 744638"/>
                <a:gd name="csY146" fmla="*/ 621105 h 722823"/>
                <a:gd name="csX147" fmla="*/ 744639 w 744638"/>
                <a:gd name="csY147" fmla="*/ 711150 h 722823"/>
                <a:gd name="csX148" fmla="*/ 732966 w 744638"/>
                <a:gd name="csY148" fmla="*/ 722823 h 722823"/>
                <a:gd name="csX149" fmla="*/ 482839 w 744638"/>
                <a:gd name="csY149" fmla="*/ 722823 h 722823"/>
                <a:gd name="csX150" fmla="*/ 471166 w 744638"/>
                <a:gd name="csY150" fmla="*/ 711150 h 722823"/>
                <a:gd name="csX151" fmla="*/ 471166 w 744638"/>
                <a:gd name="csY151" fmla="*/ 621105 h 722823"/>
                <a:gd name="csX152" fmla="*/ 550398 w 744638"/>
                <a:gd name="csY152" fmla="*/ 537968 h 722823"/>
                <a:gd name="csX153" fmla="*/ 522142 w 744638"/>
                <a:gd name="csY153" fmla="*/ 474372 h 722823"/>
                <a:gd name="csX154" fmla="*/ 607873 w 744638"/>
                <a:gd name="csY154" fmla="*/ 388641 h 722823"/>
                <a:gd name="csX155" fmla="*/ 693649 w 744638"/>
                <a:gd name="csY155" fmla="*/ 474372 h 722823"/>
                <a:gd name="csX156" fmla="*/ 665377 w 744638"/>
                <a:gd name="csY156" fmla="*/ 537968 h 722823"/>
                <a:gd name="csX157" fmla="*/ 744624 w 744638"/>
                <a:gd name="csY157" fmla="*/ 621105 h 722823"/>
                <a:gd name="csX158" fmla="*/ 607888 w 744638"/>
                <a:gd name="csY158" fmla="*/ 536817 h 722823"/>
                <a:gd name="csX159" fmla="*/ 670332 w 744638"/>
                <a:gd name="csY159" fmla="*/ 474372 h 722823"/>
                <a:gd name="csX160" fmla="*/ 607888 w 744638"/>
                <a:gd name="csY160" fmla="*/ 411972 h 722823"/>
                <a:gd name="csX161" fmla="*/ 545487 w 744638"/>
                <a:gd name="csY161" fmla="*/ 474372 h 722823"/>
                <a:gd name="csX162" fmla="*/ 607888 w 744638"/>
                <a:gd name="csY162" fmla="*/ 536817 h 722823"/>
                <a:gd name="csX163" fmla="*/ 721308 w 744638"/>
                <a:gd name="csY163" fmla="*/ 621105 h 722823"/>
                <a:gd name="csX164" fmla="*/ 649857 w 744638"/>
                <a:gd name="csY164" fmla="*/ 560148 h 722823"/>
                <a:gd name="csX165" fmla="*/ 565962 w 744638"/>
                <a:gd name="csY165" fmla="*/ 560148 h 722823"/>
                <a:gd name="csX166" fmla="*/ 494512 w 744638"/>
                <a:gd name="csY166" fmla="*/ 621105 h 722823"/>
                <a:gd name="csX167" fmla="*/ 494512 w 744638"/>
                <a:gd name="csY167" fmla="*/ 699492 h 722823"/>
                <a:gd name="csX168" fmla="*/ 721293 w 744638"/>
                <a:gd name="csY168" fmla="*/ 699492 h 722823"/>
                <a:gd name="csX169" fmla="*/ 721293 w 744638"/>
                <a:gd name="csY169" fmla="*/ 621105 h 722823"/>
                <a:gd name="csX170" fmla="*/ 261843 w 744638"/>
                <a:gd name="csY170" fmla="*/ 334197 h 722823"/>
                <a:gd name="csX171" fmla="*/ 11673 w 744638"/>
                <a:gd name="csY171" fmla="*/ 334197 h 722823"/>
                <a:gd name="csX172" fmla="*/ 0 w 744638"/>
                <a:gd name="csY172" fmla="*/ 322524 h 722823"/>
                <a:gd name="csX173" fmla="*/ 0 w 744638"/>
                <a:gd name="csY173" fmla="*/ 232465 h 722823"/>
                <a:gd name="csX174" fmla="*/ 79247 w 744638"/>
                <a:gd name="csY174" fmla="*/ 149327 h 722823"/>
                <a:gd name="csX175" fmla="*/ 50975 w 744638"/>
                <a:gd name="csY175" fmla="*/ 85732 h 722823"/>
                <a:gd name="csX176" fmla="*/ 136751 w 744638"/>
                <a:gd name="csY176" fmla="*/ 0 h 722823"/>
                <a:gd name="csX177" fmla="*/ 222526 w 744638"/>
                <a:gd name="csY177" fmla="*/ 85732 h 722823"/>
                <a:gd name="csX178" fmla="*/ 194255 w 744638"/>
                <a:gd name="csY178" fmla="*/ 149327 h 722823"/>
                <a:gd name="csX179" fmla="*/ 273501 w 744638"/>
                <a:gd name="csY179" fmla="*/ 232465 h 722823"/>
                <a:gd name="csX180" fmla="*/ 273501 w 744638"/>
                <a:gd name="csY180" fmla="*/ 322524 h 722823"/>
                <a:gd name="csX181" fmla="*/ 261829 w 744638"/>
                <a:gd name="csY181" fmla="*/ 334197 h 722823"/>
                <a:gd name="csX182" fmla="*/ 136765 w 744638"/>
                <a:gd name="csY182" fmla="*/ 148190 h 722823"/>
                <a:gd name="csX183" fmla="*/ 199210 w 744638"/>
                <a:gd name="csY183" fmla="*/ 85746 h 722823"/>
                <a:gd name="csX184" fmla="*/ 136765 w 744638"/>
                <a:gd name="csY184" fmla="*/ 23346 h 722823"/>
                <a:gd name="csX185" fmla="*/ 74321 w 744638"/>
                <a:gd name="csY185" fmla="*/ 85746 h 722823"/>
                <a:gd name="csX186" fmla="*/ 136765 w 744638"/>
                <a:gd name="csY186" fmla="*/ 148190 h 722823"/>
                <a:gd name="csX187" fmla="*/ 250185 w 744638"/>
                <a:gd name="csY187" fmla="*/ 232479 h 722823"/>
                <a:gd name="csX188" fmla="*/ 178735 w 744638"/>
                <a:gd name="csY188" fmla="*/ 171521 h 722823"/>
                <a:gd name="csX189" fmla="*/ 94796 w 744638"/>
                <a:gd name="csY189" fmla="*/ 171521 h 722823"/>
                <a:gd name="csX190" fmla="*/ 23346 w 744638"/>
                <a:gd name="csY190" fmla="*/ 232479 h 722823"/>
                <a:gd name="csX191" fmla="*/ 23346 w 744638"/>
                <a:gd name="csY191" fmla="*/ 310866 h 722823"/>
                <a:gd name="csX192" fmla="*/ 250170 w 744638"/>
                <a:gd name="csY192" fmla="*/ 310866 h 722823"/>
                <a:gd name="csX193" fmla="*/ 250170 w 744638"/>
                <a:gd name="csY193" fmla="*/ 232479 h 722823"/>
                <a:gd name="csX194" fmla="*/ 455238 w 744638"/>
                <a:gd name="csY194" fmla="*/ 463516 h 722823"/>
                <a:gd name="csX195" fmla="*/ 455238 w 744638"/>
                <a:gd name="csY195" fmla="*/ 572491 h 722823"/>
                <a:gd name="csX196" fmla="*/ 410558 w 744638"/>
                <a:gd name="csY196" fmla="*/ 617171 h 722823"/>
                <a:gd name="csX197" fmla="*/ 226359 w 744638"/>
                <a:gd name="csY197" fmla="*/ 617171 h 722823"/>
                <a:gd name="csX198" fmla="*/ 181722 w 744638"/>
                <a:gd name="csY198" fmla="*/ 572491 h 722823"/>
                <a:gd name="csX199" fmla="*/ 181722 w 744638"/>
                <a:gd name="csY199" fmla="*/ 463516 h 722823"/>
                <a:gd name="csX200" fmla="*/ 226359 w 744638"/>
                <a:gd name="csY200" fmla="*/ 418879 h 722823"/>
                <a:gd name="csX201" fmla="*/ 233820 w 744638"/>
                <a:gd name="csY201" fmla="*/ 418879 h 722823"/>
                <a:gd name="csX202" fmla="*/ 233820 w 744638"/>
                <a:gd name="csY202" fmla="*/ 363095 h 722823"/>
                <a:gd name="csX203" fmla="*/ 240815 w 744638"/>
                <a:gd name="csY203" fmla="*/ 352398 h 722823"/>
                <a:gd name="csX204" fmla="*/ 253406 w 744638"/>
                <a:gd name="csY204" fmla="*/ 354526 h 722823"/>
                <a:gd name="csX205" fmla="*/ 323049 w 744638"/>
                <a:gd name="csY205" fmla="*/ 418879 h 722823"/>
                <a:gd name="csX206" fmla="*/ 410558 w 744638"/>
                <a:gd name="csY206" fmla="*/ 418879 h 722823"/>
                <a:gd name="csX207" fmla="*/ 455238 w 744638"/>
                <a:gd name="csY207" fmla="*/ 463516 h 722823"/>
                <a:gd name="csX208" fmla="*/ 431893 w 744638"/>
                <a:gd name="csY208" fmla="*/ 463516 h 722823"/>
                <a:gd name="csX209" fmla="*/ 410558 w 744638"/>
                <a:gd name="csY209" fmla="*/ 442225 h 722823"/>
                <a:gd name="csX210" fmla="*/ 318488 w 744638"/>
                <a:gd name="csY210" fmla="*/ 442225 h 722823"/>
                <a:gd name="csX211" fmla="*/ 310575 w 744638"/>
                <a:gd name="csY211" fmla="*/ 439121 h 722823"/>
                <a:gd name="csX212" fmla="*/ 257165 w 744638"/>
                <a:gd name="csY212" fmla="*/ 389763 h 722823"/>
                <a:gd name="csX213" fmla="*/ 257165 w 744638"/>
                <a:gd name="csY213" fmla="*/ 430552 h 722823"/>
                <a:gd name="csX214" fmla="*/ 245493 w 744638"/>
                <a:gd name="csY214" fmla="*/ 442225 h 722823"/>
                <a:gd name="csX215" fmla="*/ 226373 w 744638"/>
                <a:gd name="csY215" fmla="*/ 442225 h 722823"/>
                <a:gd name="csX216" fmla="*/ 205082 w 744638"/>
                <a:gd name="csY216" fmla="*/ 463516 h 722823"/>
                <a:gd name="csX217" fmla="*/ 205082 w 744638"/>
                <a:gd name="csY217" fmla="*/ 572491 h 722823"/>
                <a:gd name="csX218" fmla="*/ 226373 w 744638"/>
                <a:gd name="csY218" fmla="*/ 593825 h 722823"/>
                <a:gd name="csX219" fmla="*/ 410573 w 744638"/>
                <a:gd name="csY219" fmla="*/ 593825 h 722823"/>
                <a:gd name="csX220" fmla="*/ 431907 w 744638"/>
                <a:gd name="csY220" fmla="*/ 572491 h 722823"/>
                <a:gd name="csX221" fmla="*/ 431907 w 744638"/>
                <a:gd name="csY221" fmla="*/ 463516 h 722823"/>
                <a:gd name="csX222" fmla="*/ 386499 w 744638"/>
                <a:gd name="csY222" fmla="*/ 502702 h 722823"/>
                <a:gd name="csX223" fmla="*/ 383220 w 744638"/>
                <a:gd name="csY223" fmla="*/ 514987 h 722823"/>
                <a:gd name="csX224" fmla="*/ 358023 w 744638"/>
                <a:gd name="csY224" fmla="*/ 537691 h 722823"/>
                <a:gd name="csX225" fmla="*/ 365091 w 744638"/>
                <a:gd name="csY225" fmla="*/ 570844 h 722823"/>
                <a:gd name="csX226" fmla="*/ 360530 w 744638"/>
                <a:gd name="csY226" fmla="*/ 582721 h 722823"/>
                <a:gd name="csX227" fmla="*/ 353666 w 744638"/>
                <a:gd name="csY227" fmla="*/ 584950 h 722823"/>
                <a:gd name="csX228" fmla="*/ 347823 w 744638"/>
                <a:gd name="csY228" fmla="*/ 583377 h 722823"/>
                <a:gd name="csX229" fmla="*/ 318473 w 744638"/>
                <a:gd name="csY229" fmla="*/ 566399 h 722823"/>
                <a:gd name="csX230" fmla="*/ 289123 w 744638"/>
                <a:gd name="csY230" fmla="*/ 583377 h 722823"/>
                <a:gd name="csX231" fmla="*/ 276416 w 744638"/>
                <a:gd name="csY231" fmla="*/ 582721 h 722823"/>
                <a:gd name="csX232" fmla="*/ 271855 w 744638"/>
                <a:gd name="csY232" fmla="*/ 570844 h 722823"/>
                <a:gd name="csX233" fmla="*/ 278923 w 744638"/>
                <a:gd name="csY233" fmla="*/ 537706 h 722823"/>
                <a:gd name="csX234" fmla="*/ 253697 w 744638"/>
                <a:gd name="csY234" fmla="*/ 515001 h 722823"/>
                <a:gd name="csX235" fmla="*/ 250404 w 744638"/>
                <a:gd name="csY235" fmla="*/ 502716 h 722823"/>
                <a:gd name="csX236" fmla="*/ 260299 w 744638"/>
                <a:gd name="csY236" fmla="*/ 494716 h 722823"/>
                <a:gd name="csX237" fmla="*/ 294034 w 744638"/>
                <a:gd name="csY237" fmla="*/ 491204 h 722823"/>
                <a:gd name="csX238" fmla="*/ 307820 w 744638"/>
                <a:gd name="csY238" fmla="*/ 460237 h 722823"/>
                <a:gd name="csX239" fmla="*/ 318488 w 744638"/>
                <a:gd name="csY239" fmla="*/ 453315 h 722823"/>
                <a:gd name="csX240" fmla="*/ 329155 w 744638"/>
                <a:gd name="csY240" fmla="*/ 460237 h 722823"/>
                <a:gd name="csX241" fmla="*/ 342941 w 744638"/>
                <a:gd name="csY241" fmla="*/ 491204 h 722823"/>
                <a:gd name="csX242" fmla="*/ 376633 w 744638"/>
                <a:gd name="csY242" fmla="*/ 494716 h 722823"/>
                <a:gd name="csX243" fmla="*/ 386513 w 744638"/>
                <a:gd name="csY243" fmla="*/ 502716 h 722823"/>
                <a:gd name="csX244" fmla="*/ 348114 w 744638"/>
                <a:gd name="csY244" fmla="*/ 515205 h 722823"/>
                <a:gd name="csX245" fmla="*/ 333789 w 744638"/>
                <a:gd name="csY245" fmla="*/ 513704 h 722823"/>
                <a:gd name="csX246" fmla="*/ 324331 w 744638"/>
                <a:gd name="csY246" fmla="*/ 506840 h 722823"/>
                <a:gd name="csX247" fmla="*/ 318473 w 744638"/>
                <a:gd name="csY247" fmla="*/ 493667 h 722823"/>
                <a:gd name="csX248" fmla="*/ 312615 w 744638"/>
                <a:gd name="csY248" fmla="*/ 506840 h 722823"/>
                <a:gd name="csX249" fmla="*/ 303157 w 744638"/>
                <a:gd name="csY249" fmla="*/ 513704 h 722823"/>
                <a:gd name="csX250" fmla="*/ 288817 w 744638"/>
                <a:gd name="csY250" fmla="*/ 515205 h 722823"/>
                <a:gd name="csX251" fmla="*/ 299543 w 744638"/>
                <a:gd name="csY251" fmla="*/ 524867 h 722823"/>
                <a:gd name="csX252" fmla="*/ 303142 w 744638"/>
                <a:gd name="csY252" fmla="*/ 535971 h 722823"/>
                <a:gd name="csX253" fmla="*/ 300155 w 744638"/>
                <a:gd name="csY253" fmla="*/ 550020 h 722823"/>
                <a:gd name="csX254" fmla="*/ 312615 w 744638"/>
                <a:gd name="csY254" fmla="*/ 542806 h 722823"/>
                <a:gd name="csX255" fmla="*/ 324302 w 744638"/>
                <a:gd name="csY255" fmla="*/ 542806 h 722823"/>
                <a:gd name="csX256" fmla="*/ 336762 w 744638"/>
                <a:gd name="csY256" fmla="*/ 550020 h 722823"/>
                <a:gd name="csX257" fmla="*/ 333774 w 744638"/>
                <a:gd name="csY257" fmla="*/ 535971 h 722823"/>
                <a:gd name="csX258" fmla="*/ 337374 w 744638"/>
                <a:gd name="csY258" fmla="*/ 524867 h 722823"/>
                <a:gd name="csX259" fmla="*/ 348099 w 744638"/>
                <a:gd name="csY259" fmla="*/ 515205 h 72282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Lst>
              <a:rect l="l" t="t" r="r" b="b"/>
              <a:pathLst>
                <a:path w="744638" h="722823">
                  <a:moveTo>
                    <a:pt x="401275" y="695091"/>
                  </a:moveTo>
                  <a:cubicBezTo>
                    <a:pt x="401275" y="701532"/>
                    <a:pt x="396058" y="706764"/>
                    <a:pt x="389603" y="706764"/>
                  </a:cubicBezTo>
                  <a:lnTo>
                    <a:pt x="163565" y="706764"/>
                  </a:lnTo>
                  <a:cubicBezTo>
                    <a:pt x="111962" y="706764"/>
                    <a:pt x="69978" y="664794"/>
                    <a:pt x="69978" y="613222"/>
                  </a:cubicBezTo>
                  <a:lnTo>
                    <a:pt x="69978" y="464885"/>
                  </a:lnTo>
                  <a:lnTo>
                    <a:pt x="50786" y="484078"/>
                  </a:lnTo>
                  <a:cubicBezTo>
                    <a:pt x="46225" y="488639"/>
                    <a:pt x="38836" y="488639"/>
                    <a:pt x="34275" y="484078"/>
                  </a:cubicBezTo>
                  <a:cubicBezTo>
                    <a:pt x="29714" y="479516"/>
                    <a:pt x="29714" y="472128"/>
                    <a:pt x="34275" y="467581"/>
                  </a:cubicBezTo>
                  <a:lnTo>
                    <a:pt x="73388" y="428468"/>
                  </a:lnTo>
                  <a:cubicBezTo>
                    <a:pt x="73665" y="428191"/>
                    <a:pt x="73957" y="427929"/>
                    <a:pt x="74248" y="427696"/>
                  </a:cubicBezTo>
                  <a:cubicBezTo>
                    <a:pt x="74365" y="427594"/>
                    <a:pt x="74496" y="427506"/>
                    <a:pt x="74613" y="427419"/>
                  </a:cubicBezTo>
                  <a:cubicBezTo>
                    <a:pt x="74787" y="427288"/>
                    <a:pt x="74977" y="427142"/>
                    <a:pt x="75152" y="427011"/>
                  </a:cubicBezTo>
                  <a:cubicBezTo>
                    <a:pt x="75312" y="426909"/>
                    <a:pt x="75472" y="426821"/>
                    <a:pt x="75633" y="426719"/>
                  </a:cubicBezTo>
                  <a:cubicBezTo>
                    <a:pt x="75793" y="426617"/>
                    <a:pt x="75968" y="426515"/>
                    <a:pt x="76143" y="426428"/>
                  </a:cubicBezTo>
                  <a:cubicBezTo>
                    <a:pt x="76303" y="426340"/>
                    <a:pt x="76478" y="426268"/>
                    <a:pt x="76653" y="426180"/>
                  </a:cubicBezTo>
                  <a:cubicBezTo>
                    <a:pt x="76828" y="426093"/>
                    <a:pt x="77002" y="426005"/>
                    <a:pt x="77177" y="425932"/>
                  </a:cubicBezTo>
                  <a:cubicBezTo>
                    <a:pt x="77338" y="425860"/>
                    <a:pt x="77512" y="425801"/>
                    <a:pt x="77687" y="425743"/>
                  </a:cubicBezTo>
                  <a:cubicBezTo>
                    <a:pt x="77877" y="425670"/>
                    <a:pt x="78066" y="425597"/>
                    <a:pt x="78256" y="425539"/>
                  </a:cubicBezTo>
                  <a:cubicBezTo>
                    <a:pt x="78431" y="425481"/>
                    <a:pt x="78605" y="425452"/>
                    <a:pt x="78766" y="425408"/>
                  </a:cubicBezTo>
                  <a:cubicBezTo>
                    <a:pt x="78955" y="425364"/>
                    <a:pt x="79159" y="425306"/>
                    <a:pt x="79349" y="425262"/>
                  </a:cubicBezTo>
                  <a:cubicBezTo>
                    <a:pt x="79553" y="425218"/>
                    <a:pt x="79757" y="425204"/>
                    <a:pt x="79975" y="425160"/>
                  </a:cubicBezTo>
                  <a:cubicBezTo>
                    <a:pt x="80150" y="425131"/>
                    <a:pt x="80310" y="425102"/>
                    <a:pt x="80485" y="425087"/>
                  </a:cubicBezTo>
                  <a:cubicBezTo>
                    <a:pt x="81258" y="425014"/>
                    <a:pt x="82030" y="425014"/>
                    <a:pt x="82788" y="425087"/>
                  </a:cubicBezTo>
                  <a:cubicBezTo>
                    <a:pt x="82948" y="425102"/>
                    <a:pt x="83094" y="425131"/>
                    <a:pt x="83240" y="425146"/>
                  </a:cubicBezTo>
                  <a:cubicBezTo>
                    <a:pt x="83473" y="425175"/>
                    <a:pt x="83691" y="425204"/>
                    <a:pt x="83910" y="425248"/>
                  </a:cubicBezTo>
                  <a:cubicBezTo>
                    <a:pt x="84085" y="425277"/>
                    <a:pt x="84260" y="425335"/>
                    <a:pt x="84435" y="425379"/>
                  </a:cubicBezTo>
                  <a:cubicBezTo>
                    <a:pt x="84624" y="425422"/>
                    <a:pt x="84828" y="425466"/>
                    <a:pt x="85017" y="425524"/>
                  </a:cubicBezTo>
                  <a:cubicBezTo>
                    <a:pt x="85192" y="425583"/>
                    <a:pt x="85353" y="425641"/>
                    <a:pt x="85527" y="425699"/>
                  </a:cubicBezTo>
                  <a:cubicBezTo>
                    <a:pt x="85717" y="425772"/>
                    <a:pt x="85906" y="425830"/>
                    <a:pt x="86096" y="425903"/>
                  </a:cubicBezTo>
                  <a:cubicBezTo>
                    <a:pt x="86256" y="425976"/>
                    <a:pt x="86402" y="426049"/>
                    <a:pt x="86562" y="426122"/>
                  </a:cubicBezTo>
                  <a:cubicBezTo>
                    <a:pt x="86752" y="426209"/>
                    <a:pt x="86941" y="426297"/>
                    <a:pt x="87130" y="426399"/>
                  </a:cubicBezTo>
                  <a:cubicBezTo>
                    <a:pt x="87276" y="426486"/>
                    <a:pt x="87422" y="426574"/>
                    <a:pt x="87582" y="426661"/>
                  </a:cubicBezTo>
                  <a:cubicBezTo>
                    <a:pt x="87757" y="426763"/>
                    <a:pt x="87947" y="426865"/>
                    <a:pt x="88121" y="426982"/>
                  </a:cubicBezTo>
                  <a:cubicBezTo>
                    <a:pt x="88296" y="427098"/>
                    <a:pt x="88442" y="427215"/>
                    <a:pt x="88602" y="427346"/>
                  </a:cubicBezTo>
                  <a:cubicBezTo>
                    <a:pt x="88748" y="427448"/>
                    <a:pt x="88894" y="427550"/>
                    <a:pt x="89025" y="427667"/>
                  </a:cubicBezTo>
                  <a:cubicBezTo>
                    <a:pt x="89316" y="427914"/>
                    <a:pt x="89608" y="428162"/>
                    <a:pt x="89870" y="428439"/>
                  </a:cubicBezTo>
                  <a:cubicBezTo>
                    <a:pt x="90132" y="428716"/>
                    <a:pt x="89870" y="428439"/>
                    <a:pt x="89870" y="428439"/>
                  </a:cubicBezTo>
                  <a:lnTo>
                    <a:pt x="129027" y="467552"/>
                  </a:lnTo>
                  <a:cubicBezTo>
                    <a:pt x="133588" y="472099"/>
                    <a:pt x="133588" y="479502"/>
                    <a:pt x="129027" y="484049"/>
                  </a:cubicBezTo>
                  <a:cubicBezTo>
                    <a:pt x="126754" y="486337"/>
                    <a:pt x="123766" y="487473"/>
                    <a:pt x="120764" y="487473"/>
                  </a:cubicBezTo>
                  <a:cubicBezTo>
                    <a:pt x="117762" y="487473"/>
                    <a:pt x="114790" y="486337"/>
                    <a:pt x="112516" y="484063"/>
                  </a:cubicBezTo>
                  <a:lnTo>
                    <a:pt x="93280" y="464842"/>
                  </a:lnTo>
                  <a:lnTo>
                    <a:pt x="93280" y="613207"/>
                  </a:lnTo>
                  <a:cubicBezTo>
                    <a:pt x="93280" y="651912"/>
                    <a:pt x="124786" y="683404"/>
                    <a:pt x="163521" y="683404"/>
                  </a:cubicBezTo>
                  <a:lnTo>
                    <a:pt x="389559" y="683404"/>
                  </a:lnTo>
                  <a:cubicBezTo>
                    <a:pt x="396000" y="683404"/>
                    <a:pt x="401232" y="688621"/>
                    <a:pt x="401232" y="695077"/>
                  </a:cubicBezTo>
                  <a:close/>
                  <a:moveTo>
                    <a:pt x="363867" y="93324"/>
                  </a:moveTo>
                  <a:lnTo>
                    <a:pt x="559302" y="93324"/>
                  </a:lnTo>
                  <a:cubicBezTo>
                    <a:pt x="598037" y="93324"/>
                    <a:pt x="629543" y="124816"/>
                    <a:pt x="629543" y="163521"/>
                  </a:cubicBezTo>
                  <a:lnTo>
                    <a:pt x="629543" y="257952"/>
                  </a:lnTo>
                  <a:lnTo>
                    <a:pt x="610307" y="238716"/>
                  </a:lnTo>
                  <a:cubicBezTo>
                    <a:pt x="605746" y="234155"/>
                    <a:pt x="598357" y="234155"/>
                    <a:pt x="593811" y="238716"/>
                  </a:cubicBezTo>
                  <a:cubicBezTo>
                    <a:pt x="589249" y="243278"/>
                    <a:pt x="589249" y="250666"/>
                    <a:pt x="593811" y="255213"/>
                  </a:cubicBezTo>
                  <a:lnTo>
                    <a:pt x="632968" y="294370"/>
                  </a:lnTo>
                  <a:cubicBezTo>
                    <a:pt x="633244" y="294647"/>
                    <a:pt x="633536" y="294909"/>
                    <a:pt x="633827" y="295157"/>
                  </a:cubicBezTo>
                  <a:cubicBezTo>
                    <a:pt x="633857" y="295186"/>
                    <a:pt x="633900" y="295215"/>
                    <a:pt x="633944" y="295244"/>
                  </a:cubicBezTo>
                  <a:cubicBezTo>
                    <a:pt x="634206" y="295448"/>
                    <a:pt x="634469" y="295652"/>
                    <a:pt x="634745" y="295841"/>
                  </a:cubicBezTo>
                  <a:cubicBezTo>
                    <a:pt x="634789" y="295871"/>
                    <a:pt x="634833" y="295900"/>
                    <a:pt x="634877" y="295914"/>
                  </a:cubicBezTo>
                  <a:cubicBezTo>
                    <a:pt x="635153" y="296089"/>
                    <a:pt x="635430" y="296264"/>
                    <a:pt x="635722" y="296424"/>
                  </a:cubicBezTo>
                  <a:lnTo>
                    <a:pt x="635809" y="296468"/>
                  </a:lnTo>
                  <a:cubicBezTo>
                    <a:pt x="636115" y="296628"/>
                    <a:pt x="636421" y="296774"/>
                    <a:pt x="636757" y="296905"/>
                  </a:cubicBezTo>
                  <a:cubicBezTo>
                    <a:pt x="636771" y="296905"/>
                    <a:pt x="636800" y="296920"/>
                    <a:pt x="636829" y="296934"/>
                  </a:cubicBezTo>
                  <a:cubicBezTo>
                    <a:pt x="637165" y="297066"/>
                    <a:pt x="637485" y="297197"/>
                    <a:pt x="637835" y="297299"/>
                  </a:cubicBezTo>
                  <a:cubicBezTo>
                    <a:pt x="637864" y="297299"/>
                    <a:pt x="637893" y="297299"/>
                    <a:pt x="637922" y="297313"/>
                  </a:cubicBezTo>
                  <a:cubicBezTo>
                    <a:pt x="638257" y="297415"/>
                    <a:pt x="638593" y="297503"/>
                    <a:pt x="638942" y="297576"/>
                  </a:cubicBezTo>
                  <a:cubicBezTo>
                    <a:pt x="639030" y="297590"/>
                    <a:pt x="639117" y="297605"/>
                    <a:pt x="639190" y="297619"/>
                  </a:cubicBezTo>
                  <a:cubicBezTo>
                    <a:pt x="639482" y="297678"/>
                    <a:pt x="639773" y="297721"/>
                    <a:pt x="640065" y="297751"/>
                  </a:cubicBezTo>
                  <a:cubicBezTo>
                    <a:pt x="640443" y="297794"/>
                    <a:pt x="640837" y="297809"/>
                    <a:pt x="641230" y="297809"/>
                  </a:cubicBezTo>
                  <a:cubicBezTo>
                    <a:pt x="641624" y="297809"/>
                    <a:pt x="642003" y="297794"/>
                    <a:pt x="642396" y="297751"/>
                  </a:cubicBezTo>
                  <a:cubicBezTo>
                    <a:pt x="642746" y="297721"/>
                    <a:pt x="643081" y="297663"/>
                    <a:pt x="643416" y="297605"/>
                  </a:cubicBezTo>
                  <a:cubicBezTo>
                    <a:pt x="643460" y="297605"/>
                    <a:pt x="643489" y="297605"/>
                    <a:pt x="643533" y="297590"/>
                  </a:cubicBezTo>
                  <a:cubicBezTo>
                    <a:pt x="644291" y="297445"/>
                    <a:pt x="645005" y="297211"/>
                    <a:pt x="645704" y="296934"/>
                  </a:cubicBezTo>
                  <a:cubicBezTo>
                    <a:pt x="646039" y="296789"/>
                    <a:pt x="646360" y="296643"/>
                    <a:pt x="646681" y="296468"/>
                  </a:cubicBezTo>
                  <a:cubicBezTo>
                    <a:pt x="646695" y="296468"/>
                    <a:pt x="646724" y="296454"/>
                    <a:pt x="646739" y="296439"/>
                  </a:cubicBezTo>
                  <a:cubicBezTo>
                    <a:pt x="647045" y="296279"/>
                    <a:pt x="647322" y="296104"/>
                    <a:pt x="647613" y="295914"/>
                  </a:cubicBezTo>
                  <a:cubicBezTo>
                    <a:pt x="647642" y="295885"/>
                    <a:pt x="647686" y="295871"/>
                    <a:pt x="647730" y="295841"/>
                  </a:cubicBezTo>
                  <a:cubicBezTo>
                    <a:pt x="648021" y="295652"/>
                    <a:pt x="648284" y="295448"/>
                    <a:pt x="648560" y="295229"/>
                  </a:cubicBezTo>
                  <a:cubicBezTo>
                    <a:pt x="648590" y="295200"/>
                    <a:pt x="648619" y="295186"/>
                    <a:pt x="648648" y="295157"/>
                  </a:cubicBezTo>
                  <a:cubicBezTo>
                    <a:pt x="648954" y="294909"/>
                    <a:pt x="649231" y="294647"/>
                    <a:pt x="649508" y="294370"/>
                  </a:cubicBezTo>
                  <a:lnTo>
                    <a:pt x="688621" y="255213"/>
                  </a:lnTo>
                  <a:cubicBezTo>
                    <a:pt x="693182" y="250651"/>
                    <a:pt x="693168" y="243263"/>
                    <a:pt x="688621" y="238716"/>
                  </a:cubicBezTo>
                  <a:cubicBezTo>
                    <a:pt x="684060" y="234155"/>
                    <a:pt x="676671" y="234170"/>
                    <a:pt x="672125" y="238716"/>
                  </a:cubicBezTo>
                  <a:lnTo>
                    <a:pt x="652932" y="257938"/>
                  </a:lnTo>
                  <a:lnTo>
                    <a:pt x="652932" y="163521"/>
                  </a:lnTo>
                  <a:cubicBezTo>
                    <a:pt x="652932" y="111948"/>
                    <a:pt x="610948" y="69978"/>
                    <a:pt x="559346" y="69978"/>
                  </a:cubicBezTo>
                  <a:lnTo>
                    <a:pt x="363911" y="69978"/>
                  </a:lnTo>
                  <a:cubicBezTo>
                    <a:pt x="357470" y="69978"/>
                    <a:pt x="352238" y="75195"/>
                    <a:pt x="352238" y="81651"/>
                  </a:cubicBezTo>
                  <a:cubicBezTo>
                    <a:pt x="352238" y="88107"/>
                    <a:pt x="357455" y="93324"/>
                    <a:pt x="363911" y="93324"/>
                  </a:cubicBezTo>
                  <a:close/>
                  <a:moveTo>
                    <a:pt x="290770" y="315340"/>
                  </a:moveTo>
                  <a:lnTo>
                    <a:pt x="290770" y="206321"/>
                  </a:lnTo>
                  <a:cubicBezTo>
                    <a:pt x="290770" y="181708"/>
                    <a:pt x="310793" y="161685"/>
                    <a:pt x="335407" y="161685"/>
                  </a:cubicBezTo>
                  <a:lnTo>
                    <a:pt x="519606" y="161685"/>
                  </a:lnTo>
                  <a:cubicBezTo>
                    <a:pt x="544220" y="161685"/>
                    <a:pt x="564243" y="181708"/>
                    <a:pt x="564243" y="206321"/>
                  </a:cubicBezTo>
                  <a:lnTo>
                    <a:pt x="564243" y="315340"/>
                  </a:lnTo>
                  <a:cubicBezTo>
                    <a:pt x="564243" y="339953"/>
                    <a:pt x="544220" y="359976"/>
                    <a:pt x="519606" y="359976"/>
                  </a:cubicBezTo>
                  <a:lnTo>
                    <a:pt x="512145" y="359976"/>
                  </a:lnTo>
                  <a:lnTo>
                    <a:pt x="512145" y="415761"/>
                  </a:lnTo>
                  <a:cubicBezTo>
                    <a:pt x="512145" y="420395"/>
                    <a:pt x="509405" y="424592"/>
                    <a:pt x="505150" y="426457"/>
                  </a:cubicBezTo>
                  <a:cubicBezTo>
                    <a:pt x="503649" y="427113"/>
                    <a:pt x="502061" y="427433"/>
                    <a:pt x="500472" y="427433"/>
                  </a:cubicBezTo>
                  <a:cubicBezTo>
                    <a:pt x="497587" y="427433"/>
                    <a:pt x="494745" y="426370"/>
                    <a:pt x="492545" y="424329"/>
                  </a:cubicBezTo>
                  <a:lnTo>
                    <a:pt x="422945" y="359976"/>
                  </a:lnTo>
                  <a:lnTo>
                    <a:pt x="335392" y="359976"/>
                  </a:lnTo>
                  <a:cubicBezTo>
                    <a:pt x="310779" y="359976"/>
                    <a:pt x="290756" y="339953"/>
                    <a:pt x="290756" y="315340"/>
                  </a:cubicBezTo>
                  <a:close/>
                  <a:moveTo>
                    <a:pt x="314116" y="315340"/>
                  </a:moveTo>
                  <a:cubicBezTo>
                    <a:pt x="314116" y="327085"/>
                    <a:pt x="323675" y="336631"/>
                    <a:pt x="335407" y="336631"/>
                  </a:cubicBezTo>
                  <a:lnTo>
                    <a:pt x="427521" y="336631"/>
                  </a:lnTo>
                  <a:cubicBezTo>
                    <a:pt x="430465" y="336631"/>
                    <a:pt x="433292" y="337738"/>
                    <a:pt x="435448" y="339735"/>
                  </a:cubicBezTo>
                  <a:lnTo>
                    <a:pt x="488814" y="389078"/>
                  </a:lnTo>
                  <a:lnTo>
                    <a:pt x="488814" y="348303"/>
                  </a:lnTo>
                  <a:cubicBezTo>
                    <a:pt x="488814" y="341862"/>
                    <a:pt x="494031" y="336631"/>
                    <a:pt x="500487" y="336631"/>
                  </a:cubicBezTo>
                  <a:lnTo>
                    <a:pt x="519606" y="336631"/>
                  </a:lnTo>
                  <a:cubicBezTo>
                    <a:pt x="531352" y="336631"/>
                    <a:pt x="540897" y="327085"/>
                    <a:pt x="540897" y="315340"/>
                  </a:cubicBezTo>
                  <a:lnTo>
                    <a:pt x="540897" y="206321"/>
                  </a:lnTo>
                  <a:cubicBezTo>
                    <a:pt x="540897" y="194575"/>
                    <a:pt x="531352" y="185030"/>
                    <a:pt x="519606" y="185030"/>
                  </a:cubicBezTo>
                  <a:lnTo>
                    <a:pt x="335407" y="185030"/>
                  </a:lnTo>
                  <a:cubicBezTo>
                    <a:pt x="323661" y="185030"/>
                    <a:pt x="314116" y="194575"/>
                    <a:pt x="314116" y="206321"/>
                  </a:cubicBezTo>
                  <a:close/>
                  <a:moveTo>
                    <a:pt x="329519" y="260852"/>
                  </a:moveTo>
                  <a:cubicBezTo>
                    <a:pt x="329519" y="243875"/>
                    <a:pt x="343320" y="230060"/>
                    <a:pt x="360268" y="230060"/>
                  </a:cubicBezTo>
                  <a:cubicBezTo>
                    <a:pt x="377216" y="230060"/>
                    <a:pt x="391060" y="243875"/>
                    <a:pt x="391060" y="260852"/>
                  </a:cubicBezTo>
                  <a:cubicBezTo>
                    <a:pt x="391060" y="277830"/>
                    <a:pt x="377245" y="291601"/>
                    <a:pt x="360268" y="291601"/>
                  </a:cubicBezTo>
                  <a:cubicBezTo>
                    <a:pt x="343290" y="291601"/>
                    <a:pt x="329519" y="277800"/>
                    <a:pt x="329519" y="260852"/>
                  </a:cubicBezTo>
                  <a:close/>
                  <a:moveTo>
                    <a:pt x="352865" y="260852"/>
                  </a:moveTo>
                  <a:cubicBezTo>
                    <a:pt x="352865" y="264947"/>
                    <a:pt x="356187" y="268270"/>
                    <a:pt x="360282" y="268270"/>
                  </a:cubicBezTo>
                  <a:cubicBezTo>
                    <a:pt x="364377" y="268270"/>
                    <a:pt x="367743" y="264947"/>
                    <a:pt x="367743" y="260852"/>
                  </a:cubicBezTo>
                  <a:cubicBezTo>
                    <a:pt x="367743" y="256757"/>
                    <a:pt x="364406" y="253391"/>
                    <a:pt x="360282" y="253391"/>
                  </a:cubicBezTo>
                  <a:cubicBezTo>
                    <a:pt x="356158" y="253391"/>
                    <a:pt x="352865" y="256728"/>
                    <a:pt x="352865" y="260852"/>
                  </a:cubicBezTo>
                  <a:close/>
                  <a:moveTo>
                    <a:pt x="396729" y="260852"/>
                  </a:moveTo>
                  <a:cubicBezTo>
                    <a:pt x="396729" y="243875"/>
                    <a:pt x="410544" y="230060"/>
                    <a:pt x="427521" y="230060"/>
                  </a:cubicBezTo>
                  <a:cubicBezTo>
                    <a:pt x="444498" y="230060"/>
                    <a:pt x="458269" y="243875"/>
                    <a:pt x="458269" y="260852"/>
                  </a:cubicBezTo>
                  <a:cubicBezTo>
                    <a:pt x="458269" y="277830"/>
                    <a:pt x="444469" y="291601"/>
                    <a:pt x="427521" y="291601"/>
                  </a:cubicBezTo>
                  <a:cubicBezTo>
                    <a:pt x="410573" y="291601"/>
                    <a:pt x="396729" y="277800"/>
                    <a:pt x="396729" y="260852"/>
                  </a:cubicBezTo>
                  <a:close/>
                  <a:moveTo>
                    <a:pt x="420074" y="260852"/>
                  </a:moveTo>
                  <a:cubicBezTo>
                    <a:pt x="420074" y="264947"/>
                    <a:pt x="423411" y="268270"/>
                    <a:pt x="427535" y="268270"/>
                  </a:cubicBezTo>
                  <a:cubicBezTo>
                    <a:pt x="431660" y="268270"/>
                    <a:pt x="434953" y="264947"/>
                    <a:pt x="434953" y="260852"/>
                  </a:cubicBezTo>
                  <a:cubicBezTo>
                    <a:pt x="434953" y="256757"/>
                    <a:pt x="431630" y="253391"/>
                    <a:pt x="427535" y="253391"/>
                  </a:cubicBezTo>
                  <a:cubicBezTo>
                    <a:pt x="423441" y="253391"/>
                    <a:pt x="420074" y="256728"/>
                    <a:pt x="420074" y="260852"/>
                  </a:cubicBezTo>
                  <a:close/>
                  <a:moveTo>
                    <a:pt x="463938" y="260852"/>
                  </a:moveTo>
                  <a:cubicBezTo>
                    <a:pt x="463938" y="243875"/>
                    <a:pt x="477753" y="230060"/>
                    <a:pt x="494730" y="230060"/>
                  </a:cubicBezTo>
                  <a:cubicBezTo>
                    <a:pt x="511708" y="230060"/>
                    <a:pt x="525479" y="243875"/>
                    <a:pt x="525479" y="260852"/>
                  </a:cubicBezTo>
                  <a:cubicBezTo>
                    <a:pt x="525479" y="277830"/>
                    <a:pt x="511679" y="291601"/>
                    <a:pt x="494730" y="291601"/>
                  </a:cubicBezTo>
                  <a:cubicBezTo>
                    <a:pt x="477782" y="291601"/>
                    <a:pt x="463938" y="277800"/>
                    <a:pt x="463938" y="260852"/>
                  </a:cubicBezTo>
                  <a:close/>
                  <a:moveTo>
                    <a:pt x="487284" y="260852"/>
                  </a:moveTo>
                  <a:cubicBezTo>
                    <a:pt x="487284" y="264947"/>
                    <a:pt x="490635" y="268270"/>
                    <a:pt x="494745" y="268270"/>
                  </a:cubicBezTo>
                  <a:cubicBezTo>
                    <a:pt x="498855" y="268270"/>
                    <a:pt x="502163" y="264947"/>
                    <a:pt x="502163" y="260852"/>
                  </a:cubicBezTo>
                  <a:cubicBezTo>
                    <a:pt x="502163" y="256757"/>
                    <a:pt x="498840" y="253391"/>
                    <a:pt x="494745" y="253391"/>
                  </a:cubicBezTo>
                  <a:cubicBezTo>
                    <a:pt x="490650" y="253391"/>
                    <a:pt x="487284" y="256728"/>
                    <a:pt x="487284" y="260852"/>
                  </a:cubicBezTo>
                  <a:close/>
                  <a:moveTo>
                    <a:pt x="744639" y="621105"/>
                  </a:moveTo>
                  <a:lnTo>
                    <a:pt x="744639" y="711150"/>
                  </a:lnTo>
                  <a:cubicBezTo>
                    <a:pt x="744639" y="717592"/>
                    <a:pt x="739422" y="722823"/>
                    <a:pt x="732966" y="722823"/>
                  </a:cubicBezTo>
                  <a:lnTo>
                    <a:pt x="482839" y="722823"/>
                  </a:lnTo>
                  <a:cubicBezTo>
                    <a:pt x="476398" y="722823"/>
                    <a:pt x="471166" y="717606"/>
                    <a:pt x="471166" y="711150"/>
                  </a:cubicBezTo>
                  <a:lnTo>
                    <a:pt x="471166" y="621105"/>
                  </a:lnTo>
                  <a:cubicBezTo>
                    <a:pt x="471166" y="579340"/>
                    <a:pt x="505514" y="544584"/>
                    <a:pt x="550398" y="537968"/>
                  </a:cubicBezTo>
                  <a:cubicBezTo>
                    <a:pt x="533057" y="522258"/>
                    <a:pt x="522142" y="499569"/>
                    <a:pt x="522142" y="474372"/>
                  </a:cubicBezTo>
                  <a:cubicBezTo>
                    <a:pt x="522142" y="427098"/>
                    <a:pt x="560599" y="388641"/>
                    <a:pt x="607873" y="388641"/>
                  </a:cubicBezTo>
                  <a:cubicBezTo>
                    <a:pt x="655147" y="388641"/>
                    <a:pt x="693649" y="427098"/>
                    <a:pt x="693649" y="474372"/>
                  </a:cubicBezTo>
                  <a:cubicBezTo>
                    <a:pt x="693649" y="499569"/>
                    <a:pt x="682734" y="522258"/>
                    <a:pt x="665377" y="537968"/>
                  </a:cubicBezTo>
                  <a:cubicBezTo>
                    <a:pt x="710276" y="544584"/>
                    <a:pt x="744624" y="579340"/>
                    <a:pt x="744624" y="621105"/>
                  </a:cubicBezTo>
                  <a:close/>
                  <a:moveTo>
                    <a:pt x="607888" y="536817"/>
                  </a:moveTo>
                  <a:cubicBezTo>
                    <a:pt x="642309" y="536817"/>
                    <a:pt x="670332" y="508808"/>
                    <a:pt x="670332" y="474372"/>
                  </a:cubicBezTo>
                  <a:cubicBezTo>
                    <a:pt x="670332" y="439937"/>
                    <a:pt x="642323" y="411972"/>
                    <a:pt x="607888" y="411972"/>
                  </a:cubicBezTo>
                  <a:cubicBezTo>
                    <a:pt x="573452" y="411972"/>
                    <a:pt x="545487" y="439966"/>
                    <a:pt x="545487" y="474372"/>
                  </a:cubicBezTo>
                  <a:cubicBezTo>
                    <a:pt x="545487" y="508779"/>
                    <a:pt x="573482" y="536817"/>
                    <a:pt x="607888" y="536817"/>
                  </a:cubicBezTo>
                  <a:close/>
                  <a:moveTo>
                    <a:pt x="721308" y="621105"/>
                  </a:moveTo>
                  <a:cubicBezTo>
                    <a:pt x="721308" y="587501"/>
                    <a:pt x="689262" y="560148"/>
                    <a:pt x="649857" y="560148"/>
                  </a:cubicBezTo>
                  <a:lnTo>
                    <a:pt x="565962" y="560148"/>
                  </a:lnTo>
                  <a:cubicBezTo>
                    <a:pt x="526572" y="560148"/>
                    <a:pt x="494512" y="587486"/>
                    <a:pt x="494512" y="621105"/>
                  </a:cubicBezTo>
                  <a:lnTo>
                    <a:pt x="494512" y="699492"/>
                  </a:lnTo>
                  <a:lnTo>
                    <a:pt x="721293" y="699492"/>
                  </a:lnTo>
                  <a:lnTo>
                    <a:pt x="721293" y="621105"/>
                  </a:lnTo>
                  <a:close/>
                  <a:moveTo>
                    <a:pt x="261843" y="334197"/>
                  </a:moveTo>
                  <a:lnTo>
                    <a:pt x="11673" y="334197"/>
                  </a:lnTo>
                  <a:cubicBezTo>
                    <a:pt x="5232" y="334197"/>
                    <a:pt x="0" y="328980"/>
                    <a:pt x="0" y="322524"/>
                  </a:cubicBezTo>
                  <a:lnTo>
                    <a:pt x="0" y="232465"/>
                  </a:lnTo>
                  <a:cubicBezTo>
                    <a:pt x="0" y="190699"/>
                    <a:pt x="34348" y="155943"/>
                    <a:pt x="79247" y="149327"/>
                  </a:cubicBezTo>
                  <a:cubicBezTo>
                    <a:pt x="61890" y="133618"/>
                    <a:pt x="50975" y="110928"/>
                    <a:pt x="50975" y="85732"/>
                  </a:cubicBezTo>
                  <a:cubicBezTo>
                    <a:pt x="50975" y="38458"/>
                    <a:pt x="89462" y="0"/>
                    <a:pt x="136751" y="0"/>
                  </a:cubicBezTo>
                  <a:cubicBezTo>
                    <a:pt x="184039" y="0"/>
                    <a:pt x="222526" y="38458"/>
                    <a:pt x="222526" y="85732"/>
                  </a:cubicBezTo>
                  <a:cubicBezTo>
                    <a:pt x="222526" y="110928"/>
                    <a:pt x="211611" y="133618"/>
                    <a:pt x="194255" y="149327"/>
                  </a:cubicBezTo>
                  <a:cubicBezTo>
                    <a:pt x="239153" y="155943"/>
                    <a:pt x="273501" y="190699"/>
                    <a:pt x="273501" y="232465"/>
                  </a:cubicBezTo>
                  <a:lnTo>
                    <a:pt x="273501" y="322524"/>
                  </a:lnTo>
                  <a:cubicBezTo>
                    <a:pt x="273501" y="328965"/>
                    <a:pt x="268284" y="334197"/>
                    <a:pt x="261829" y="334197"/>
                  </a:cubicBezTo>
                  <a:close/>
                  <a:moveTo>
                    <a:pt x="136765" y="148190"/>
                  </a:moveTo>
                  <a:cubicBezTo>
                    <a:pt x="171201" y="148190"/>
                    <a:pt x="199210" y="120182"/>
                    <a:pt x="199210" y="85746"/>
                  </a:cubicBezTo>
                  <a:cubicBezTo>
                    <a:pt x="199210" y="51311"/>
                    <a:pt x="171201" y="23346"/>
                    <a:pt x="136765" y="23346"/>
                  </a:cubicBezTo>
                  <a:cubicBezTo>
                    <a:pt x="102330" y="23346"/>
                    <a:pt x="74321" y="51340"/>
                    <a:pt x="74321" y="85746"/>
                  </a:cubicBezTo>
                  <a:cubicBezTo>
                    <a:pt x="74321" y="120152"/>
                    <a:pt x="102330" y="148190"/>
                    <a:pt x="136765" y="148190"/>
                  </a:cubicBezTo>
                  <a:close/>
                  <a:moveTo>
                    <a:pt x="250185" y="232479"/>
                  </a:moveTo>
                  <a:cubicBezTo>
                    <a:pt x="250185" y="198874"/>
                    <a:pt x="218140" y="171521"/>
                    <a:pt x="178735" y="171521"/>
                  </a:cubicBezTo>
                  <a:lnTo>
                    <a:pt x="94796" y="171521"/>
                  </a:lnTo>
                  <a:cubicBezTo>
                    <a:pt x="55406" y="171521"/>
                    <a:pt x="23346" y="198860"/>
                    <a:pt x="23346" y="232479"/>
                  </a:cubicBezTo>
                  <a:lnTo>
                    <a:pt x="23346" y="310866"/>
                  </a:lnTo>
                  <a:lnTo>
                    <a:pt x="250170" y="310866"/>
                  </a:lnTo>
                  <a:lnTo>
                    <a:pt x="250170" y="232479"/>
                  </a:lnTo>
                  <a:close/>
                  <a:moveTo>
                    <a:pt x="455238" y="463516"/>
                  </a:moveTo>
                  <a:lnTo>
                    <a:pt x="455238" y="572491"/>
                  </a:lnTo>
                  <a:cubicBezTo>
                    <a:pt x="455238" y="597119"/>
                    <a:pt x="435201" y="617171"/>
                    <a:pt x="410558" y="617171"/>
                  </a:cubicBezTo>
                  <a:lnTo>
                    <a:pt x="226359" y="617171"/>
                  </a:lnTo>
                  <a:cubicBezTo>
                    <a:pt x="201745" y="617171"/>
                    <a:pt x="181722" y="597133"/>
                    <a:pt x="181722" y="572491"/>
                  </a:cubicBezTo>
                  <a:lnTo>
                    <a:pt x="181722" y="463516"/>
                  </a:lnTo>
                  <a:cubicBezTo>
                    <a:pt x="181722" y="438902"/>
                    <a:pt x="201745" y="418879"/>
                    <a:pt x="226359" y="418879"/>
                  </a:cubicBezTo>
                  <a:lnTo>
                    <a:pt x="233820" y="418879"/>
                  </a:lnTo>
                  <a:lnTo>
                    <a:pt x="233820" y="363095"/>
                  </a:lnTo>
                  <a:cubicBezTo>
                    <a:pt x="233820" y="358461"/>
                    <a:pt x="236560" y="354264"/>
                    <a:pt x="240815" y="352398"/>
                  </a:cubicBezTo>
                  <a:cubicBezTo>
                    <a:pt x="245070" y="350548"/>
                    <a:pt x="250010" y="351378"/>
                    <a:pt x="253406" y="354526"/>
                  </a:cubicBezTo>
                  <a:lnTo>
                    <a:pt x="323049" y="418879"/>
                  </a:lnTo>
                  <a:lnTo>
                    <a:pt x="410558" y="418879"/>
                  </a:lnTo>
                  <a:cubicBezTo>
                    <a:pt x="435186" y="418879"/>
                    <a:pt x="455238" y="438902"/>
                    <a:pt x="455238" y="463516"/>
                  </a:cubicBezTo>
                  <a:close/>
                  <a:moveTo>
                    <a:pt x="431893" y="463516"/>
                  </a:moveTo>
                  <a:cubicBezTo>
                    <a:pt x="431893" y="451770"/>
                    <a:pt x="422318" y="442225"/>
                    <a:pt x="410558" y="442225"/>
                  </a:cubicBezTo>
                  <a:lnTo>
                    <a:pt x="318488" y="442225"/>
                  </a:lnTo>
                  <a:cubicBezTo>
                    <a:pt x="315558" y="442225"/>
                    <a:pt x="312717" y="441117"/>
                    <a:pt x="310575" y="439121"/>
                  </a:cubicBezTo>
                  <a:lnTo>
                    <a:pt x="257165" y="389763"/>
                  </a:lnTo>
                  <a:lnTo>
                    <a:pt x="257165" y="430552"/>
                  </a:lnTo>
                  <a:cubicBezTo>
                    <a:pt x="257165" y="436993"/>
                    <a:pt x="251948" y="442225"/>
                    <a:pt x="245493" y="442225"/>
                  </a:cubicBezTo>
                  <a:lnTo>
                    <a:pt x="226373" y="442225"/>
                  </a:lnTo>
                  <a:cubicBezTo>
                    <a:pt x="214628" y="442225"/>
                    <a:pt x="205082" y="451770"/>
                    <a:pt x="205082" y="463516"/>
                  </a:cubicBezTo>
                  <a:lnTo>
                    <a:pt x="205082" y="572491"/>
                  </a:lnTo>
                  <a:cubicBezTo>
                    <a:pt x="205082" y="584251"/>
                    <a:pt x="214642" y="593825"/>
                    <a:pt x="226373" y="593825"/>
                  </a:cubicBezTo>
                  <a:lnTo>
                    <a:pt x="410573" y="593825"/>
                  </a:lnTo>
                  <a:cubicBezTo>
                    <a:pt x="422333" y="593825"/>
                    <a:pt x="431907" y="584251"/>
                    <a:pt x="431907" y="572491"/>
                  </a:cubicBezTo>
                  <a:lnTo>
                    <a:pt x="431907" y="463516"/>
                  </a:lnTo>
                  <a:close/>
                  <a:moveTo>
                    <a:pt x="386499" y="502702"/>
                  </a:moveTo>
                  <a:cubicBezTo>
                    <a:pt x="387927" y="507088"/>
                    <a:pt x="386644" y="511897"/>
                    <a:pt x="383220" y="514987"/>
                  </a:cubicBezTo>
                  <a:lnTo>
                    <a:pt x="358023" y="537691"/>
                  </a:lnTo>
                  <a:lnTo>
                    <a:pt x="365091" y="570844"/>
                  </a:lnTo>
                  <a:cubicBezTo>
                    <a:pt x="366053" y="575361"/>
                    <a:pt x="364261" y="580010"/>
                    <a:pt x="360530" y="582721"/>
                  </a:cubicBezTo>
                  <a:cubicBezTo>
                    <a:pt x="358490" y="584193"/>
                    <a:pt x="356085" y="584950"/>
                    <a:pt x="353666" y="584950"/>
                  </a:cubicBezTo>
                  <a:cubicBezTo>
                    <a:pt x="351655" y="584950"/>
                    <a:pt x="349644" y="584426"/>
                    <a:pt x="347823" y="583377"/>
                  </a:cubicBezTo>
                  <a:lnTo>
                    <a:pt x="318473" y="566399"/>
                  </a:lnTo>
                  <a:lnTo>
                    <a:pt x="289123" y="583377"/>
                  </a:lnTo>
                  <a:cubicBezTo>
                    <a:pt x="285131" y="585679"/>
                    <a:pt x="280147" y="585431"/>
                    <a:pt x="276416" y="582721"/>
                  </a:cubicBezTo>
                  <a:cubicBezTo>
                    <a:pt x="272685" y="580010"/>
                    <a:pt x="270893" y="575361"/>
                    <a:pt x="271855" y="570844"/>
                  </a:cubicBezTo>
                  <a:lnTo>
                    <a:pt x="278923" y="537706"/>
                  </a:lnTo>
                  <a:lnTo>
                    <a:pt x="253697" y="515001"/>
                  </a:lnTo>
                  <a:cubicBezTo>
                    <a:pt x="250272" y="511912"/>
                    <a:pt x="248976" y="507103"/>
                    <a:pt x="250404" y="502716"/>
                  </a:cubicBezTo>
                  <a:cubicBezTo>
                    <a:pt x="251832" y="498330"/>
                    <a:pt x="255708" y="495197"/>
                    <a:pt x="260299" y="494716"/>
                  </a:cubicBezTo>
                  <a:lnTo>
                    <a:pt x="294034" y="491204"/>
                  </a:lnTo>
                  <a:lnTo>
                    <a:pt x="307820" y="460237"/>
                  </a:lnTo>
                  <a:cubicBezTo>
                    <a:pt x="309700" y="456025"/>
                    <a:pt x="313868" y="453315"/>
                    <a:pt x="318488" y="453315"/>
                  </a:cubicBezTo>
                  <a:cubicBezTo>
                    <a:pt x="323107" y="453315"/>
                    <a:pt x="327275" y="456025"/>
                    <a:pt x="329155" y="460237"/>
                  </a:cubicBezTo>
                  <a:lnTo>
                    <a:pt x="342941" y="491204"/>
                  </a:lnTo>
                  <a:lnTo>
                    <a:pt x="376633" y="494716"/>
                  </a:lnTo>
                  <a:cubicBezTo>
                    <a:pt x="381223" y="495197"/>
                    <a:pt x="385085" y="498330"/>
                    <a:pt x="386513" y="502716"/>
                  </a:cubicBezTo>
                  <a:close/>
                  <a:moveTo>
                    <a:pt x="348114" y="515205"/>
                  </a:moveTo>
                  <a:lnTo>
                    <a:pt x="333789" y="513704"/>
                  </a:lnTo>
                  <a:cubicBezTo>
                    <a:pt x="329636" y="513267"/>
                    <a:pt x="326036" y="510658"/>
                    <a:pt x="324331" y="506840"/>
                  </a:cubicBezTo>
                  <a:lnTo>
                    <a:pt x="318473" y="493667"/>
                  </a:lnTo>
                  <a:lnTo>
                    <a:pt x="312615" y="506840"/>
                  </a:lnTo>
                  <a:cubicBezTo>
                    <a:pt x="310924" y="510658"/>
                    <a:pt x="307310" y="513267"/>
                    <a:pt x="303157" y="513704"/>
                  </a:cubicBezTo>
                  <a:lnTo>
                    <a:pt x="288817" y="515205"/>
                  </a:lnTo>
                  <a:lnTo>
                    <a:pt x="299543" y="524867"/>
                  </a:lnTo>
                  <a:cubicBezTo>
                    <a:pt x="302647" y="527665"/>
                    <a:pt x="304017" y="531891"/>
                    <a:pt x="303142" y="535971"/>
                  </a:cubicBezTo>
                  <a:lnTo>
                    <a:pt x="300155" y="550020"/>
                  </a:lnTo>
                  <a:lnTo>
                    <a:pt x="312615" y="542806"/>
                  </a:lnTo>
                  <a:cubicBezTo>
                    <a:pt x="316229" y="540722"/>
                    <a:pt x="320688" y="540707"/>
                    <a:pt x="324302" y="542806"/>
                  </a:cubicBezTo>
                  <a:lnTo>
                    <a:pt x="336762" y="550020"/>
                  </a:lnTo>
                  <a:lnTo>
                    <a:pt x="333774" y="535971"/>
                  </a:lnTo>
                  <a:cubicBezTo>
                    <a:pt x="332900" y="531891"/>
                    <a:pt x="334284" y="527665"/>
                    <a:pt x="337374" y="524867"/>
                  </a:cubicBezTo>
                  <a:lnTo>
                    <a:pt x="348099" y="515205"/>
                  </a:lnTo>
                  <a:close/>
                </a:path>
              </a:pathLst>
            </a:custGeom>
            <a:solidFill>
              <a:schemeClr val="bg1"/>
            </a:solidFill>
            <a:ln w="1451"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5" name="Group 4">
            <a:extLst>
              <a:ext uri="{FF2B5EF4-FFF2-40B4-BE49-F238E27FC236}">
                <a16:creationId xmlns:a16="http://schemas.microsoft.com/office/drawing/2014/main" id="{930450B8-5C14-A15C-EAB7-6D77B5FD9A42}"/>
              </a:ext>
            </a:extLst>
          </p:cNvPr>
          <p:cNvGrpSpPr/>
          <p:nvPr/>
        </p:nvGrpSpPr>
        <p:grpSpPr>
          <a:xfrm>
            <a:off x="9560615" y="1967760"/>
            <a:ext cx="689054" cy="689054"/>
            <a:chOff x="9560615" y="1967760"/>
            <a:chExt cx="689054" cy="689054"/>
          </a:xfrm>
        </p:grpSpPr>
        <p:sp>
          <p:nvSpPr>
            <p:cNvPr id="44" name="Oval 43">
              <a:extLst>
                <a:ext uri="{FF2B5EF4-FFF2-40B4-BE49-F238E27FC236}">
                  <a16:creationId xmlns:a16="http://schemas.microsoft.com/office/drawing/2014/main" id="{49F10501-D135-DC36-89DD-B40D60724BE0}"/>
                </a:ext>
              </a:extLst>
            </p:cNvPr>
            <p:cNvSpPr>
              <a:spLocks noChangeAspect="1"/>
            </p:cNvSpPr>
            <p:nvPr/>
          </p:nvSpPr>
          <p:spPr>
            <a:xfrm>
              <a:off x="9560615" y="1967760"/>
              <a:ext cx="689054" cy="68905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sp>
          <p:nvSpPr>
            <p:cNvPr id="119" name="Pic">
              <a:extLst>
                <a:ext uri="{FF2B5EF4-FFF2-40B4-BE49-F238E27FC236}">
                  <a16:creationId xmlns:a16="http://schemas.microsoft.com/office/drawing/2014/main" id="{E514906F-E4D5-BD07-B3F6-51450E30EA86}"/>
                </a:ext>
              </a:extLst>
            </p:cNvPr>
            <p:cNvSpPr>
              <a:spLocks noChangeAspect="1"/>
            </p:cNvSpPr>
            <p:nvPr/>
          </p:nvSpPr>
          <p:spPr>
            <a:xfrm>
              <a:off x="9722310" y="2129452"/>
              <a:ext cx="365665" cy="365669"/>
            </a:xfrm>
            <a:custGeom>
              <a:avLst/>
              <a:gdLst>
                <a:gd name="csX0" fmla="*/ 297560 w 712579"/>
                <a:gd name="csY0" fmla="*/ 550717 h 712587"/>
                <a:gd name="csX1" fmla="*/ 271408 w 712579"/>
                <a:gd name="csY1" fmla="*/ 502947 h 712587"/>
                <a:gd name="csX2" fmla="*/ 218114 w 712579"/>
                <a:gd name="csY2" fmla="*/ 485094 h 712587"/>
                <a:gd name="csX3" fmla="*/ 204962 w 712579"/>
                <a:gd name="csY3" fmla="*/ 481675 h 712587"/>
                <a:gd name="csX4" fmla="*/ 202024 w 712579"/>
                <a:gd name="csY4" fmla="*/ 480856 h 712587"/>
                <a:gd name="csX5" fmla="*/ 170934 w 712579"/>
                <a:gd name="csY5" fmla="*/ 487468 h 712587"/>
                <a:gd name="csX6" fmla="*/ 128048 w 712579"/>
                <a:gd name="csY6" fmla="*/ 487468 h 712587"/>
                <a:gd name="csX7" fmla="*/ 96957 w 712579"/>
                <a:gd name="csY7" fmla="*/ 480856 h 712587"/>
                <a:gd name="csX8" fmla="*/ 94094 w 712579"/>
                <a:gd name="csY8" fmla="*/ 481655 h 712587"/>
                <a:gd name="csX9" fmla="*/ 80868 w 712579"/>
                <a:gd name="csY9" fmla="*/ 485094 h 712587"/>
                <a:gd name="csX10" fmla="*/ 27575 w 712579"/>
                <a:gd name="csY10" fmla="*/ 502945 h 712587"/>
                <a:gd name="csX11" fmla="*/ 1422 w 712579"/>
                <a:gd name="csY11" fmla="*/ 550717 h 712587"/>
                <a:gd name="csX12" fmla="*/ 1407 w 712579"/>
                <a:gd name="csY12" fmla="*/ 550930 h 712587"/>
                <a:gd name="csX13" fmla="*/ 1543 w 712579"/>
                <a:gd name="csY13" fmla="*/ 668771 h 712587"/>
                <a:gd name="csX14" fmla="*/ 47251 w 712579"/>
                <a:gd name="csY14" fmla="*/ 712588 h 712587"/>
                <a:gd name="csX15" fmla="*/ 251731 w 712579"/>
                <a:gd name="csY15" fmla="*/ 712588 h 712587"/>
                <a:gd name="csX16" fmla="*/ 297439 w 712579"/>
                <a:gd name="csY16" fmla="*/ 668771 h 712587"/>
                <a:gd name="csX17" fmla="*/ 297574 w 712579"/>
                <a:gd name="csY17" fmla="*/ 550930 h 712587"/>
                <a:gd name="csX18" fmla="*/ 297560 w 712579"/>
                <a:gd name="csY18" fmla="*/ 550717 h 712587"/>
                <a:gd name="csX19" fmla="*/ 152908 w 712579"/>
                <a:gd name="csY19" fmla="*/ 515220 h 712587"/>
                <a:gd name="csX20" fmla="*/ 162482 w 712579"/>
                <a:gd name="csY20" fmla="*/ 610980 h 712587"/>
                <a:gd name="csX21" fmla="*/ 149489 w 712579"/>
                <a:gd name="csY21" fmla="*/ 629578 h 712587"/>
                <a:gd name="csX22" fmla="*/ 136497 w 712579"/>
                <a:gd name="csY22" fmla="*/ 610980 h 712587"/>
                <a:gd name="csX23" fmla="*/ 146072 w 712579"/>
                <a:gd name="csY23" fmla="*/ 515220 h 712587"/>
                <a:gd name="csX24" fmla="*/ 152908 w 712579"/>
                <a:gd name="csY24" fmla="*/ 515220 h 712587"/>
                <a:gd name="csX25" fmla="*/ 277660 w 712579"/>
                <a:gd name="csY25" fmla="*/ 667936 h 712587"/>
                <a:gd name="csX26" fmla="*/ 251730 w 712579"/>
                <a:gd name="csY26" fmla="*/ 692794 h 712587"/>
                <a:gd name="csX27" fmla="*/ 243500 w 712579"/>
                <a:gd name="csY27" fmla="*/ 692794 h 712587"/>
                <a:gd name="csX28" fmla="*/ 243500 w 712579"/>
                <a:gd name="csY28" fmla="*/ 609002 h 712587"/>
                <a:gd name="csX29" fmla="*/ 233603 w 712579"/>
                <a:gd name="csY29" fmla="*/ 599105 h 712587"/>
                <a:gd name="csX30" fmla="*/ 223706 w 712579"/>
                <a:gd name="csY30" fmla="*/ 609002 h 712587"/>
                <a:gd name="csX31" fmla="*/ 223706 w 712579"/>
                <a:gd name="csY31" fmla="*/ 692794 h 712587"/>
                <a:gd name="csX32" fmla="*/ 75275 w 712579"/>
                <a:gd name="csY32" fmla="*/ 692794 h 712587"/>
                <a:gd name="csX33" fmla="*/ 75275 w 712579"/>
                <a:gd name="csY33" fmla="*/ 609002 h 712587"/>
                <a:gd name="csX34" fmla="*/ 65378 w 712579"/>
                <a:gd name="csY34" fmla="*/ 599105 h 712587"/>
                <a:gd name="csX35" fmla="*/ 55481 w 712579"/>
                <a:gd name="csY35" fmla="*/ 609002 h 712587"/>
                <a:gd name="csX36" fmla="*/ 55481 w 712579"/>
                <a:gd name="csY36" fmla="*/ 692794 h 712587"/>
                <a:gd name="csX37" fmla="*/ 47251 w 712579"/>
                <a:gd name="csY37" fmla="*/ 692794 h 712587"/>
                <a:gd name="csX38" fmla="*/ 21320 w 712579"/>
                <a:gd name="csY38" fmla="*/ 667936 h 712587"/>
                <a:gd name="csX39" fmla="*/ 21166 w 712579"/>
                <a:gd name="csY39" fmla="*/ 552128 h 712587"/>
                <a:gd name="csX40" fmla="*/ 37587 w 712579"/>
                <a:gd name="csY40" fmla="*/ 520020 h 712587"/>
                <a:gd name="csX41" fmla="*/ 85764 w 712579"/>
                <a:gd name="csY41" fmla="*/ 504273 h 712587"/>
                <a:gd name="csX42" fmla="*/ 99336 w 712579"/>
                <a:gd name="csY42" fmla="*/ 500742 h 712587"/>
                <a:gd name="csX43" fmla="*/ 102271 w 712579"/>
                <a:gd name="csY43" fmla="*/ 499924 h 712587"/>
                <a:gd name="csX44" fmla="*/ 115439 w 712579"/>
                <a:gd name="csY44" fmla="*/ 502725 h 712587"/>
                <a:gd name="csX45" fmla="*/ 126703 w 712579"/>
                <a:gd name="csY45" fmla="*/ 510002 h 712587"/>
                <a:gd name="csX46" fmla="*/ 116437 w 712579"/>
                <a:gd name="csY46" fmla="*/ 612658 h 712587"/>
                <a:gd name="csX47" fmla="*/ 118172 w 712579"/>
                <a:gd name="csY47" fmla="*/ 619311 h 712587"/>
                <a:gd name="csX48" fmla="*/ 141377 w 712579"/>
                <a:gd name="csY48" fmla="*/ 652527 h 712587"/>
                <a:gd name="csX49" fmla="*/ 149490 w 712579"/>
                <a:gd name="csY49" fmla="*/ 656755 h 712587"/>
                <a:gd name="csX50" fmla="*/ 157603 w 712579"/>
                <a:gd name="csY50" fmla="*/ 652527 h 712587"/>
                <a:gd name="csX51" fmla="*/ 180810 w 712579"/>
                <a:gd name="csY51" fmla="*/ 619311 h 712587"/>
                <a:gd name="csX52" fmla="*/ 182545 w 712579"/>
                <a:gd name="csY52" fmla="*/ 612658 h 712587"/>
                <a:gd name="csX53" fmla="*/ 172279 w 712579"/>
                <a:gd name="csY53" fmla="*/ 510002 h 712587"/>
                <a:gd name="csX54" fmla="*/ 183543 w 712579"/>
                <a:gd name="csY54" fmla="*/ 502723 h 712587"/>
                <a:gd name="csX55" fmla="*/ 196709 w 712579"/>
                <a:gd name="csY55" fmla="*/ 499924 h 712587"/>
                <a:gd name="csX56" fmla="*/ 199719 w 712579"/>
                <a:gd name="csY56" fmla="*/ 500762 h 712587"/>
                <a:gd name="csX57" fmla="*/ 213217 w 712579"/>
                <a:gd name="csY57" fmla="*/ 504273 h 712587"/>
                <a:gd name="csX58" fmla="*/ 261396 w 712579"/>
                <a:gd name="csY58" fmla="*/ 520022 h 712587"/>
                <a:gd name="csX59" fmla="*/ 277816 w 712579"/>
                <a:gd name="csY59" fmla="*/ 552128 h 712587"/>
                <a:gd name="csX60" fmla="*/ 277662 w 712579"/>
                <a:gd name="csY60" fmla="*/ 667936 h 712587"/>
                <a:gd name="csX61" fmla="*/ 148850 w 712579"/>
                <a:gd name="csY61" fmla="*/ 481886 h 712587"/>
                <a:gd name="csX62" fmla="*/ 149490 w 712579"/>
                <a:gd name="csY62" fmla="*/ 481907 h 712587"/>
                <a:gd name="csX63" fmla="*/ 150131 w 712579"/>
                <a:gd name="csY63" fmla="*/ 481886 h 712587"/>
                <a:gd name="csX64" fmla="*/ 219539 w 712579"/>
                <a:gd name="csY64" fmla="*/ 388464 h 712587"/>
                <a:gd name="csX65" fmla="*/ 149490 w 712579"/>
                <a:gd name="csY65" fmla="*/ 317328 h 712587"/>
                <a:gd name="csX66" fmla="*/ 79440 w 712579"/>
                <a:gd name="csY66" fmla="*/ 388464 h 712587"/>
                <a:gd name="csX67" fmla="*/ 148850 w 712579"/>
                <a:gd name="csY67" fmla="*/ 481886 h 712587"/>
                <a:gd name="csX68" fmla="*/ 99223 w 712579"/>
                <a:gd name="csY68" fmla="*/ 389105 h 712587"/>
                <a:gd name="csX69" fmla="*/ 149490 w 712579"/>
                <a:gd name="csY69" fmla="*/ 337121 h 712587"/>
                <a:gd name="csX70" fmla="*/ 199756 w 712579"/>
                <a:gd name="csY70" fmla="*/ 389105 h 712587"/>
                <a:gd name="csX71" fmla="*/ 149490 w 712579"/>
                <a:gd name="csY71" fmla="*/ 462086 h 712587"/>
                <a:gd name="csX72" fmla="*/ 99223 w 712579"/>
                <a:gd name="csY72" fmla="*/ 389105 h 712587"/>
                <a:gd name="csX73" fmla="*/ 711170 w 712579"/>
                <a:gd name="csY73" fmla="*/ 550930 h 712587"/>
                <a:gd name="csX74" fmla="*/ 711156 w 712579"/>
                <a:gd name="csY74" fmla="*/ 550717 h 712587"/>
                <a:gd name="csX75" fmla="*/ 685004 w 712579"/>
                <a:gd name="csY75" fmla="*/ 502947 h 712587"/>
                <a:gd name="csX76" fmla="*/ 631709 w 712579"/>
                <a:gd name="csY76" fmla="*/ 485094 h 712587"/>
                <a:gd name="csX77" fmla="*/ 618558 w 712579"/>
                <a:gd name="csY77" fmla="*/ 481675 h 712587"/>
                <a:gd name="csX78" fmla="*/ 615620 w 712579"/>
                <a:gd name="csY78" fmla="*/ 480856 h 712587"/>
                <a:gd name="csX79" fmla="*/ 584529 w 712579"/>
                <a:gd name="csY79" fmla="*/ 487468 h 712587"/>
                <a:gd name="csX80" fmla="*/ 541643 w 712579"/>
                <a:gd name="csY80" fmla="*/ 487468 h 712587"/>
                <a:gd name="csX81" fmla="*/ 510550 w 712579"/>
                <a:gd name="csY81" fmla="*/ 480858 h 712587"/>
                <a:gd name="csX82" fmla="*/ 507689 w 712579"/>
                <a:gd name="csY82" fmla="*/ 481655 h 712587"/>
                <a:gd name="csX83" fmla="*/ 494464 w 712579"/>
                <a:gd name="csY83" fmla="*/ 485094 h 712587"/>
                <a:gd name="csX84" fmla="*/ 441171 w 712579"/>
                <a:gd name="csY84" fmla="*/ 502945 h 712587"/>
                <a:gd name="csX85" fmla="*/ 415017 w 712579"/>
                <a:gd name="csY85" fmla="*/ 550717 h 712587"/>
                <a:gd name="csX86" fmla="*/ 415003 w 712579"/>
                <a:gd name="csY86" fmla="*/ 550930 h 712587"/>
                <a:gd name="csX87" fmla="*/ 415139 w 712579"/>
                <a:gd name="csY87" fmla="*/ 668771 h 712587"/>
                <a:gd name="csX88" fmla="*/ 460845 w 712579"/>
                <a:gd name="csY88" fmla="*/ 712588 h 712587"/>
                <a:gd name="csX89" fmla="*/ 665328 w 712579"/>
                <a:gd name="csY89" fmla="*/ 712588 h 712587"/>
                <a:gd name="csX90" fmla="*/ 711036 w 712579"/>
                <a:gd name="csY90" fmla="*/ 668771 h 712587"/>
                <a:gd name="csX91" fmla="*/ 711172 w 712579"/>
                <a:gd name="csY91" fmla="*/ 550930 h 712587"/>
                <a:gd name="csX92" fmla="*/ 566505 w 712579"/>
                <a:gd name="csY92" fmla="*/ 515220 h 712587"/>
                <a:gd name="csX93" fmla="*/ 576079 w 712579"/>
                <a:gd name="csY93" fmla="*/ 610980 h 712587"/>
                <a:gd name="csX94" fmla="*/ 563086 w 712579"/>
                <a:gd name="csY94" fmla="*/ 629578 h 712587"/>
                <a:gd name="csX95" fmla="*/ 550094 w 712579"/>
                <a:gd name="csY95" fmla="*/ 610980 h 712587"/>
                <a:gd name="csX96" fmla="*/ 559669 w 712579"/>
                <a:gd name="csY96" fmla="*/ 515220 h 712587"/>
                <a:gd name="csX97" fmla="*/ 566505 w 712579"/>
                <a:gd name="csY97" fmla="*/ 515220 h 712587"/>
                <a:gd name="csX98" fmla="*/ 691257 w 712579"/>
                <a:gd name="csY98" fmla="*/ 667936 h 712587"/>
                <a:gd name="csX99" fmla="*/ 665327 w 712579"/>
                <a:gd name="csY99" fmla="*/ 692794 h 712587"/>
                <a:gd name="csX100" fmla="*/ 657097 w 712579"/>
                <a:gd name="csY100" fmla="*/ 692794 h 712587"/>
                <a:gd name="csX101" fmla="*/ 657097 w 712579"/>
                <a:gd name="csY101" fmla="*/ 609002 h 712587"/>
                <a:gd name="csX102" fmla="*/ 647200 w 712579"/>
                <a:gd name="csY102" fmla="*/ 599105 h 712587"/>
                <a:gd name="csX103" fmla="*/ 637303 w 712579"/>
                <a:gd name="csY103" fmla="*/ 609002 h 712587"/>
                <a:gd name="csX104" fmla="*/ 637303 w 712579"/>
                <a:gd name="csY104" fmla="*/ 692794 h 712587"/>
                <a:gd name="csX105" fmla="*/ 488871 w 712579"/>
                <a:gd name="csY105" fmla="*/ 692794 h 712587"/>
                <a:gd name="csX106" fmla="*/ 488871 w 712579"/>
                <a:gd name="csY106" fmla="*/ 609002 h 712587"/>
                <a:gd name="csX107" fmla="*/ 478974 w 712579"/>
                <a:gd name="csY107" fmla="*/ 599105 h 712587"/>
                <a:gd name="csX108" fmla="*/ 469077 w 712579"/>
                <a:gd name="csY108" fmla="*/ 609002 h 712587"/>
                <a:gd name="csX109" fmla="*/ 469077 w 712579"/>
                <a:gd name="csY109" fmla="*/ 692794 h 712587"/>
                <a:gd name="csX110" fmla="*/ 460845 w 712579"/>
                <a:gd name="csY110" fmla="*/ 692794 h 712587"/>
                <a:gd name="csX111" fmla="*/ 434916 w 712579"/>
                <a:gd name="csY111" fmla="*/ 667936 h 712587"/>
                <a:gd name="csX112" fmla="*/ 434762 w 712579"/>
                <a:gd name="csY112" fmla="*/ 552128 h 712587"/>
                <a:gd name="csX113" fmla="*/ 451183 w 712579"/>
                <a:gd name="csY113" fmla="*/ 520020 h 712587"/>
                <a:gd name="csX114" fmla="*/ 499360 w 712579"/>
                <a:gd name="csY114" fmla="*/ 504273 h 712587"/>
                <a:gd name="csX115" fmla="*/ 512933 w 712579"/>
                <a:gd name="csY115" fmla="*/ 500741 h 712587"/>
                <a:gd name="csX116" fmla="*/ 515864 w 712579"/>
                <a:gd name="csY116" fmla="*/ 499924 h 712587"/>
                <a:gd name="csX117" fmla="*/ 529034 w 712579"/>
                <a:gd name="csY117" fmla="*/ 502725 h 712587"/>
                <a:gd name="csX118" fmla="*/ 540299 w 712579"/>
                <a:gd name="csY118" fmla="*/ 510002 h 712587"/>
                <a:gd name="csX119" fmla="*/ 530033 w 712579"/>
                <a:gd name="csY119" fmla="*/ 612658 h 712587"/>
                <a:gd name="csX120" fmla="*/ 531767 w 712579"/>
                <a:gd name="csY120" fmla="*/ 619311 h 712587"/>
                <a:gd name="csX121" fmla="*/ 554973 w 712579"/>
                <a:gd name="csY121" fmla="*/ 652527 h 712587"/>
                <a:gd name="csX122" fmla="*/ 563086 w 712579"/>
                <a:gd name="csY122" fmla="*/ 656755 h 712587"/>
                <a:gd name="csX123" fmla="*/ 571199 w 712579"/>
                <a:gd name="csY123" fmla="*/ 652527 h 712587"/>
                <a:gd name="csX124" fmla="*/ 594406 w 712579"/>
                <a:gd name="csY124" fmla="*/ 619311 h 712587"/>
                <a:gd name="csX125" fmla="*/ 596141 w 712579"/>
                <a:gd name="csY125" fmla="*/ 612658 h 712587"/>
                <a:gd name="csX126" fmla="*/ 585875 w 712579"/>
                <a:gd name="csY126" fmla="*/ 510002 h 712587"/>
                <a:gd name="csX127" fmla="*/ 597138 w 712579"/>
                <a:gd name="csY127" fmla="*/ 502725 h 712587"/>
                <a:gd name="csX128" fmla="*/ 610305 w 712579"/>
                <a:gd name="csY128" fmla="*/ 499924 h 712587"/>
                <a:gd name="csX129" fmla="*/ 613315 w 712579"/>
                <a:gd name="csY129" fmla="*/ 500762 h 712587"/>
                <a:gd name="csX130" fmla="*/ 626813 w 712579"/>
                <a:gd name="csY130" fmla="*/ 504273 h 712587"/>
                <a:gd name="csX131" fmla="*/ 674992 w 712579"/>
                <a:gd name="csY131" fmla="*/ 520022 h 712587"/>
                <a:gd name="csX132" fmla="*/ 691411 w 712579"/>
                <a:gd name="csY132" fmla="*/ 552128 h 712587"/>
                <a:gd name="csX133" fmla="*/ 691257 w 712579"/>
                <a:gd name="csY133" fmla="*/ 667936 h 712587"/>
                <a:gd name="csX134" fmla="*/ 563087 w 712579"/>
                <a:gd name="csY134" fmla="*/ 317327 h 712587"/>
                <a:gd name="csX135" fmla="*/ 493037 w 712579"/>
                <a:gd name="csY135" fmla="*/ 388463 h 712587"/>
                <a:gd name="csX136" fmla="*/ 562447 w 712579"/>
                <a:gd name="csY136" fmla="*/ 481884 h 712587"/>
                <a:gd name="csX137" fmla="*/ 563087 w 712579"/>
                <a:gd name="csY137" fmla="*/ 481905 h 712587"/>
                <a:gd name="csX138" fmla="*/ 563728 w 712579"/>
                <a:gd name="csY138" fmla="*/ 481884 h 712587"/>
                <a:gd name="csX139" fmla="*/ 633136 w 712579"/>
                <a:gd name="csY139" fmla="*/ 388463 h 712587"/>
                <a:gd name="csX140" fmla="*/ 563087 w 712579"/>
                <a:gd name="csY140" fmla="*/ 317327 h 712587"/>
                <a:gd name="csX141" fmla="*/ 563087 w 712579"/>
                <a:gd name="csY141" fmla="*/ 462086 h 712587"/>
                <a:gd name="csX142" fmla="*/ 512820 w 712579"/>
                <a:gd name="csY142" fmla="*/ 389105 h 712587"/>
                <a:gd name="csX143" fmla="*/ 563087 w 712579"/>
                <a:gd name="csY143" fmla="*/ 337121 h 712587"/>
                <a:gd name="csX144" fmla="*/ 613353 w 712579"/>
                <a:gd name="csY144" fmla="*/ 389105 h 712587"/>
                <a:gd name="csX145" fmla="*/ 563087 w 712579"/>
                <a:gd name="csY145" fmla="*/ 462086 h 712587"/>
                <a:gd name="csX146" fmla="*/ 415153 w 712579"/>
                <a:gd name="csY146" fmla="*/ 369937 h 712587"/>
                <a:gd name="csX147" fmla="*/ 438473 w 712579"/>
                <a:gd name="csY147" fmla="*/ 341856 h 712587"/>
                <a:gd name="csX148" fmla="*/ 474814 w 712579"/>
                <a:gd name="csY148" fmla="*/ 345272 h 712587"/>
                <a:gd name="csX149" fmla="*/ 483843 w 712579"/>
                <a:gd name="csY149" fmla="*/ 341103 h 712587"/>
                <a:gd name="csX150" fmla="*/ 484691 w 712579"/>
                <a:gd name="csY150" fmla="*/ 331194 h 712587"/>
                <a:gd name="csX151" fmla="*/ 448074 w 712579"/>
                <a:gd name="csY151" fmla="*/ 253618 h 712587"/>
                <a:gd name="csX152" fmla="*/ 458154 w 712579"/>
                <a:gd name="csY152" fmla="*/ 245921 h 712587"/>
                <a:gd name="csX153" fmla="*/ 470206 w 712579"/>
                <a:gd name="csY153" fmla="*/ 205360 h 712587"/>
                <a:gd name="csX154" fmla="*/ 480191 w 712579"/>
                <a:gd name="csY154" fmla="*/ 181261 h 712587"/>
                <a:gd name="csX155" fmla="*/ 485643 w 712579"/>
                <a:gd name="csY155" fmla="*/ 176895 h 712587"/>
                <a:gd name="csX156" fmla="*/ 573409 w 712579"/>
                <a:gd name="csY156" fmla="*/ 243844 h 712587"/>
                <a:gd name="csX157" fmla="*/ 593839 w 712579"/>
                <a:gd name="csY157" fmla="*/ 241535 h 712587"/>
                <a:gd name="csX158" fmla="*/ 633454 w 712579"/>
                <a:gd name="csY158" fmla="*/ 275496 h 712587"/>
                <a:gd name="csX159" fmla="*/ 639897 w 712579"/>
                <a:gd name="csY159" fmla="*/ 277880 h 712587"/>
                <a:gd name="csX160" fmla="*/ 644844 w 712579"/>
                <a:gd name="csY160" fmla="*/ 276554 h 712587"/>
                <a:gd name="csX161" fmla="*/ 649625 w 712579"/>
                <a:gd name="csY161" fmla="*/ 266161 h 712587"/>
                <a:gd name="csX162" fmla="*/ 640019 w 712579"/>
                <a:gd name="csY162" fmla="*/ 214863 h 712587"/>
                <a:gd name="csX163" fmla="*/ 664431 w 712579"/>
                <a:gd name="csY163" fmla="*/ 152823 h 712587"/>
                <a:gd name="csX164" fmla="*/ 573410 w 712579"/>
                <a:gd name="csY164" fmla="*/ 61804 h 712587"/>
                <a:gd name="csX165" fmla="*/ 490239 w 712579"/>
                <a:gd name="csY165" fmla="*/ 115916 h 712587"/>
                <a:gd name="csX166" fmla="*/ 480194 w 712579"/>
                <a:gd name="csY166" fmla="*/ 106854 h 712587"/>
                <a:gd name="csX167" fmla="*/ 470209 w 712579"/>
                <a:gd name="csY167" fmla="*/ 82752 h 712587"/>
                <a:gd name="csX168" fmla="*/ 458156 w 712579"/>
                <a:gd name="csY168" fmla="*/ 42193 h 712587"/>
                <a:gd name="csX169" fmla="*/ 417596 w 712579"/>
                <a:gd name="csY169" fmla="*/ 30141 h 712587"/>
                <a:gd name="csX170" fmla="*/ 393495 w 712579"/>
                <a:gd name="csY170" fmla="*/ 20158 h 712587"/>
                <a:gd name="csX171" fmla="*/ 356292 w 712579"/>
                <a:gd name="csY171" fmla="*/ 0 h 712587"/>
                <a:gd name="csX172" fmla="*/ 319089 w 712579"/>
                <a:gd name="csY172" fmla="*/ 20158 h 712587"/>
                <a:gd name="csX173" fmla="*/ 294987 w 712579"/>
                <a:gd name="csY173" fmla="*/ 30139 h 712587"/>
                <a:gd name="csX174" fmla="*/ 254426 w 712579"/>
                <a:gd name="csY174" fmla="*/ 42194 h 712587"/>
                <a:gd name="csX175" fmla="*/ 242376 w 712579"/>
                <a:gd name="csY175" fmla="*/ 82754 h 712587"/>
                <a:gd name="csX176" fmla="*/ 232392 w 712579"/>
                <a:gd name="csY176" fmla="*/ 106854 h 712587"/>
                <a:gd name="csX177" fmla="*/ 222344 w 712579"/>
                <a:gd name="csY177" fmla="*/ 115917 h 712587"/>
                <a:gd name="csX178" fmla="*/ 139173 w 712579"/>
                <a:gd name="csY178" fmla="*/ 61804 h 712587"/>
                <a:gd name="csX179" fmla="*/ 48153 w 712579"/>
                <a:gd name="csY179" fmla="*/ 152823 h 712587"/>
                <a:gd name="csX180" fmla="*/ 72563 w 712579"/>
                <a:gd name="csY180" fmla="*/ 214861 h 712587"/>
                <a:gd name="csX181" fmla="*/ 62957 w 712579"/>
                <a:gd name="csY181" fmla="*/ 266159 h 712587"/>
                <a:gd name="csX182" fmla="*/ 67738 w 712579"/>
                <a:gd name="csY182" fmla="*/ 276552 h 712587"/>
                <a:gd name="csX183" fmla="*/ 72685 w 712579"/>
                <a:gd name="csY183" fmla="*/ 277879 h 712587"/>
                <a:gd name="csX184" fmla="*/ 79128 w 712579"/>
                <a:gd name="csY184" fmla="*/ 275495 h 712587"/>
                <a:gd name="csX185" fmla="*/ 118744 w 712579"/>
                <a:gd name="csY185" fmla="*/ 241534 h 712587"/>
                <a:gd name="csX186" fmla="*/ 139175 w 712579"/>
                <a:gd name="csY186" fmla="*/ 243843 h 712587"/>
                <a:gd name="csX187" fmla="*/ 226939 w 712579"/>
                <a:gd name="csY187" fmla="*/ 176893 h 712587"/>
                <a:gd name="csX188" fmla="*/ 232392 w 712579"/>
                <a:gd name="csY188" fmla="*/ 181261 h 712587"/>
                <a:gd name="csX189" fmla="*/ 242376 w 712579"/>
                <a:gd name="csY189" fmla="*/ 205363 h 712587"/>
                <a:gd name="csX190" fmla="*/ 254429 w 712579"/>
                <a:gd name="csY190" fmla="*/ 245921 h 712587"/>
                <a:gd name="csX191" fmla="*/ 264908 w 712579"/>
                <a:gd name="csY191" fmla="*/ 253846 h 712587"/>
                <a:gd name="csX192" fmla="*/ 228295 w 712579"/>
                <a:gd name="csY192" fmla="*/ 331415 h 712587"/>
                <a:gd name="csX193" fmla="*/ 229143 w 712579"/>
                <a:gd name="csY193" fmla="*/ 341323 h 712587"/>
                <a:gd name="csX194" fmla="*/ 238172 w 712579"/>
                <a:gd name="csY194" fmla="*/ 345493 h 712587"/>
                <a:gd name="csX195" fmla="*/ 274513 w 712579"/>
                <a:gd name="csY195" fmla="*/ 342077 h 712587"/>
                <a:gd name="csX196" fmla="*/ 297832 w 712579"/>
                <a:gd name="csY196" fmla="*/ 370158 h 712587"/>
                <a:gd name="csX197" fmla="*/ 305445 w 712579"/>
                <a:gd name="csY197" fmla="*/ 373732 h 712587"/>
                <a:gd name="csX198" fmla="*/ 307170 w 712579"/>
                <a:gd name="csY198" fmla="*/ 373582 h 712587"/>
                <a:gd name="csX199" fmla="*/ 314767 w 712579"/>
                <a:gd name="csY199" fmla="*/ 367164 h 712587"/>
                <a:gd name="csX200" fmla="*/ 343614 w 712579"/>
                <a:gd name="csY200" fmla="*/ 286399 h 712587"/>
                <a:gd name="csX201" fmla="*/ 356295 w 712579"/>
                <a:gd name="csY201" fmla="*/ 288114 h 712587"/>
                <a:gd name="csX202" fmla="*/ 369414 w 712579"/>
                <a:gd name="csY202" fmla="*/ 286278 h 712587"/>
                <a:gd name="csX203" fmla="*/ 398226 w 712579"/>
                <a:gd name="csY203" fmla="*/ 366944 h 712587"/>
                <a:gd name="csX204" fmla="*/ 405823 w 712579"/>
                <a:gd name="csY204" fmla="*/ 373361 h 712587"/>
                <a:gd name="csX205" fmla="*/ 407548 w 712579"/>
                <a:gd name="csY205" fmla="*/ 373511 h 712587"/>
                <a:gd name="csX206" fmla="*/ 415160 w 712579"/>
                <a:gd name="csY206" fmla="*/ 369937 h 712587"/>
                <a:gd name="csX207" fmla="*/ 573409 w 712579"/>
                <a:gd name="csY207" fmla="*/ 81597 h 712587"/>
                <a:gd name="csX208" fmla="*/ 644635 w 712579"/>
                <a:gd name="csY208" fmla="*/ 152822 h 712587"/>
                <a:gd name="csX209" fmla="*/ 622512 w 712579"/>
                <a:gd name="csY209" fmla="*/ 204418 h 712587"/>
                <a:gd name="csX210" fmla="*/ 619607 w 712579"/>
                <a:gd name="csY210" fmla="*/ 213408 h 712587"/>
                <a:gd name="csX211" fmla="*/ 624994 w 712579"/>
                <a:gd name="csY211" fmla="*/ 242169 h 712587"/>
                <a:gd name="csX212" fmla="*/ 602793 w 712579"/>
                <a:gd name="csY212" fmla="*/ 223137 h 712587"/>
                <a:gd name="csX213" fmla="*/ 596350 w 712579"/>
                <a:gd name="csY213" fmla="*/ 220753 h 712587"/>
                <a:gd name="csX214" fmla="*/ 593556 w 712579"/>
                <a:gd name="csY214" fmla="*/ 221156 h 712587"/>
                <a:gd name="csX215" fmla="*/ 573409 w 712579"/>
                <a:gd name="csY215" fmla="*/ 224048 h 712587"/>
                <a:gd name="csX216" fmla="*/ 502182 w 712579"/>
                <a:gd name="csY216" fmla="*/ 152822 h 712587"/>
                <a:gd name="csX217" fmla="*/ 573409 w 712579"/>
                <a:gd name="csY217" fmla="*/ 81597 h 712587"/>
                <a:gd name="csX218" fmla="*/ 139172 w 712579"/>
                <a:gd name="csY218" fmla="*/ 224048 h 712587"/>
                <a:gd name="csX219" fmla="*/ 119024 w 712579"/>
                <a:gd name="csY219" fmla="*/ 221156 h 712587"/>
                <a:gd name="csX220" fmla="*/ 109789 w 712579"/>
                <a:gd name="csY220" fmla="*/ 223137 h 712587"/>
                <a:gd name="csX221" fmla="*/ 87587 w 712579"/>
                <a:gd name="csY221" fmla="*/ 242169 h 712587"/>
                <a:gd name="csX222" fmla="*/ 92974 w 712579"/>
                <a:gd name="csY222" fmla="*/ 213408 h 712587"/>
                <a:gd name="csX223" fmla="*/ 90070 w 712579"/>
                <a:gd name="csY223" fmla="*/ 204418 h 712587"/>
                <a:gd name="csX224" fmla="*/ 67947 w 712579"/>
                <a:gd name="csY224" fmla="*/ 152822 h 712587"/>
                <a:gd name="csX225" fmla="*/ 139173 w 712579"/>
                <a:gd name="csY225" fmla="*/ 81597 h 712587"/>
                <a:gd name="csX226" fmla="*/ 210398 w 712579"/>
                <a:gd name="csY226" fmla="*/ 152822 h 712587"/>
                <a:gd name="csX227" fmla="*/ 139173 w 712579"/>
                <a:gd name="csY227" fmla="*/ 224048 h 712587"/>
                <a:gd name="csX228" fmla="*/ 301963 w 712579"/>
                <a:gd name="csY228" fmla="*/ 344154 h 712587"/>
                <a:gd name="csX229" fmla="*/ 286398 w 712579"/>
                <a:gd name="csY229" fmla="*/ 325411 h 712587"/>
                <a:gd name="csX230" fmla="*/ 277858 w 712579"/>
                <a:gd name="csY230" fmla="*/ 321881 h 712587"/>
                <a:gd name="csX231" fmla="*/ 253603 w 712579"/>
                <a:gd name="csY231" fmla="*/ 324160 h 712587"/>
                <a:gd name="csX232" fmla="*/ 284451 w 712579"/>
                <a:gd name="csY232" fmla="*/ 258808 h 712587"/>
                <a:gd name="csX233" fmla="*/ 294989 w 712579"/>
                <a:gd name="csY233" fmla="*/ 257974 h 712587"/>
                <a:gd name="csX234" fmla="*/ 319088 w 712579"/>
                <a:gd name="csY234" fmla="*/ 267958 h 712587"/>
                <a:gd name="csX235" fmla="*/ 326215 w 712579"/>
                <a:gd name="csY235" fmla="*/ 276257 h 712587"/>
                <a:gd name="csX236" fmla="*/ 301965 w 712579"/>
                <a:gd name="csY236" fmla="*/ 344154 h 712587"/>
                <a:gd name="csX237" fmla="*/ 335224 w 712579"/>
                <a:gd name="csY237" fmla="*/ 256495 h 712587"/>
                <a:gd name="csX238" fmla="*/ 299503 w 712579"/>
                <a:gd name="csY238" fmla="*/ 237791 h 712587"/>
                <a:gd name="csX239" fmla="*/ 291679 w 712579"/>
                <a:gd name="csY239" fmla="*/ 238457 h 712587"/>
                <a:gd name="csX240" fmla="*/ 268423 w 712579"/>
                <a:gd name="csY240" fmla="*/ 231924 h 712587"/>
                <a:gd name="csX241" fmla="*/ 261887 w 712579"/>
                <a:gd name="csY241" fmla="*/ 208667 h 712587"/>
                <a:gd name="csX242" fmla="*/ 243852 w 712579"/>
                <a:gd name="csY242" fmla="*/ 165121 h 712587"/>
                <a:gd name="csX243" fmla="*/ 232026 w 712579"/>
                <a:gd name="csY243" fmla="*/ 144056 h 712587"/>
                <a:gd name="csX244" fmla="*/ 243852 w 712579"/>
                <a:gd name="csY244" fmla="*/ 122991 h 712587"/>
                <a:gd name="csX245" fmla="*/ 261888 w 712579"/>
                <a:gd name="csY245" fmla="*/ 79444 h 712587"/>
                <a:gd name="csX246" fmla="*/ 268422 w 712579"/>
                <a:gd name="csY246" fmla="*/ 56188 h 712587"/>
                <a:gd name="csX247" fmla="*/ 291680 w 712579"/>
                <a:gd name="csY247" fmla="*/ 49654 h 712587"/>
                <a:gd name="csX248" fmla="*/ 335224 w 712579"/>
                <a:gd name="csY248" fmla="*/ 31618 h 712587"/>
                <a:gd name="csX249" fmla="*/ 356290 w 712579"/>
                <a:gd name="csY249" fmla="*/ 19793 h 712587"/>
                <a:gd name="csX250" fmla="*/ 377355 w 712579"/>
                <a:gd name="csY250" fmla="*/ 31618 h 712587"/>
                <a:gd name="csX251" fmla="*/ 420900 w 712579"/>
                <a:gd name="csY251" fmla="*/ 49655 h 712587"/>
                <a:gd name="csX252" fmla="*/ 444157 w 712579"/>
                <a:gd name="csY252" fmla="*/ 56188 h 712587"/>
                <a:gd name="csX253" fmla="*/ 450691 w 712579"/>
                <a:gd name="csY253" fmla="*/ 79447 h 712587"/>
                <a:gd name="csX254" fmla="*/ 468727 w 712579"/>
                <a:gd name="csY254" fmla="*/ 122991 h 712587"/>
                <a:gd name="csX255" fmla="*/ 480553 w 712579"/>
                <a:gd name="csY255" fmla="*/ 144056 h 712587"/>
                <a:gd name="csX256" fmla="*/ 468727 w 712579"/>
                <a:gd name="csY256" fmla="*/ 165121 h 712587"/>
                <a:gd name="csX257" fmla="*/ 450691 w 712579"/>
                <a:gd name="csY257" fmla="*/ 208667 h 712587"/>
                <a:gd name="csX258" fmla="*/ 444156 w 712579"/>
                <a:gd name="csY258" fmla="*/ 231924 h 712587"/>
                <a:gd name="csX259" fmla="*/ 420899 w 712579"/>
                <a:gd name="csY259" fmla="*/ 238457 h 712587"/>
                <a:gd name="csX260" fmla="*/ 377355 w 712579"/>
                <a:gd name="csY260" fmla="*/ 256494 h 712587"/>
                <a:gd name="csX261" fmla="*/ 356290 w 712579"/>
                <a:gd name="csY261" fmla="*/ 268319 h 712587"/>
                <a:gd name="csX262" fmla="*/ 335224 w 712579"/>
                <a:gd name="csY262" fmla="*/ 256495 h 712587"/>
                <a:gd name="csX263" fmla="*/ 386723 w 712579"/>
                <a:gd name="csY263" fmla="*/ 275909 h 712587"/>
                <a:gd name="csX264" fmla="*/ 393494 w 712579"/>
                <a:gd name="csY264" fmla="*/ 267958 h 712587"/>
                <a:gd name="csX265" fmla="*/ 417596 w 712579"/>
                <a:gd name="csY265" fmla="*/ 257976 h 712587"/>
                <a:gd name="csX266" fmla="*/ 428634 w 712579"/>
                <a:gd name="csY266" fmla="*/ 258803 h 712587"/>
                <a:gd name="csX267" fmla="*/ 459380 w 712579"/>
                <a:gd name="csY267" fmla="*/ 323941 h 712587"/>
                <a:gd name="csX268" fmla="*/ 435127 w 712579"/>
                <a:gd name="csY268" fmla="*/ 321662 h 712587"/>
                <a:gd name="csX269" fmla="*/ 426587 w 712579"/>
                <a:gd name="csY269" fmla="*/ 325192 h 712587"/>
                <a:gd name="csX270" fmla="*/ 411022 w 712579"/>
                <a:gd name="csY270" fmla="*/ 343935 h 712587"/>
                <a:gd name="csX271" fmla="*/ 386724 w 712579"/>
                <a:gd name="csY271" fmla="*/ 275911 h 712587"/>
                <a:gd name="csX272" fmla="*/ 438035 w 712579"/>
                <a:gd name="csY272" fmla="*/ 144058 h 712587"/>
                <a:gd name="csX273" fmla="*/ 356291 w 712579"/>
                <a:gd name="csY273" fmla="*/ 62312 h 712587"/>
                <a:gd name="csX274" fmla="*/ 274545 w 712579"/>
                <a:gd name="csY274" fmla="*/ 144058 h 712587"/>
                <a:gd name="csX275" fmla="*/ 356291 w 712579"/>
                <a:gd name="csY275" fmla="*/ 225803 h 712587"/>
                <a:gd name="csX276" fmla="*/ 438035 w 712579"/>
                <a:gd name="csY276" fmla="*/ 144058 h 712587"/>
                <a:gd name="csX277" fmla="*/ 356291 w 712579"/>
                <a:gd name="csY277" fmla="*/ 206009 h 712587"/>
                <a:gd name="csX278" fmla="*/ 294340 w 712579"/>
                <a:gd name="csY278" fmla="*/ 144058 h 712587"/>
                <a:gd name="csX279" fmla="*/ 356291 w 712579"/>
                <a:gd name="csY279" fmla="*/ 82106 h 712587"/>
                <a:gd name="csX280" fmla="*/ 418241 w 712579"/>
                <a:gd name="csY280" fmla="*/ 144058 h 712587"/>
                <a:gd name="csX281" fmla="*/ 356291 w 712579"/>
                <a:gd name="csY281" fmla="*/ 206009 h 712587"/>
                <a:gd name="csX282" fmla="*/ 389623 w 712579"/>
                <a:gd name="csY282" fmla="*/ 117427 h 712587"/>
                <a:gd name="csX283" fmla="*/ 389623 w 712579"/>
                <a:gd name="csY283" fmla="*/ 131423 h 712587"/>
                <a:gd name="csX284" fmla="*/ 350358 w 712579"/>
                <a:gd name="csY284" fmla="*/ 170688 h 712587"/>
                <a:gd name="csX285" fmla="*/ 343360 w 712579"/>
                <a:gd name="csY285" fmla="*/ 173586 h 712587"/>
                <a:gd name="csX286" fmla="*/ 342067 w 712579"/>
                <a:gd name="csY286" fmla="*/ 173501 h 712587"/>
                <a:gd name="csX287" fmla="*/ 334789 w 712579"/>
                <a:gd name="csY287" fmla="*/ 168638 h 712587"/>
                <a:gd name="csX288" fmla="*/ 321383 w 712579"/>
                <a:gd name="csY288" fmla="*/ 145415 h 712587"/>
                <a:gd name="csX289" fmla="*/ 325005 w 712579"/>
                <a:gd name="csY289" fmla="*/ 131895 h 712587"/>
                <a:gd name="csX290" fmla="*/ 338524 w 712579"/>
                <a:gd name="csY290" fmla="*/ 135518 h 712587"/>
                <a:gd name="csX291" fmla="*/ 345482 w 712579"/>
                <a:gd name="csY291" fmla="*/ 147570 h 712587"/>
                <a:gd name="csX292" fmla="*/ 375624 w 712579"/>
                <a:gd name="csY292" fmla="*/ 117426 h 712587"/>
                <a:gd name="csX293" fmla="*/ 389620 w 712579"/>
                <a:gd name="csY293" fmla="*/ 117426 h 712587"/>
                <a:gd name="csX294" fmla="*/ 562909 w 712579"/>
                <a:gd name="csY294" fmla="*/ 153152 h 712587"/>
                <a:gd name="csX295" fmla="*/ 572806 w 712579"/>
                <a:gd name="csY295" fmla="*/ 143254 h 712587"/>
                <a:gd name="csX296" fmla="*/ 574011 w 712579"/>
                <a:gd name="csY296" fmla="*/ 143254 h 712587"/>
                <a:gd name="csX297" fmla="*/ 583908 w 712579"/>
                <a:gd name="csY297" fmla="*/ 153152 h 712587"/>
                <a:gd name="csX298" fmla="*/ 574011 w 712579"/>
                <a:gd name="csY298" fmla="*/ 163049 h 712587"/>
                <a:gd name="csX299" fmla="*/ 572806 w 712579"/>
                <a:gd name="csY299" fmla="*/ 163049 h 712587"/>
                <a:gd name="csX300" fmla="*/ 562909 w 712579"/>
                <a:gd name="csY300" fmla="*/ 153152 h 712587"/>
                <a:gd name="csX301" fmla="*/ 526928 w 712579"/>
                <a:gd name="csY301" fmla="*/ 153152 h 712587"/>
                <a:gd name="csX302" fmla="*/ 536825 w 712579"/>
                <a:gd name="csY302" fmla="*/ 143254 h 712587"/>
                <a:gd name="csX303" fmla="*/ 538031 w 712579"/>
                <a:gd name="csY303" fmla="*/ 143254 h 712587"/>
                <a:gd name="csX304" fmla="*/ 547928 w 712579"/>
                <a:gd name="csY304" fmla="*/ 153152 h 712587"/>
                <a:gd name="csX305" fmla="*/ 538031 w 712579"/>
                <a:gd name="csY305" fmla="*/ 163049 h 712587"/>
                <a:gd name="csX306" fmla="*/ 536825 w 712579"/>
                <a:gd name="csY306" fmla="*/ 163049 h 712587"/>
                <a:gd name="csX307" fmla="*/ 526928 w 712579"/>
                <a:gd name="csY307" fmla="*/ 153152 h 712587"/>
                <a:gd name="csX308" fmla="*/ 598889 w 712579"/>
                <a:gd name="csY308" fmla="*/ 153152 h 712587"/>
                <a:gd name="csX309" fmla="*/ 608786 w 712579"/>
                <a:gd name="csY309" fmla="*/ 143254 h 712587"/>
                <a:gd name="csX310" fmla="*/ 609992 w 712579"/>
                <a:gd name="csY310" fmla="*/ 143254 h 712587"/>
                <a:gd name="csX311" fmla="*/ 619890 w 712579"/>
                <a:gd name="csY311" fmla="*/ 153152 h 712587"/>
                <a:gd name="csX312" fmla="*/ 609992 w 712579"/>
                <a:gd name="csY312" fmla="*/ 163049 h 712587"/>
                <a:gd name="csX313" fmla="*/ 608786 w 712579"/>
                <a:gd name="csY313" fmla="*/ 163049 h 712587"/>
                <a:gd name="csX314" fmla="*/ 598889 w 712579"/>
                <a:gd name="csY314" fmla="*/ 153152 h 712587"/>
                <a:gd name="csX315" fmla="*/ 113688 w 712579"/>
                <a:gd name="csY315" fmla="*/ 153152 h 712587"/>
                <a:gd name="csX316" fmla="*/ 103791 w 712579"/>
                <a:gd name="csY316" fmla="*/ 163049 h 712587"/>
                <a:gd name="csX317" fmla="*/ 102587 w 712579"/>
                <a:gd name="csY317" fmla="*/ 163049 h 712587"/>
                <a:gd name="csX318" fmla="*/ 92690 w 712579"/>
                <a:gd name="csY318" fmla="*/ 153152 h 712587"/>
                <a:gd name="csX319" fmla="*/ 102587 w 712579"/>
                <a:gd name="csY319" fmla="*/ 143254 h 712587"/>
                <a:gd name="csX320" fmla="*/ 103791 w 712579"/>
                <a:gd name="csY320" fmla="*/ 143254 h 712587"/>
                <a:gd name="csX321" fmla="*/ 113688 w 712579"/>
                <a:gd name="csY321" fmla="*/ 153152 h 712587"/>
                <a:gd name="csX322" fmla="*/ 149670 w 712579"/>
                <a:gd name="csY322" fmla="*/ 153152 h 712587"/>
                <a:gd name="csX323" fmla="*/ 139773 w 712579"/>
                <a:gd name="csY323" fmla="*/ 163049 h 712587"/>
                <a:gd name="csX324" fmla="*/ 138567 w 712579"/>
                <a:gd name="csY324" fmla="*/ 163049 h 712587"/>
                <a:gd name="csX325" fmla="*/ 128670 w 712579"/>
                <a:gd name="csY325" fmla="*/ 153152 h 712587"/>
                <a:gd name="csX326" fmla="*/ 138567 w 712579"/>
                <a:gd name="csY326" fmla="*/ 143254 h 712587"/>
                <a:gd name="csX327" fmla="*/ 139773 w 712579"/>
                <a:gd name="csY327" fmla="*/ 143254 h 712587"/>
                <a:gd name="csX328" fmla="*/ 149670 w 712579"/>
                <a:gd name="csY328" fmla="*/ 153152 h 712587"/>
                <a:gd name="csX329" fmla="*/ 185650 w 712579"/>
                <a:gd name="csY329" fmla="*/ 153152 h 712587"/>
                <a:gd name="csX330" fmla="*/ 175753 w 712579"/>
                <a:gd name="csY330" fmla="*/ 163049 h 712587"/>
                <a:gd name="csX331" fmla="*/ 174548 w 712579"/>
                <a:gd name="csY331" fmla="*/ 163049 h 712587"/>
                <a:gd name="csX332" fmla="*/ 164651 w 712579"/>
                <a:gd name="csY332" fmla="*/ 153152 h 712587"/>
                <a:gd name="csX333" fmla="*/ 174548 w 712579"/>
                <a:gd name="csY333" fmla="*/ 143254 h 712587"/>
                <a:gd name="csX334" fmla="*/ 175753 w 712579"/>
                <a:gd name="csY334" fmla="*/ 143254 h 712587"/>
                <a:gd name="csX335" fmla="*/ 185650 w 712579"/>
                <a:gd name="csY335" fmla="*/ 153152 h 71258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Lst>
              <a:rect l="l" t="t" r="r" b="b"/>
              <a:pathLst>
                <a:path w="712579" h="712587">
                  <a:moveTo>
                    <a:pt x="297560" y="550717"/>
                  </a:moveTo>
                  <a:cubicBezTo>
                    <a:pt x="295608" y="525318"/>
                    <a:pt x="289008" y="513265"/>
                    <a:pt x="271408" y="502947"/>
                  </a:cubicBezTo>
                  <a:cubicBezTo>
                    <a:pt x="258581" y="495425"/>
                    <a:pt x="237082" y="489936"/>
                    <a:pt x="218114" y="485094"/>
                  </a:cubicBezTo>
                  <a:cubicBezTo>
                    <a:pt x="213421" y="483896"/>
                    <a:pt x="208987" y="482765"/>
                    <a:pt x="204962" y="481675"/>
                  </a:cubicBezTo>
                  <a:lnTo>
                    <a:pt x="202024" y="480856"/>
                  </a:lnTo>
                  <a:cubicBezTo>
                    <a:pt x="190888" y="477757"/>
                    <a:pt x="179846" y="480101"/>
                    <a:pt x="170934" y="487468"/>
                  </a:cubicBezTo>
                  <a:cubicBezTo>
                    <a:pt x="158108" y="498066"/>
                    <a:pt x="140874" y="498066"/>
                    <a:pt x="128048" y="487468"/>
                  </a:cubicBezTo>
                  <a:cubicBezTo>
                    <a:pt x="119136" y="480100"/>
                    <a:pt x="108096" y="477753"/>
                    <a:pt x="96957" y="480856"/>
                  </a:cubicBezTo>
                  <a:lnTo>
                    <a:pt x="94094" y="481655"/>
                  </a:lnTo>
                  <a:cubicBezTo>
                    <a:pt x="89996" y="482764"/>
                    <a:pt x="85562" y="483896"/>
                    <a:pt x="80868" y="485094"/>
                  </a:cubicBezTo>
                  <a:cubicBezTo>
                    <a:pt x="61900" y="489936"/>
                    <a:pt x="40400" y="495425"/>
                    <a:pt x="27575" y="502945"/>
                  </a:cubicBezTo>
                  <a:cubicBezTo>
                    <a:pt x="9974" y="513265"/>
                    <a:pt x="3374" y="525318"/>
                    <a:pt x="1422" y="550717"/>
                  </a:cubicBezTo>
                  <a:cubicBezTo>
                    <a:pt x="1416" y="550788"/>
                    <a:pt x="1412" y="550860"/>
                    <a:pt x="1407" y="550930"/>
                  </a:cubicBezTo>
                  <a:cubicBezTo>
                    <a:pt x="-1006" y="594749"/>
                    <a:pt x="122" y="635088"/>
                    <a:pt x="1543" y="668771"/>
                  </a:cubicBezTo>
                  <a:cubicBezTo>
                    <a:pt x="2581" y="693341"/>
                    <a:pt x="22659" y="712588"/>
                    <a:pt x="47251" y="712588"/>
                  </a:cubicBezTo>
                  <a:lnTo>
                    <a:pt x="251731" y="712588"/>
                  </a:lnTo>
                  <a:cubicBezTo>
                    <a:pt x="276325" y="712588"/>
                    <a:pt x="296401" y="693341"/>
                    <a:pt x="297439" y="668771"/>
                  </a:cubicBezTo>
                  <a:cubicBezTo>
                    <a:pt x="298860" y="635089"/>
                    <a:pt x="299988" y="594749"/>
                    <a:pt x="297574" y="550930"/>
                  </a:cubicBezTo>
                  <a:cubicBezTo>
                    <a:pt x="297570" y="550858"/>
                    <a:pt x="297566" y="550786"/>
                    <a:pt x="297560" y="550717"/>
                  </a:cubicBezTo>
                  <a:close/>
                  <a:moveTo>
                    <a:pt x="152908" y="515220"/>
                  </a:moveTo>
                  <a:lnTo>
                    <a:pt x="162482" y="610980"/>
                  </a:lnTo>
                  <a:lnTo>
                    <a:pt x="149489" y="629578"/>
                  </a:lnTo>
                  <a:lnTo>
                    <a:pt x="136497" y="610980"/>
                  </a:lnTo>
                  <a:lnTo>
                    <a:pt x="146072" y="515220"/>
                  </a:lnTo>
                  <a:cubicBezTo>
                    <a:pt x="148348" y="515374"/>
                    <a:pt x="150631" y="515374"/>
                    <a:pt x="152908" y="515220"/>
                  </a:cubicBezTo>
                  <a:close/>
                  <a:moveTo>
                    <a:pt x="277660" y="667936"/>
                  </a:moveTo>
                  <a:cubicBezTo>
                    <a:pt x="277072" y="681874"/>
                    <a:pt x="265682" y="692794"/>
                    <a:pt x="251730" y="692794"/>
                  </a:cubicBezTo>
                  <a:lnTo>
                    <a:pt x="243500" y="692794"/>
                  </a:lnTo>
                  <a:lnTo>
                    <a:pt x="243500" y="609002"/>
                  </a:lnTo>
                  <a:cubicBezTo>
                    <a:pt x="243500" y="603536"/>
                    <a:pt x="239069" y="599105"/>
                    <a:pt x="233603" y="599105"/>
                  </a:cubicBezTo>
                  <a:cubicBezTo>
                    <a:pt x="228137" y="599105"/>
                    <a:pt x="223706" y="603536"/>
                    <a:pt x="223706" y="609002"/>
                  </a:cubicBezTo>
                  <a:lnTo>
                    <a:pt x="223706" y="692794"/>
                  </a:lnTo>
                  <a:lnTo>
                    <a:pt x="75275" y="692794"/>
                  </a:lnTo>
                  <a:lnTo>
                    <a:pt x="75275" y="609002"/>
                  </a:lnTo>
                  <a:cubicBezTo>
                    <a:pt x="75275" y="603536"/>
                    <a:pt x="70844" y="599105"/>
                    <a:pt x="65378" y="599105"/>
                  </a:cubicBezTo>
                  <a:cubicBezTo>
                    <a:pt x="59912" y="599105"/>
                    <a:pt x="55481" y="603536"/>
                    <a:pt x="55481" y="609002"/>
                  </a:cubicBezTo>
                  <a:lnTo>
                    <a:pt x="55481" y="692794"/>
                  </a:lnTo>
                  <a:lnTo>
                    <a:pt x="47251" y="692794"/>
                  </a:lnTo>
                  <a:cubicBezTo>
                    <a:pt x="33299" y="692794"/>
                    <a:pt x="21909" y="681874"/>
                    <a:pt x="21320" y="667936"/>
                  </a:cubicBezTo>
                  <a:cubicBezTo>
                    <a:pt x="19921" y="634759"/>
                    <a:pt x="18808" y="595057"/>
                    <a:pt x="21166" y="552128"/>
                  </a:cubicBezTo>
                  <a:cubicBezTo>
                    <a:pt x="22737" y="531829"/>
                    <a:pt x="26464" y="526541"/>
                    <a:pt x="37587" y="520020"/>
                  </a:cubicBezTo>
                  <a:cubicBezTo>
                    <a:pt x="48004" y="513912"/>
                    <a:pt x="68066" y="508791"/>
                    <a:pt x="85764" y="504273"/>
                  </a:cubicBezTo>
                  <a:cubicBezTo>
                    <a:pt x="90529" y="503057"/>
                    <a:pt x="95030" y="501907"/>
                    <a:pt x="99336" y="500742"/>
                  </a:cubicBezTo>
                  <a:lnTo>
                    <a:pt x="102271" y="499924"/>
                  </a:lnTo>
                  <a:cubicBezTo>
                    <a:pt x="107121" y="498571"/>
                    <a:pt x="111553" y="499514"/>
                    <a:pt x="115439" y="502725"/>
                  </a:cubicBezTo>
                  <a:cubicBezTo>
                    <a:pt x="119003" y="505670"/>
                    <a:pt x="122785" y="508087"/>
                    <a:pt x="126703" y="510002"/>
                  </a:cubicBezTo>
                  <a:lnTo>
                    <a:pt x="116437" y="612658"/>
                  </a:lnTo>
                  <a:cubicBezTo>
                    <a:pt x="116201" y="615011"/>
                    <a:pt x="116817" y="617372"/>
                    <a:pt x="118172" y="619311"/>
                  </a:cubicBezTo>
                  <a:lnTo>
                    <a:pt x="141377" y="652527"/>
                  </a:lnTo>
                  <a:cubicBezTo>
                    <a:pt x="143230" y="655176"/>
                    <a:pt x="146258" y="656755"/>
                    <a:pt x="149490" y="656755"/>
                  </a:cubicBezTo>
                  <a:cubicBezTo>
                    <a:pt x="152722" y="656755"/>
                    <a:pt x="155752" y="655178"/>
                    <a:pt x="157603" y="652527"/>
                  </a:cubicBezTo>
                  <a:lnTo>
                    <a:pt x="180810" y="619311"/>
                  </a:lnTo>
                  <a:cubicBezTo>
                    <a:pt x="182165" y="617372"/>
                    <a:pt x="182781" y="615012"/>
                    <a:pt x="182545" y="612658"/>
                  </a:cubicBezTo>
                  <a:lnTo>
                    <a:pt x="172279" y="510002"/>
                  </a:lnTo>
                  <a:cubicBezTo>
                    <a:pt x="176197" y="508087"/>
                    <a:pt x="179979" y="505670"/>
                    <a:pt x="183543" y="502723"/>
                  </a:cubicBezTo>
                  <a:cubicBezTo>
                    <a:pt x="187431" y="499512"/>
                    <a:pt x="191862" y="498571"/>
                    <a:pt x="196709" y="499924"/>
                  </a:cubicBezTo>
                  <a:lnTo>
                    <a:pt x="199719" y="500762"/>
                  </a:lnTo>
                  <a:cubicBezTo>
                    <a:pt x="203952" y="501909"/>
                    <a:pt x="208453" y="503057"/>
                    <a:pt x="213217" y="504273"/>
                  </a:cubicBezTo>
                  <a:cubicBezTo>
                    <a:pt x="230918" y="508790"/>
                    <a:pt x="250978" y="513911"/>
                    <a:pt x="261396" y="520022"/>
                  </a:cubicBezTo>
                  <a:cubicBezTo>
                    <a:pt x="272518" y="526541"/>
                    <a:pt x="276245" y="531829"/>
                    <a:pt x="277816" y="552128"/>
                  </a:cubicBezTo>
                  <a:cubicBezTo>
                    <a:pt x="280174" y="595057"/>
                    <a:pt x="279061" y="634759"/>
                    <a:pt x="277662" y="667936"/>
                  </a:cubicBezTo>
                  <a:close/>
                  <a:moveTo>
                    <a:pt x="148850" y="481886"/>
                  </a:moveTo>
                  <a:cubicBezTo>
                    <a:pt x="149063" y="481900"/>
                    <a:pt x="149277" y="481907"/>
                    <a:pt x="149490" y="481907"/>
                  </a:cubicBezTo>
                  <a:cubicBezTo>
                    <a:pt x="149704" y="481907"/>
                    <a:pt x="149917" y="481900"/>
                    <a:pt x="150131" y="481886"/>
                  </a:cubicBezTo>
                  <a:cubicBezTo>
                    <a:pt x="194778" y="478990"/>
                    <a:pt x="220920" y="431138"/>
                    <a:pt x="219539" y="388464"/>
                  </a:cubicBezTo>
                  <a:cubicBezTo>
                    <a:pt x="218141" y="345251"/>
                    <a:pt x="190644" y="317328"/>
                    <a:pt x="149490" y="317328"/>
                  </a:cubicBezTo>
                  <a:cubicBezTo>
                    <a:pt x="108337" y="317328"/>
                    <a:pt x="80839" y="345252"/>
                    <a:pt x="79440" y="388464"/>
                  </a:cubicBezTo>
                  <a:cubicBezTo>
                    <a:pt x="78057" y="431139"/>
                    <a:pt x="104203" y="478990"/>
                    <a:pt x="148850" y="481886"/>
                  </a:cubicBezTo>
                  <a:close/>
                  <a:moveTo>
                    <a:pt x="99223" y="389105"/>
                  </a:moveTo>
                  <a:cubicBezTo>
                    <a:pt x="99617" y="376910"/>
                    <a:pt x="104411" y="337121"/>
                    <a:pt x="149490" y="337121"/>
                  </a:cubicBezTo>
                  <a:cubicBezTo>
                    <a:pt x="194570" y="337121"/>
                    <a:pt x="199360" y="376910"/>
                    <a:pt x="199756" y="389105"/>
                  </a:cubicBezTo>
                  <a:cubicBezTo>
                    <a:pt x="200838" y="422482"/>
                    <a:pt x="180921" y="459569"/>
                    <a:pt x="149490" y="462086"/>
                  </a:cubicBezTo>
                  <a:cubicBezTo>
                    <a:pt x="118060" y="459569"/>
                    <a:pt x="98143" y="422482"/>
                    <a:pt x="99223" y="389105"/>
                  </a:cubicBezTo>
                  <a:close/>
                  <a:moveTo>
                    <a:pt x="711170" y="550930"/>
                  </a:moveTo>
                  <a:cubicBezTo>
                    <a:pt x="711166" y="550858"/>
                    <a:pt x="711162" y="550786"/>
                    <a:pt x="711156" y="550717"/>
                  </a:cubicBezTo>
                  <a:cubicBezTo>
                    <a:pt x="709204" y="525318"/>
                    <a:pt x="702604" y="513265"/>
                    <a:pt x="685004" y="502947"/>
                  </a:cubicBezTo>
                  <a:cubicBezTo>
                    <a:pt x="672177" y="495425"/>
                    <a:pt x="650678" y="489936"/>
                    <a:pt x="631709" y="485094"/>
                  </a:cubicBezTo>
                  <a:cubicBezTo>
                    <a:pt x="627017" y="483896"/>
                    <a:pt x="622583" y="482765"/>
                    <a:pt x="618558" y="481675"/>
                  </a:cubicBezTo>
                  <a:lnTo>
                    <a:pt x="615620" y="480856"/>
                  </a:lnTo>
                  <a:cubicBezTo>
                    <a:pt x="604481" y="477754"/>
                    <a:pt x="593442" y="480100"/>
                    <a:pt x="584529" y="487468"/>
                  </a:cubicBezTo>
                  <a:cubicBezTo>
                    <a:pt x="571704" y="498064"/>
                    <a:pt x="554468" y="498064"/>
                    <a:pt x="541643" y="487468"/>
                  </a:cubicBezTo>
                  <a:cubicBezTo>
                    <a:pt x="532732" y="480101"/>
                    <a:pt x="521691" y="477750"/>
                    <a:pt x="510550" y="480858"/>
                  </a:cubicBezTo>
                  <a:lnTo>
                    <a:pt x="507689" y="481655"/>
                  </a:lnTo>
                  <a:cubicBezTo>
                    <a:pt x="503592" y="482764"/>
                    <a:pt x="499158" y="483896"/>
                    <a:pt x="494464" y="485094"/>
                  </a:cubicBezTo>
                  <a:cubicBezTo>
                    <a:pt x="475496" y="489936"/>
                    <a:pt x="453996" y="495425"/>
                    <a:pt x="441171" y="502945"/>
                  </a:cubicBezTo>
                  <a:cubicBezTo>
                    <a:pt x="423570" y="513265"/>
                    <a:pt x="416970" y="525318"/>
                    <a:pt x="415017" y="550717"/>
                  </a:cubicBezTo>
                  <a:cubicBezTo>
                    <a:pt x="415012" y="550788"/>
                    <a:pt x="415007" y="550860"/>
                    <a:pt x="415003" y="550930"/>
                  </a:cubicBezTo>
                  <a:cubicBezTo>
                    <a:pt x="412590" y="594749"/>
                    <a:pt x="413718" y="635088"/>
                    <a:pt x="415139" y="668771"/>
                  </a:cubicBezTo>
                  <a:cubicBezTo>
                    <a:pt x="416177" y="693341"/>
                    <a:pt x="436254" y="712588"/>
                    <a:pt x="460845" y="712588"/>
                  </a:cubicBezTo>
                  <a:lnTo>
                    <a:pt x="665328" y="712588"/>
                  </a:lnTo>
                  <a:cubicBezTo>
                    <a:pt x="689923" y="712588"/>
                    <a:pt x="709998" y="693341"/>
                    <a:pt x="711036" y="668771"/>
                  </a:cubicBezTo>
                  <a:cubicBezTo>
                    <a:pt x="712457" y="635089"/>
                    <a:pt x="713585" y="594749"/>
                    <a:pt x="711172" y="550930"/>
                  </a:cubicBezTo>
                  <a:close/>
                  <a:moveTo>
                    <a:pt x="566505" y="515220"/>
                  </a:moveTo>
                  <a:lnTo>
                    <a:pt x="576079" y="610980"/>
                  </a:lnTo>
                  <a:lnTo>
                    <a:pt x="563086" y="629578"/>
                  </a:lnTo>
                  <a:lnTo>
                    <a:pt x="550094" y="610980"/>
                  </a:lnTo>
                  <a:lnTo>
                    <a:pt x="559669" y="515220"/>
                  </a:lnTo>
                  <a:cubicBezTo>
                    <a:pt x="561945" y="515374"/>
                    <a:pt x="564228" y="515374"/>
                    <a:pt x="566505" y="515220"/>
                  </a:cubicBezTo>
                  <a:close/>
                  <a:moveTo>
                    <a:pt x="691257" y="667936"/>
                  </a:moveTo>
                  <a:cubicBezTo>
                    <a:pt x="690669" y="681874"/>
                    <a:pt x="679279" y="692794"/>
                    <a:pt x="665327" y="692794"/>
                  </a:cubicBezTo>
                  <a:lnTo>
                    <a:pt x="657097" y="692794"/>
                  </a:lnTo>
                  <a:lnTo>
                    <a:pt x="657097" y="609002"/>
                  </a:lnTo>
                  <a:cubicBezTo>
                    <a:pt x="657097" y="603536"/>
                    <a:pt x="652666" y="599105"/>
                    <a:pt x="647200" y="599105"/>
                  </a:cubicBezTo>
                  <a:cubicBezTo>
                    <a:pt x="641734" y="599105"/>
                    <a:pt x="637303" y="603536"/>
                    <a:pt x="637303" y="609002"/>
                  </a:cubicBezTo>
                  <a:lnTo>
                    <a:pt x="637303" y="692794"/>
                  </a:lnTo>
                  <a:lnTo>
                    <a:pt x="488871" y="692794"/>
                  </a:lnTo>
                  <a:lnTo>
                    <a:pt x="488871" y="609002"/>
                  </a:lnTo>
                  <a:cubicBezTo>
                    <a:pt x="488871" y="603536"/>
                    <a:pt x="484440" y="599105"/>
                    <a:pt x="478974" y="599105"/>
                  </a:cubicBezTo>
                  <a:cubicBezTo>
                    <a:pt x="473508" y="599105"/>
                    <a:pt x="469077" y="603536"/>
                    <a:pt x="469077" y="609002"/>
                  </a:cubicBezTo>
                  <a:lnTo>
                    <a:pt x="469077" y="692794"/>
                  </a:lnTo>
                  <a:lnTo>
                    <a:pt x="460845" y="692794"/>
                  </a:lnTo>
                  <a:cubicBezTo>
                    <a:pt x="446894" y="692794"/>
                    <a:pt x="435504" y="681874"/>
                    <a:pt x="434916" y="667936"/>
                  </a:cubicBezTo>
                  <a:cubicBezTo>
                    <a:pt x="433516" y="634759"/>
                    <a:pt x="432404" y="595057"/>
                    <a:pt x="434762" y="552128"/>
                  </a:cubicBezTo>
                  <a:cubicBezTo>
                    <a:pt x="436333" y="531829"/>
                    <a:pt x="440060" y="526541"/>
                    <a:pt x="451183" y="520020"/>
                  </a:cubicBezTo>
                  <a:cubicBezTo>
                    <a:pt x="461600" y="513912"/>
                    <a:pt x="481661" y="508791"/>
                    <a:pt x="499360" y="504273"/>
                  </a:cubicBezTo>
                  <a:cubicBezTo>
                    <a:pt x="504125" y="503057"/>
                    <a:pt x="508625" y="501907"/>
                    <a:pt x="512933" y="500741"/>
                  </a:cubicBezTo>
                  <a:lnTo>
                    <a:pt x="515864" y="499924"/>
                  </a:lnTo>
                  <a:cubicBezTo>
                    <a:pt x="520722" y="498573"/>
                    <a:pt x="525151" y="499515"/>
                    <a:pt x="529034" y="502725"/>
                  </a:cubicBezTo>
                  <a:cubicBezTo>
                    <a:pt x="532599" y="505670"/>
                    <a:pt x="536381" y="508087"/>
                    <a:pt x="540299" y="510002"/>
                  </a:cubicBezTo>
                  <a:lnTo>
                    <a:pt x="530033" y="612658"/>
                  </a:lnTo>
                  <a:cubicBezTo>
                    <a:pt x="529796" y="615011"/>
                    <a:pt x="530413" y="617372"/>
                    <a:pt x="531767" y="619311"/>
                  </a:cubicBezTo>
                  <a:lnTo>
                    <a:pt x="554973" y="652527"/>
                  </a:lnTo>
                  <a:cubicBezTo>
                    <a:pt x="556825" y="655176"/>
                    <a:pt x="559854" y="656755"/>
                    <a:pt x="563086" y="656755"/>
                  </a:cubicBezTo>
                  <a:cubicBezTo>
                    <a:pt x="566318" y="656755"/>
                    <a:pt x="569348" y="655178"/>
                    <a:pt x="571199" y="652527"/>
                  </a:cubicBezTo>
                  <a:lnTo>
                    <a:pt x="594406" y="619311"/>
                  </a:lnTo>
                  <a:cubicBezTo>
                    <a:pt x="595760" y="617372"/>
                    <a:pt x="596377" y="615012"/>
                    <a:pt x="596141" y="612658"/>
                  </a:cubicBezTo>
                  <a:lnTo>
                    <a:pt x="585875" y="510002"/>
                  </a:lnTo>
                  <a:cubicBezTo>
                    <a:pt x="589793" y="508087"/>
                    <a:pt x="593575" y="505670"/>
                    <a:pt x="597138" y="502725"/>
                  </a:cubicBezTo>
                  <a:cubicBezTo>
                    <a:pt x="601023" y="499512"/>
                    <a:pt x="605450" y="498569"/>
                    <a:pt x="610305" y="499924"/>
                  </a:cubicBezTo>
                  <a:lnTo>
                    <a:pt x="613315" y="500762"/>
                  </a:lnTo>
                  <a:cubicBezTo>
                    <a:pt x="617548" y="501909"/>
                    <a:pt x="622049" y="503057"/>
                    <a:pt x="626813" y="504273"/>
                  </a:cubicBezTo>
                  <a:cubicBezTo>
                    <a:pt x="644513" y="508790"/>
                    <a:pt x="664573" y="513911"/>
                    <a:pt x="674992" y="520022"/>
                  </a:cubicBezTo>
                  <a:cubicBezTo>
                    <a:pt x="686114" y="526541"/>
                    <a:pt x="689841" y="531829"/>
                    <a:pt x="691411" y="552128"/>
                  </a:cubicBezTo>
                  <a:cubicBezTo>
                    <a:pt x="693770" y="595057"/>
                    <a:pt x="692657" y="634759"/>
                    <a:pt x="691257" y="667936"/>
                  </a:cubicBezTo>
                  <a:close/>
                  <a:moveTo>
                    <a:pt x="563087" y="317327"/>
                  </a:moveTo>
                  <a:cubicBezTo>
                    <a:pt x="521934" y="317327"/>
                    <a:pt x="494436" y="345251"/>
                    <a:pt x="493037" y="388463"/>
                  </a:cubicBezTo>
                  <a:cubicBezTo>
                    <a:pt x="491655" y="431138"/>
                    <a:pt x="517800" y="478989"/>
                    <a:pt x="562447" y="481884"/>
                  </a:cubicBezTo>
                  <a:cubicBezTo>
                    <a:pt x="562660" y="481898"/>
                    <a:pt x="562874" y="481905"/>
                    <a:pt x="563087" y="481905"/>
                  </a:cubicBezTo>
                  <a:cubicBezTo>
                    <a:pt x="563301" y="481905"/>
                    <a:pt x="563514" y="481898"/>
                    <a:pt x="563728" y="481884"/>
                  </a:cubicBezTo>
                  <a:cubicBezTo>
                    <a:pt x="608375" y="478989"/>
                    <a:pt x="634517" y="431136"/>
                    <a:pt x="633136" y="388463"/>
                  </a:cubicBezTo>
                  <a:cubicBezTo>
                    <a:pt x="631738" y="345249"/>
                    <a:pt x="604241" y="317327"/>
                    <a:pt x="563087" y="317327"/>
                  </a:cubicBezTo>
                  <a:close/>
                  <a:moveTo>
                    <a:pt x="563087" y="462086"/>
                  </a:moveTo>
                  <a:cubicBezTo>
                    <a:pt x="531657" y="459569"/>
                    <a:pt x="511740" y="422482"/>
                    <a:pt x="512820" y="389105"/>
                  </a:cubicBezTo>
                  <a:cubicBezTo>
                    <a:pt x="513215" y="376910"/>
                    <a:pt x="518008" y="337121"/>
                    <a:pt x="563087" y="337121"/>
                  </a:cubicBezTo>
                  <a:cubicBezTo>
                    <a:pt x="608167" y="337121"/>
                    <a:pt x="612957" y="376910"/>
                    <a:pt x="613353" y="389105"/>
                  </a:cubicBezTo>
                  <a:cubicBezTo>
                    <a:pt x="614435" y="422482"/>
                    <a:pt x="594518" y="459569"/>
                    <a:pt x="563087" y="462086"/>
                  </a:cubicBezTo>
                  <a:close/>
                  <a:moveTo>
                    <a:pt x="415153" y="369937"/>
                  </a:moveTo>
                  <a:lnTo>
                    <a:pt x="438473" y="341856"/>
                  </a:lnTo>
                  <a:lnTo>
                    <a:pt x="474814" y="345272"/>
                  </a:lnTo>
                  <a:cubicBezTo>
                    <a:pt x="478366" y="345606"/>
                    <a:pt x="481800" y="344014"/>
                    <a:pt x="483843" y="341103"/>
                  </a:cubicBezTo>
                  <a:cubicBezTo>
                    <a:pt x="485885" y="338191"/>
                    <a:pt x="486208" y="334409"/>
                    <a:pt x="484691" y="331194"/>
                  </a:cubicBezTo>
                  <a:lnTo>
                    <a:pt x="448074" y="253618"/>
                  </a:lnTo>
                  <a:cubicBezTo>
                    <a:pt x="451644" y="251625"/>
                    <a:pt x="455001" y="249074"/>
                    <a:pt x="458154" y="245921"/>
                  </a:cubicBezTo>
                  <a:cubicBezTo>
                    <a:pt x="469044" y="235030"/>
                    <a:pt x="472987" y="221762"/>
                    <a:pt x="470206" y="205360"/>
                  </a:cubicBezTo>
                  <a:cubicBezTo>
                    <a:pt x="468572" y="195712"/>
                    <a:pt x="472210" y="186927"/>
                    <a:pt x="480191" y="181261"/>
                  </a:cubicBezTo>
                  <a:cubicBezTo>
                    <a:pt x="482160" y="179861"/>
                    <a:pt x="483966" y="178402"/>
                    <a:pt x="485643" y="176895"/>
                  </a:cubicBezTo>
                  <a:cubicBezTo>
                    <a:pt x="496227" y="215435"/>
                    <a:pt x="531553" y="243844"/>
                    <a:pt x="573409" y="243844"/>
                  </a:cubicBezTo>
                  <a:cubicBezTo>
                    <a:pt x="580308" y="243844"/>
                    <a:pt x="587159" y="243069"/>
                    <a:pt x="593839" y="241535"/>
                  </a:cubicBezTo>
                  <a:lnTo>
                    <a:pt x="633454" y="275496"/>
                  </a:lnTo>
                  <a:cubicBezTo>
                    <a:pt x="635292" y="277071"/>
                    <a:pt x="637585" y="277880"/>
                    <a:pt x="639897" y="277880"/>
                  </a:cubicBezTo>
                  <a:cubicBezTo>
                    <a:pt x="641597" y="277880"/>
                    <a:pt x="643303" y="277443"/>
                    <a:pt x="644844" y="276554"/>
                  </a:cubicBezTo>
                  <a:cubicBezTo>
                    <a:pt x="648481" y="274454"/>
                    <a:pt x="650397" y="270289"/>
                    <a:pt x="649625" y="266161"/>
                  </a:cubicBezTo>
                  <a:lnTo>
                    <a:pt x="640019" y="214863"/>
                  </a:lnTo>
                  <a:cubicBezTo>
                    <a:pt x="655802" y="197975"/>
                    <a:pt x="664431" y="176151"/>
                    <a:pt x="664431" y="152823"/>
                  </a:cubicBezTo>
                  <a:cubicBezTo>
                    <a:pt x="664431" y="102634"/>
                    <a:pt x="623598" y="61804"/>
                    <a:pt x="573410" y="61804"/>
                  </a:cubicBezTo>
                  <a:cubicBezTo>
                    <a:pt x="536357" y="61804"/>
                    <a:pt x="504426" y="84071"/>
                    <a:pt x="490239" y="115916"/>
                  </a:cubicBezTo>
                  <a:cubicBezTo>
                    <a:pt x="487467" y="112672"/>
                    <a:pt x="484133" y="109652"/>
                    <a:pt x="480194" y="106854"/>
                  </a:cubicBezTo>
                  <a:cubicBezTo>
                    <a:pt x="472214" y="101188"/>
                    <a:pt x="468576" y="92403"/>
                    <a:pt x="470209" y="82752"/>
                  </a:cubicBezTo>
                  <a:cubicBezTo>
                    <a:pt x="472986" y="66347"/>
                    <a:pt x="469044" y="53081"/>
                    <a:pt x="458156" y="42193"/>
                  </a:cubicBezTo>
                  <a:cubicBezTo>
                    <a:pt x="447265" y="31303"/>
                    <a:pt x="434000" y="27361"/>
                    <a:pt x="417596" y="30141"/>
                  </a:cubicBezTo>
                  <a:cubicBezTo>
                    <a:pt x="407951" y="31775"/>
                    <a:pt x="399164" y="28137"/>
                    <a:pt x="393495" y="20158"/>
                  </a:cubicBezTo>
                  <a:cubicBezTo>
                    <a:pt x="383861" y="6593"/>
                    <a:pt x="371691" y="0"/>
                    <a:pt x="356292" y="0"/>
                  </a:cubicBezTo>
                  <a:cubicBezTo>
                    <a:pt x="340894" y="0"/>
                    <a:pt x="328723" y="6594"/>
                    <a:pt x="319089" y="20158"/>
                  </a:cubicBezTo>
                  <a:cubicBezTo>
                    <a:pt x="313423" y="28136"/>
                    <a:pt x="304645" y="31775"/>
                    <a:pt x="294987" y="30139"/>
                  </a:cubicBezTo>
                  <a:cubicBezTo>
                    <a:pt x="278585" y="27367"/>
                    <a:pt x="265317" y="31307"/>
                    <a:pt x="254426" y="42194"/>
                  </a:cubicBezTo>
                  <a:cubicBezTo>
                    <a:pt x="243535" y="53086"/>
                    <a:pt x="239593" y="66354"/>
                    <a:pt x="242376" y="82754"/>
                  </a:cubicBezTo>
                  <a:cubicBezTo>
                    <a:pt x="244009" y="92403"/>
                    <a:pt x="240371" y="101189"/>
                    <a:pt x="232392" y="106854"/>
                  </a:cubicBezTo>
                  <a:cubicBezTo>
                    <a:pt x="228452" y="109652"/>
                    <a:pt x="225118" y="112672"/>
                    <a:pt x="222344" y="115917"/>
                  </a:cubicBezTo>
                  <a:cubicBezTo>
                    <a:pt x="208157" y="84071"/>
                    <a:pt x="176226" y="61804"/>
                    <a:pt x="139173" y="61804"/>
                  </a:cubicBezTo>
                  <a:cubicBezTo>
                    <a:pt x="88984" y="61804"/>
                    <a:pt x="48153" y="102635"/>
                    <a:pt x="48153" y="152823"/>
                  </a:cubicBezTo>
                  <a:cubicBezTo>
                    <a:pt x="48153" y="176149"/>
                    <a:pt x="56782" y="197974"/>
                    <a:pt x="72563" y="214861"/>
                  </a:cubicBezTo>
                  <a:lnTo>
                    <a:pt x="62957" y="266159"/>
                  </a:lnTo>
                  <a:cubicBezTo>
                    <a:pt x="62185" y="270286"/>
                    <a:pt x="64101" y="274453"/>
                    <a:pt x="67738" y="276552"/>
                  </a:cubicBezTo>
                  <a:cubicBezTo>
                    <a:pt x="69279" y="277442"/>
                    <a:pt x="70985" y="277879"/>
                    <a:pt x="72685" y="277879"/>
                  </a:cubicBezTo>
                  <a:cubicBezTo>
                    <a:pt x="74995" y="277879"/>
                    <a:pt x="77291" y="277070"/>
                    <a:pt x="79128" y="275495"/>
                  </a:cubicBezTo>
                  <a:lnTo>
                    <a:pt x="118744" y="241534"/>
                  </a:lnTo>
                  <a:cubicBezTo>
                    <a:pt x="125426" y="243068"/>
                    <a:pt x="132275" y="243843"/>
                    <a:pt x="139175" y="243843"/>
                  </a:cubicBezTo>
                  <a:cubicBezTo>
                    <a:pt x="181031" y="243843"/>
                    <a:pt x="216355" y="215434"/>
                    <a:pt x="226939" y="176893"/>
                  </a:cubicBezTo>
                  <a:cubicBezTo>
                    <a:pt x="228616" y="178402"/>
                    <a:pt x="230421" y="179861"/>
                    <a:pt x="232392" y="181261"/>
                  </a:cubicBezTo>
                  <a:cubicBezTo>
                    <a:pt x="240372" y="186927"/>
                    <a:pt x="244010" y="195712"/>
                    <a:pt x="242376" y="205363"/>
                  </a:cubicBezTo>
                  <a:cubicBezTo>
                    <a:pt x="239599" y="221766"/>
                    <a:pt x="243542" y="235033"/>
                    <a:pt x="254429" y="245921"/>
                  </a:cubicBezTo>
                  <a:cubicBezTo>
                    <a:pt x="257699" y="249191"/>
                    <a:pt x="261189" y="251822"/>
                    <a:pt x="264908" y="253846"/>
                  </a:cubicBezTo>
                  <a:lnTo>
                    <a:pt x="228295" y="331415"/>
                  </a:lnTo>
                  <a:cubicBezTo>
                    <a:pt x="226778" y="334630"/>
                    <a:pt x="227100" y="338412"/>
                    <a:pt x="229143" y="341323"/>
                  </a:cubicBezTo>
                  <a:cubicBezTo>
                    <a:pt x="231183" y="344234"/>
                    <a:pt x="234618" y="345819"/>
                    <a:pt x="238172" y="345493"/>
                  </a:cubicBezTo>
                  <a:lnTo>
                    <a:pt x="274513" y="342077"/>
                  </a:lnTo>
                  <a:lnTo>
                    <a:pt x="297832" y="370158"/>
                  </a:lnTo>
                  <a:cubicBezTo>
                    <a:pt x="299732" y="372444"/>
                    <a:pt x="302533" y="373732"/>
                    <a:pt x="305445" y="373732"/>
                  </a:cubicBezTo>
                  <a:cubicBezTo>
                    <a:pt x="306018" y="373732"/>
                    <a:pt x="306595" y="373682"/>
                    <a:pt x="307170" y="373582"/>
                  </a:cubicBezTo>
                  <a:cubicBezTo>
                    <a:pt x="310673" y="372963"/>
                    <a:pt x="313571" y="370512"/>
                    <a:pt x="314767" y="367164"/>
                  </a:cubicBezTo>
                  <a:lnTo>
                    <a:pt x="343614" y="286399"/>
                  </a:lnTo>
                  <a:cubicBezTo>
                    <a:pt x="347580" y="287534"/>
                    <a:pt x="351796" y="288114"/>
                    <a:pt x="356295" y="288114"/>
                  </a:cubicBezTo>
                  <a:cubicBezTo>
                    <a:pt x="360960" y="288114"/>
                    <a:pt x="365323" y="287499"/>
                    <a:pt x="369414" y="286278"/>
                  </a:cubicBezTo>
                  <a:lnTo>
                    <a:pt x="398226" y="366944"/>
                  </a:lnTo>
                  <a:cubicBezTo>
                    <a:pt x="399422" y="370292"/>
                    <a:pt x="402321" y="372742"/>
                    <a:pt x="405823" y="373361"/>
                  </a:cubicBezTo>
                  <a:cubicBezTo>
                    <a:pt x="406398" y="373462"/>
                    <a:pt x="406974" y="373511"/>
                    <a:pt x="407548" y="373511"/>
                  </a:cubicBezTo>
                  <a:cubicBezTo>
                    <a:pt x="410460" y="373511"/>
                    <a:pt x="413263" y="372223"/>
                    <a:pt x="415160" y="369937"/>
                  </a:cubicBezTo>
                  <a:close/>
                  <a:moveTo>
                    <a:pt x="573409" y="81597"/>
                  </a:moveTo>
                  <a:cubicBezTo>
                    <a:pt x="612683" y="81597"/>
                    <a:pt x="644635" y="113549"/>
                    <a:pt x="644635" y="152822"/>
                  </a:cubicBezTo>
                  <a:cubicBezTo>
                    <a:pt x="644635" y="172512"/>
                    <a:pt x="636777" y="190835"/>
                    <a:pt x="622512" y="204418"/>
                  </a:cubicBezTo>
                  <a:cubicBezTo>
                    <a:pt x="620083" y="206730"/>
                    <a:pt x="618992" y="210113"/>
                    <a:pt x="619607" y="213408"/>
                  </a:cubicBezTo>
                  <a:lnTo>
                    <a:pt x="624994" y="242169"/>
                  </a:lnTo>
                  <a:lnTo>
                    <a:pt x="602793" y="223137"/>
                  </a:lnTo>
                  <a:cubicBezTo>
                    <a:pt x="600976" y="221578"/>
                    <a:pt x="598684" y="220753"/>
                    <a:pt x="596350" y="220753"/>
                  </a:cubicBezTo>
                  <a:cubicBezTo>
                    <a:pt x="595417" y="220753"/>
                    <a:pt x="594477" y="220884"/>
                    <a:pt x="593556" y="221156"/>
                  </a:cubicBezTo>
                  <a:cubicBezTo>
                    <a:pt x="587036" y="223074"/>
                    <a:pt x="580256" y="224048"/>
                    <a:pt x="573409" y="224048"/>
                  </a:cubicBezTo>
                  <a:cubicBezTo>
                    <a:pt x="534134" y="224048"/>
                    <a:pt x="502182" y="192096"/>
                    <a:pt x="502182" y="152822"/>
                  </a:cubicBezTo>
                  <a:cubicBezTo>
                    <a:pt x="502182" y="113548"/>
                    <a:pt x="534134" y="81597"/>
                    <a:pt x="573409" y="81597"/>
                  </a:cubicBezTo>
                  <a:close/>
                  <a:moveTo>
                    <a:pt x="139172" y="224048"/>
                  </a:moveTo>
                  <a:cubicBezTo>
                    <a:pt x="132324" y="224048"/>
                    <a:pt x="125545" y="223076"/>
                    <a:pt x="119024" y="221156"/>
                  </a:cubicBezTo>
                  <a:cubicBezTo>
                    <a:pt x="115805" y="220208"/>
                    <a:pt x="112332" y="220955"/>
                    <a:pt x="109789" y="223137"/>
                  </a:cubicBezTo>
                  <a:lnTo>
                    <a:pt x="87587" y="242169"/>
                  </a:lnTo>
                  <a:lnTo>
                    <a:pt x="92974" y="213408"/>
                  </a:lnTo>
                  <a:cubicBezTo>
                    <a:pt x="93590" y="210112"/>
                    <a:pt x="92497" y="206729"/>
                    <a:pt x="90070" y="204418"/>
                  </a:cubicBezTo>
                  <a:cubicBezTo>
                    <a:pt x="75802" y="190835"/>
                    <a:pt x="67947" y="172512"/>
                    <a:pt x="67947" y="152822"/>
                  </a:cubicBezTo>
                  <a:cubicBezTo>
                    <a:pt x="67947" y="113548"/>
                    <a:pt x="99899" y="81597"/>
                    <a:pt x="139173" y="81597"/>
                  </a:cubicBezTo>
                  <a:cubicBezTo>
                    <a:pt x="178448" y="81597"/>
                    <a:pt x="210398" y="113549"/>
                    <a:pt x="210398" y="152822"/>
                  </a:cubicBezTo>
                  <a:cubicBezTo>
                    <a:pt x="210398" y="192095"/>
                    <a:pt x="178446" y="224048"/>
                    <a:pt x="139173" y="224048"/>
                  </a:cubicBezTo>
                  <a:close/>
                  <a:moveTo>
                    <a:pt x="301963" y="344154"/>
                  </a:moveTo>
                  <a:lnTo>
                    <a:pt x="286398" y="325411"/>
                  </a:lnTo>
                  <a:cubicBezTo>
                    <a:pt x="284310" y="322896"/>
                    <a:pt x="281116" y="321577"/>
                    <a:pt x="277858" y="321881"/>
                  </a:cubicBezTo>
                  <a:lnTo>
                    <a:pt x="253603" y="324160"/>
                  </a:lnTo>
                  <a:lnTo>
                    <a:pt x="284451" y="258808"/>
                  </a:lnTo>
                  <a:cubicBezTo>
                    <a:pt x="287815" y="258862"/>
                    <a:pt x="291320" y="258596"/>
                    <a:pt x="294989" y="257974"/>
                  </a:cubicBezTo>
                  <a:cubicBezTo>
                    <a:pt x="304634" y="256336"/>
                    <a:pt x="313421" y="259978"/>
                    <a:pt x="319088" y="267958"/>
                  </a:cubicBezTo>
                  <a:cubicBezTo>
                    <a:pt x="321322" y="271103"/>
                    <a:pt x="323700" y="273858"/>
                    <a:pt x="326215" y="276257"/>
                  </a:cubicBezTo>
                  <a:lnTo>
                    <a:pt x="301965" y="344154"/>
                  </a:lnTo>
                  <a:close/>
                  <a:moveTo>
                    <a:pt x="335224" y="256495"/>
                  </a:moveTo>
                  <a:cubicBezTo>
                    <a:pt x="326683" y="244469"/>
                    <a:pt x="313708" y="237791"/>
                    <a:pt x="299503" y="237791"/>
                  </a:cubicBezTo>
                  <a:cubicBezTo>
                    <a:pt x="296930" y="237791"/>
                    <a:pt x="294313" y="238010"/>
                    <a:pt x="291679" y="238457"/>
                  </a:cubicBezTo>
                  <a:cubicBezTo>
                    <a:pt x="281654" y="240154"/>
                    <a:pt x="274701" y="238203"/>
                    <a:pt x="268423" y="231924"/>
                  </a:cubicBezTo>
                  <a:cubicBezTo>
                    <a:pt x="262146" y="225646"/>
                    <a:pt x="260192" y="218690"/>
                    <a:pt x="261887" y="208667"/>
                  </a:cubicBezTo>
                  <a:cubicBezTo>
                    <a:pt x="264800" y="191489"/>
                    <a:pt x="258057" y="175209"/>
                    <a:pt x="243852" y="165121"/>
                  </a:cubicBezTo>
                  <a:cubicBezTo>
                    <a:pt x="235562" y="159234"/>
                    <a:pt x="232026" y="152934"/>
                    <a:pt x="232026" y="144056"/>
                  </a:cubicBezTo>
                  <a:cubicBezTo>
                    <a:pt x="232026" y="135178"/>
                    <a:pt x="235562" y="128877"/>
                    <a:pt x="243852" y="122991"/>
                  </a:cubicBezTo>
                  <a:cubicBezTo>
                    <a:pt x="258055" y="112903"/>
                    <a:pt x="264798" y="96625"/>
                    <a:pt x="261888" y="79444"/>
                  </a:cubicBezTo>
                  <a:cubicBezTo>
                    <a:pt x="260189" y="69424"/>
                    <a:pt x="262143" y="62469"/>
                    <a:pt x="268422" y="56188"/>
                  </a:cubicBezTo>
                  <a:cubicBezTo>
                    <a:pt x="274698" y="49912"/>
                    <a:pt x="281649" y="47958"/>
                    <a:pt x="291680" y="49654"/>
                  </a:cubicBezTo>
                  <a:cubicBezTo>
                    <a:pt x="308854" y="52566"/>
                    <a:pt x="325134" y="45822"/>
                    <a:pt x="335224" y="31618"/>
                  </a:cubicBezTo>
                  <a:cubicBezTo>
                    <a:pt x="341112" y="23329"/>
                    <a:pt x="347412" y="19793"/>
                    <a:pt x="356290" y="19793"/>
                  </a:cubicBezTo>
                  <a:cubicBezTo>
                    <a:pt x="365167" y="19793"/>
                    <a:pt x="371467" y="23329"/>
                    <a:pt x="377355" y="31618"/>
                  </a:cubicBezTo>
                  <a:cubicBezTo>
                    <a:pt x="387444" y="45823"/>
                    <a:pt x="403722" y="52566"/>
                    <a:pt x="420900" y="49655"/>
                  </a:cubicBezTo>
                  <a:cubicBezTo>
                    <a:pt x="430929" y="47956"/>
                    <a:pt x="437880" y="49912"/>
                    <a:pt x="444157" y="56188"/>
                  </a:cubicBezTo>
                  <a:cubicBezTo>
                    <a:pt x="450432" y="62465"/>
                    <a:pt x="452387" y="69421"/>
                    <a:pt x="450691" y="79447"/>
                  </a:cubicBezTo>
                  <a:cubicBezTo>
                    <a:pt x="447779" y="96625"/>
                    <a:pt x="454524" y="112904"/>
                    <a:pt x="468727" y="122991"/>
                  </a:cubicBezTo>
                  <a:cubicBezTo>
                    <a:pt x="477017" y="128878"/>
                    <a:pt x="480553" y="135178"/>
                    <a:pt x="480553" y="144056"/>
                  </a:cubicBezTo>
                  <a:cubicBezTo>
                    <a:pt x="480553" y="152934"/>
                    <a:pt x="477017" y="159234"/>
                    <a:pt x="468727" y="165121"/>
                  </a:cubicBezTo>
                  <a:cubicBezTo>
                    <a:pt x="454522" y="175211"/>
                    <a:pt x="447779" y="191489"/>
                    <a:pt x="450691" y="208667"/>
                  </a:cubicBezTo>
                  <a:cubicBezTo>
                    <a:pt x="452389" y="218689"/>
                    <a:pt x="450435" y="225643"/>
                    <a:pt x="444156" y="231924"/>
                  </a:cubicBezTo>
                  <a:cubicBezTo>
                    <a:pt x="437880" y="238200"/>
                    <a:pt x="430926" y="240152"/>
                    <a:pt x="420899" y="238457"/>
                  </a:cubicBezTo>
                  <a:cubicBezTo>
                    <a:pt x="403713" y="235547"/>
                    <a:pt x="387441" y="242290"/>
                    <a:pt x="377355" y="256494"/>
                  </a:cubicBezTo>
                  <a:cubicBezTo>
                    <a:pt x="371467" y="264782"/>
                    <a:pt x="365167" y="268319"/>
                    <a:pt x="356290" y="268319"/>
                  </a:cubicBezTo>
                  <a:cubicBezTo>
                    <a:pt x="347412" y="268319"/>
                    <a:pt x="341112" y="264783"/>
                    <a:pt x="335224" y="256495"/>
                  </a:cubicBezTo>
                  <a:close/>
                  <a:moveTo>
                    <a:pt x="386723" y="275909"/>
                  </a:moveTo>
                  <a:cubicBezTo>
                    <a:pt x="389105" y="273589"/>
                    <a:pt x="391365" y="270954"/>
                    <a:pt x="393494" y="267958"/>
                  </a:cubicBezTo>
                  <a:cubicBezTo>
                    <a:pt x="399161" y="259979"/>
                    <a:pt x="407949" y="256341"/>
                    <a:pt x="417596" y="257976"/>
                  </a:cubicBezTo>
                  <a:cubicBezTo>
                    <a:pt x="421448" y="258627"/>
                    <a:pt x="425119" y="258895"/>
                    <a:pt x="428634" y="258803"/>
                  </a:cubicBezTo>
                  <a:lnTo>
                    <a:pt x="459380" y="323941"/>
                  </a:lnTo>
                  <a:lnTo>
                    <a:pt x="435127" y="321662"/>
                  </a:lnTo>
                  <a:cubicBezTo>
                    <a:pt x="431858" y="321354"/>
                    <a:pt x="428675" y="322677"/>
                    <a:pt x="426587" y="325192"/>
                  </a:cubicBezTo>
                  <a:lnTo>
                    <a:pt x="411022" y="343935"/>
                  </a:lnTo>
                  <a:lnTo>
                    <a:pt x="386724" y="275911"/>
                  </a:lnTo>
                  <a:close/>
                  <a:moveTo>
                    <a:pt x="438035" y="144058"/>
                  </a:moveTo>
                  <a:cubicBezTo>
                    <a:pt x="438035" y="98983"/>
                    <a:pt x="401364" y="62312"/>
                    <a:pt x="356291" y="62312"/>
                  </a:cubicBezTo>
                  <a:cubicBezTo>
                    <a:pt x="311218" y="62312"/>
                    <a:pt x="274545" y="98983"/>
                    <a:pt x="274545" y="144058"/>
                  </a:cubicBezTo>
                  <a:cubicBezTo>
                    <a:pt x="274545" y="189132"/>
                    <a:pt x="311217" y="225803"/>
                    <a:pt x="356291" y="225803"/>
                  </a:cubicBezTo>
                  <a:cubicBezTo>
                    <a:pt x="401365" y="225803"/>
                    <a:pt x="438035" y="189132"/>
                    <a:pt x="438035" y="144058"/>
                  </a:cubicBezTo>
                  <a:close/>
                  <a:moveTo>
                    <a:pt x="356291" y="206009"/>
                  </a:moveTo>
                  <a:cubicBezTo>
                    <a:pt x="322131" y="206009"/>
                    <a:pt x="294340" y="178218"/>
                    <a:pt x="294340" y="144058"/>
                  </a:cubicBezTo>
                  <a:cubicBezTo>
                    <a:pt x="294340" y="109897"/>
                    <a:pt x="322131" y="82106"/>
                    <a:pt x="356291" y="82106"/>
                  </a:cubicBezTo>
                  <a:cubicBezTo>
                    <a:pt x="390451" y="82106"/>
                    <a:pt x="418241" y="109897"/>
                    <a:pt x="418241" y="144058"/>
                  </a:cubicBezTo>
                  <a:cubicBezTo>
                    <a:pt x="418241" y="178218"/>
                    <a:pt x="390450" y="206009"/>
                    <a:pt x="356291" y="206009"/>
                  </a:cubicBezTo>
                  <a:close/>
                  <a:moveTo>
                    <a:pt x="389623" y="117427"/>
                  </a:moveTo>
                  <a:cubicBezTo>
                    <a:pt x="393488" y="121291"/>
                    <a:pt x="393488" y="127559"/>
                    <a:pt x="389623" y="131423"/>
                  </a:cubicBezTo>
                  <a:lnTo>
                    <a:pt x="350358" y="170688"/>
                  </a:lnTo>
                  <a:cubicBezTo>
                    <a:pt x="348491" y="172555"/>
                    <a:pt x="345967" y="173586"/>
                    <a:pt x="343360" y="173586"/>
                  </a:cubicBezTo>
                  <a:cubicBezTo>
                    <a:pt x="342930" y="173586"/>
                    <a:pt x="342500" y="173558"/>
                    <a:pt x="342067" y="173501"/>
                  </a:cubicBezTo>
                  <a:cubicBezTo>
                    <a:pt x="339018" y="173100"/>
                    <a:pt x="336326" y="171303"/>
                    <a:pt x="334789" y="168638"/>
                  </a:cubicBezTo>
                  <a:lnTo>
                    <a:pt x="321383" y="145415"/>
                  </a:lnTo>
                  <a:cubicBezTo>
                    <a:pt x="318650" y="140681"/>
                    <a:pt x="320273" y="134628"/>
                    <a:pt x="325005" y="131895"/>
                  </a:cubicBezTo>
                  <a:cubicBezTo>
                    <a:pt x="329740" y="129162"/>
                    <a:pt x="335791" y="130786"/>
                    <a:pt x="338524" y="135518"/>
                  </a:cubicBezTo>
                  <a:lnTo>
                    <a:pt x="345482" y="147570"/>
                  </a:lnTo>
                  <a:lnTo>
                    <a:pt x="375624" y="117426"/>
                  </a:lnTo>
                  <a:cubicBezTo>
                    <a:pt x="379490" y="113562"/>
                    <a:pt x="385757" y="113562"/>
                    <a:pt x="389620" y="117426"/>
                  </a:cubicBezTo>
                  <a:close/>
                  <a:moveTo>
                    <a:pt x="562909" y="153152"/>
                  </a:moveTo>
                  <a:cubicBezTo>
                    <a:pt x="562909" y="147686"/>
                    <a:pt x="567340" y="143254"/>
                    <a:pt x="572806" y="143254"/>
                  </a:cubicBezTo>
                  <a:lnTo>
                    <a:pt x="574011" y="143254"/>
                  </a:lnTo>
                  <a:cubicBezTo>
                    <a:pt x="579477" y="143254"/>
                    <a:pt x="583908" y="147686"/>
                    <a:pt x="583908" y="153152"/>
                  </a:cubicBezTo>
                  <a:cubicBezTo>
                    <a:pt x="583908" y="158618"/>
                    <a:pt x="579477" y="163049"/>
                    <a:pt x="574011" y="163049"/>
                  </a:cubicBezTo>
                  <a:lnTo>
                    <a:pt x="572806" y="163049"/>
                  </a:lnTo>
                  <a:cubicBezTo>
                    <a:pt x="567340" y="163049"/>
                    <a:pt x="562909" y="158618"/>
                    <a:pt x="562909" y="153152"/>
                  </a:cubicBezTo>
                  <a:close/>
                  <a:moveTo>
                    <a:pt x="526928" y="153152"/>
                  </a:moveTo>
                  <a:cubicBezTo>
                    <a:pt x="526928" y="147686"/>
                    <a:pt x="531359" y="143254"/>
                    <a:pt x="536825" y="143254"/>
                  </a:cubicBezTo>
                  <a:lnTo>
                    <a:pt x="538031" y="143254"/>
                  </a:lnTo>
                  <a:cubicBezTo>
                    <a:pt x="543497" y="143254"/>
                    <a:pt x="547928" y="147686"/>
                    <a:pt x="547928" y="153152"/>
                  </a:cubicBezTo>
                  <a:cubicBezTo>
                    <a:pt x="547928" y="158618"/>
                    <a:pt x="543497" y="163049"/>
                    <a:pt x="538031" y="163049"/>
                  </a:cubicBezTo>
                  <a:lnTo>
                    <a:pt x="536825" y="163049"/>
                  </a:lnTo>
                  <a:cubicBezTo>
                    <a:pt x="531359" y="163049"/>
                    <a:pt x="526928" y="158618"/>
                    <a:pt x="526928" y="153152"/>
                  </a:cubicBezTo>
                  <a:close/>
                  <a:moveTo>
                    <a:pt x="598889" y="153152"/>
                  </a:moveTo>
                  <a:cubicBezTo>
                    <a:pt x="598889" y="147686"/>
                    <a:pt x="603320" y="143254"/>
                    <a:pt x="608786" y="143254"/>
                  </a:cubicBezTo>
                  <a:lnTo>
                    <a:pt x="609992" y="143254"/>
                  </a:lnTo>
                  <a:cubicBezTo>
                    <a:pt x="615458" y="143254"/>
                    <a:pt x="619890" y="147686"/>
                    <a:pt x="619890" y="153152"/>
                  </a:cubicBezTo>
                  <a:cubicBezTo>
                    <a:pt x="619890" y="158618"/>
                    <a:pt x="615458" y="163049"/>
                    <a:pt x="609992" y="163049"/>
                  </a:cubicBezTo>
                  <a:lnTo>
                    <a:pt x="608786" y="163049"/>
                  </a:lnTo>
                  <a:cubicBezTo>
                    <a:pt x="603320" y="163049"/>
                    <a:pt x="598889" y="158618"/>
                    <a:pt x="598889" y="153152"/>
                  </a:cubicBezTo>
                  <a:close/>
                  <a:moveTo>
                    <a:pt x="113688" y="153152"/>
                  </a:moveTo>
                  <a:cubicBezTo>
                    <a:pt x="113688" y="158618"/>
                    <a:pt x="109257" y="163049"/>
                    <a:pt x="103791" y="163049"/>
                  </a:cubicBezTo>
                  <a:lnTo>
                    <a:pt x="102587" y="163049"/>
                  </a:lnTo>
                  <a:cubicBezTo>
                    <a:pt x="97121" y="163049"/>
                    <a:pt x="92690" y="158618"/>
                    <a:pt x="92690" y="153152"/>
                  </a:cubicBezTo>
                  <a:cubicBezTo>
                    <a:pt x="92690" y="147686"/>
                    <a:pt x="97121" y="143254"/>
                    <a:pt x="102587" y="143254"/>
                  </a:cubicBezTo>
                  <a:lnTo>
                    <a:pt x="103791" y="143254"/>
                  </a:lnTo>
                  <a:cubicBezTo>
                    <a:pt x="109257" y="143254"/>
                    <a:pt x="113688" y="147686"/>
                    <a:pt x="113688" y="153152"/>
                  </a:cubicBezTo>
                  <a:close/>
                  <a:moveTo>
                    <a:pt x="149670" y="153152"/>
                  </a:moveTo>
                  <a:cubicBezTo>
                    <a:pt x="149670" y="158618"/>
                    <a:pt x="145239" y="163049"/>
                    <a:pt x="139773" y="163049"/>
                  </a:cubicBezTo>
                  <a:lnTo>
                    <a:pt x="138567" y="163049"/>
                  </a:lnTo>
                  <a:cubicBezTo>
                    <a:pt x="133101" y="163049"/>
                    <a:pt x="128670" y="158618"/>
                    <a:pt x="128670" y="153152"/>
                  </a:cubicBezTo>
                  <a:cubicBezTo>
                    <a:pt x="128670" y="147686"/>
                    <a:pt x="133101" y="143254"/>
                    <a:pt x="138567" y="143254"/>
                  </a:cubicBezTo>
                  <a:lnTo>
                    <a:pt x="139773" y="143254"/>
                  </a:lnTo>
                  <a:cubicBezTo>
                    <a:pt x="145239" y="143254"/>
                    <a:pt x="149670" y="147686"/>
                    <a:pt x="149670" y="153152"/>
                  </a:cubicBezTo>
                  <a:close/>
                  <a:moveTo>
                    <a:pt x="185650" y="153152"/>
                  </a:moveTo>
                  <a:cubicBezTo>
                    <a:pt x="185650" y="158618"/>
                    <a:pt x="181219" y="163049"/>
                    <a:pt x="175753" y="163049"/>
                  </a:cubicBezTo>
                  <a:lnTo>
                    <a:pt x="174548" y="163049"/>
                  </a:lnTo>
                  <a:cubicBezTo>
                    <a:pt x="169082" y="163049"/>
                    <a:pt x="164651" y="158618"/>
                    <a:pt x="164651" y="153152"/>
                  </a:cubicBezTo>
                  <a:cubicBezTo>
                    <a:pt x="164651" y="147686"/>
                    <a:pt x="169082" y="143254"/>
                    <a:pt x="174548" y="143254"/>
                  </a:cubicBezTo>
                  <a:lnTo>
                    <a:pt x="175753" y="143254"/>
                  </a:lnTo>
                  <a:cubicBezTo>
                    <a:pt x="181219" y="143254"/>
                    <a:pt x="185650" y="147686"/>
                    <a:pt x="185650" y="153152"/>
                  </a:cubicBezTo>
                  <a:close/>
                </a:path>
              </a:pathLst>
            </a:custGeom>
            <a:solidFill>
              <a:schemeClr val="bg1"/>
            </a:solidFill>
            <a:ln w="141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spTree>
    <p:extLst>
      <p:ext uri="{BB962C8B-B14F-4D97-AF65-F5344CB8AC3E}">
        <p14:creationId xmlns:p14="http://schemas.microsoft.com/office/powerpoint/2010/main" val="32951374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5FCBA71-635C-605B-7697-425E7C2342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think-cell data - do not delete" hidden="1">
                        <a:extLst>
                          <a:ext uri="{FF2B5EF4-FFF2-40B4-BE49-F238E27FC236}">
                            <a16:creationId xmlns:a16="http://schemas.microsoft.com/office/drawing/2014/main" id="{A5FCBA71-635C-605B-7697-425E7C2342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5791D46-46B2-851F-C88B-3C8B469E9926}"/>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latin typeface="Moderat" pitchFamily="2" charset="77"/>
              </a:rPr>
              <a:t>Delegation &amp; Stakeholder Alignment</a:t>
            </a:r>
          </a:p>
        </p:txBody>
      </p:sp>
      <p:sp>
        <p:nvSpPr>
          <p:cNvPr id="3" name="Shape 35">
            <a:extLst>
              <a:ext uri="{FF2B5EF4-FFF2-40B4-BE49-F238E27FC236}">
                <a16:creationId xmlns:a16="http://schemas.microsoft.com/office/drawing/2014/main" id="{45BD14CA-FE28-7537-A2F6-4573352B4B19}"/>
              </a:ext>
            </a:extLst>
          </p:cNvPr>
          <p:cNvSpPr/>
          <p:nvPr/>
        </p:nvSpPr>
        <p:spPr>
          <a:xfrm>
            <a:off x="2057629" y="4432651"/>
            <a:ext cx="3429000" cy="1772195"/>
          </a:xfrm>
          <a:prstGeom prst="roundRect">
            <a:avLst>
              <a:gd name="adj" fmla="val 6740"/>
            </a:avLst>
          </a:prstGeom>
          <a:solidFill>
            <a:srgbClr val="F5F5F5"/>
          </a:solidFill>
          <a:ln/>
        </p:spPr>
        <p:txBody>
          <a:bodyPr/>
          <a:lstStyle/>
          <a:p>
            <a:endParaRPr lang="en-US" sz="1200"/>
          </a:p>
        </p:txBody>
      </p:sp>
      <p:sp>
        <p:nvSpPr>
          <p:cNvPr id="4" name="Shape 35">
            <a:extLst>
              <a:ext uri="{FF2B5EF4-FFF2-40B4-BE49-F238E27FC236}">
                <a16:creationId xmlns:a16="http://schemas.microsoft.com/office/drawing/2014/main" id="{264A2069-39E4-928B-DA92-662EFBD1B7BD}"/>
              </a:ext>
            </a:extLst>
          </p:cNvPr>
          <p:cNvSpPr/>
          <p:nvPr/>
        </p:nvSpPr>
        <p:spPr>
          <a:xfrm>
            <a:off x="6748391" y="4431089"/>
            <a:ext cx="3429000" cy="1772195"/>
          </a:xfrm>
          <a:prstGeom prst="roundRect">
            <a:avLst>
              <a:gd name="adj" fmla="val 6740"/>
            </a:avLst>
          </a:prstGeom>
          <a:solidFill>
            <a:srgbClr val="F5F5F5"/>
          </a:solidFill>
          <a:ln/>
        </p:spPr>
        <p:txBody>
          <a:bodyPr/>
          <a:lstStyle/>
          <a:p>
            <a:endParaRPr lang="en-US" sz="1200"/>
          </a:p>
        </p:txBody>
      </p:sp>
      <p:sp>
        <p:nvSpPr>
          <p:cNvPr id="5" name="Text 33">
            <a:extLst>
              <a:ext uri="{FF2B5EF4-FFF2-40B4-BE49-F238E27FC236}">
                <a16:creationId xmlns:a16="http://schemas.microsoft.com/office/drawing/2014/main" id="{6F83C364-DDF0-5020-EC37-8B4B6C4AF1DE}"/>
              </a:ext>
            </a:extLst>
          </p:cNvPr>
          <p:cNvSpPr/>
          <p:nvPr/>
        </p:nvSpPr>
        <p:spPr>
          <a:xfrm>
            <a:off x="515938" y="1290183"/>
            <a:ext cx="11325972" cy="646331"/>
          </a:xfrm>
          <a:prstGeom prst="rect">
            <a:avLst/>
          </a:prstGeom>
          <a:noFill/>
        </p:spPr>
        <p:txBody>
          <a:bodyPr wrap="square" rtlCol="0">
            <a:spAutoFit/>
          </a:bodyPr>
          <a:lstStyle/>
          <a:p>
            <a:pPr lvl="0" eaLnBrk="0" fontAlgn="base" hangingPunct="0">
              <a:spcBef>
                <a:spcPct val="0"/>
              </a:spcBef>
              <a:spcAft>
                <a:spcPct val="0"/>
              </a:spcAft>
            </a:pPr>
            <a:r>
              <a:rPr lang="en-US" altLang="en-US">
                <a:solidFill>
                  <a:srgbClr val="000000"/>
                </a:solidFill>
                <a:latin typeface="-webkit-standard"/>
              </a:rPr>
              <a:t>This program is about </a:t>
            </a:r>
            <a:r>
              <a:rPr lang="en-US" altLang="en-US" b="1">
                <a:solidFill>
                  <a:srgbClr val="000000"/>
                </a:solidFill>
              </a:rPr>
              <a:t>decision rights, influence without authority, and operating effectively in global matrices</a:t>
            </a:r>
            <a:r>
              <a:rPr lang="en-US" altLang="en-US">
                <a:solidFill>
                  <a:srgbClr val="000000"/>
                </a:solidFill>
                <a:latin typeface="-webkit-standard"/>
              </a:rPr>
              <a:t> where power, accountability, and execution are distributed.</a:t>
            </a:r>
            <a:endParaRPr lang="en-US" altLang="en-US">
              <a:latin typeface="Arial" panose="020B0604020202020204" pitchFamily="34" charset="0"/>
            </a:endParaRPr>
          </a:p>
        </p:txBody>
      </p:sp>
      <p:sp>
        <p:nvSpPr>
          <p:cNvPr id="7" name="Shape 35">
            <a:extLst>
              <a:ext uri="{FF2B5EF4-FFF2-40B4-BE49-F238E27FC236}">
                <a16:creationId xmlns:a16="http://schemas.microsoft.com/office/drawing/2014/main" id="{7CD7C484-C2CD-A922-588A-2BFCCB6BE7D1}"/>
              </a:ext>
            </a:extLst>
          </p:cNvPr>
          <p:cNvSpPr/>
          <p:nvPr/>
        </p:nvSpPr>
        <p:spPr>
          <a:xfrm>
            <a:off x="350088" y="2203163"/>
            <a:ext cx="3429000" cy="1794828"/>
          </a:xfrm>
          <a:prstGeom prst="roundRect">
            <a:avLst>
              <a:gd name="adj" fmla="val 6740"/>
            </a:avLst>
          </a:prstGeom>
          <a:solidFill>
            <a:srgbClr val="F5F5F5"/>
          </a:solidFill>
          <a:ln/>
        </p:spPr>
        <p:txBody>
          <a:bodyPr/>
          <a:lstStyle/>
          <a:p>
            <a:endParaRPr lang="en-US" sz="1200"/>
          </a:p>
        </p:txBody>
      </p:sp>
      <p:sp>
        <p:nvSpPr>
          <p:cNvPr id="8" name="Shape 36">
            <a:extLst>
              <a:ext uri="{FF2B5EF4-FFF2-40B4-BE49-F238E27FC236}">
                <a16:creationId xmlns:a16="http://schemas.microsoft.com/office/drawing/2014/main" id="{1F5D3BA5-5B2C-9351-5625-BE18FE3E9586}"/>
              </a:ext>
            </a:extLst>
          </p:cNvPr>
          <p:cNvSpPr/>
          <p:nvPr/>
        </p:nvSpPr>
        <p:spPr>
          <a:xfrm>
            <a:off x="350089" y="2154365"/>
            <a:ext cx="3403461" cy="125457"/>
          </a:xfrm>
          <a:prstGeom prst="roundRect">
            <a:avLst>
              <a:gd name="adj" fmla="val 101581"/>
            </a:avLst>
          </a:prstGeom>
          <a:solidFill>
            <a:srgbClr val="015465"/>
          </a:solidFill>
          <a:ln/>
        </p:spPr>
        <p:txBody>
          <a:bodyPr/>
          <a:lstStyle/>
          <a:p>
            <a:endParaRPr lang="en-US" sz="1200"/>
          </a:p>
        </p:txBody>
      </p:sp>
      <p:grpSp>
        <p:nvGrpSpPr>
          <p:cNvPr id="9" name="Group 8">
            <a:extLst>
              <a:ext uri="{FF2B5EF4-FFF2-40B4-BE49-F238E27FC236}">
                <a16:creationId xmlns:a16="http://schemas.microsoft.com/office/drawing/2014/main" id="{2100F8E5-35FC-C4A1-7899-2A5DBF389323}"/>
              </a:ext>
            </a:extLst>
          </p:cNvPr>
          <p:cNvGrpSpPr/>
          <p:nvPr/>
        </p:nvGrpSpPr>
        <p:grpSpPr>
          <a:xfrm>
            <a:off x="1868939" y="2034213"/>
            <a:ext cx="365760" cy="365760"/>
            <a:chOff x="2583766" y="3029902"/>
            <a:chExt cx="365760" cy="365760"/>
          </a:xfrm>
        </p:grpSpPr>
        <p:sp>
          <p:nvSpPr>
            <p:cNvPr id="13" name="Shape 37">
              <a:extLst>
                <a:ext uri="{FF2B5EF4-FFF2-40B4-BE49-F238E27FC236}">
                  <a16:creationId xmlns:a16="http://schemas.microsoft.com/office/drawing/2014/main" id="{EE258C18-FA4C-843C-48B2-3AF7CE15F533}"/>
                </a:ext>
              </a:extLst>
            </p:cNvPr>
            <p:cNvSpPr/>
            <p:nvPr/>
          </p:nvSpPr>
          <p:spPr>
            <a:xfrm>
              <a:off x="2583766" y="3029902"/>
              <a:ext cx="365760" cy="365760"/>
            </a:xfrm>
            <a:prstGeom prst="roundRect">
              <a:avLst>
                <a:gd name="adj" fmla="val 413570"/>
              </a:avLst>
            </a:prstGeom>
            <a:solidFill>
              <a:srgbClr val="015465"/>
            </a:solidFill>
            <a:ln/>
          </p:spPr>
          <p:txBody>
            <a:bodyPr/>
            <a:lstStyle/>
            <a:p>
              <a:endParaRPr lang="en-US" sz="1200"/>
            </a:p>
          </p:txBody>
        </p:sp>
        <p:sp>
          <p:nvSpPr>
            <p:cNvPr id="14" name="Text 38">
              <a:extLst>
                <a:ext uri="{FF2B5EF4-FFF2-40B4-BE49-F238E27FC236}">
                  <a16:creationId xmlns:a16="http://schemas.microsoft.com/office/drawing/2014/main" id="{1D3D22A5-75B4-6527-D791-EE6112C4B533}"/>
                </a:ext>
              </a:extLst>
            </p:cNvPr>
            <p:cNvSpPr/>
            <p:nvPr/>
          </p:nvSpPr>
          <p:spPr>
            <a:xfrm>
              <a:off x="2722474" y="3157537"/>
              <a:ext cx="88344" cy="110490"/>
            </a:xfrm>
            <a:prstGeom prst="rect">
              <a:avLst/>
            </a:prstGeom>
            <a:noFill/>
            <a:ln/>
          </p:spPr>
          <p:txBody>
            <a:bodyPr wrap="none" lIns="0" tIns="0" rIns="0" bIns="0" rtlCol="0" anchor="t"/>
            <a:lstStyle/>
            <a:p>
              <a:pPr marL="0" indent="0" algn="l">
                <a:lnSpc>
                  <a:spcPts val="1100"/>
                </a:lnSpc>
                <a:buNone/>
              </a:pPr>
              <a:r>
                <a:rPr lang="en-US" sz="1200" b="1">
                  <a:solidFill>
                    <a:srgbClr val="FFFFFF"/>
                  </a:solidFill>
                  <a:latin typeface="Inter Bold" pitchFamily="34" charset="0"/>
                  <a:ea typeface="Inter Bold" pitchFamily="34" charset="-122"/>
                  <a:cs typeface="Inter Bold" pitchFamily="34" charset="-120"/>
                </a:rPr>
                <a:t>1</a:t>
              </a:r>
              <a:endParaRPr lang="en-US" sz="1200"/>
            </a:p>
          </p:txBody>
        </p:sp>
      </p:grpSp>
      <p:sp>
        <p:nvSpPr>
          <p:cNvPr id="10" name="Text 39">
            <a:extLst>
              <a:ext uri="{FF2B5EF4-FFF2-40B4-BE49-F238E27FC236}">
                <a16:creationId xmlns:a16="http://schemas.microsoft.com/office/drawing/2014/main" id="{6C30A13C-DD69-AB91-9A07-53A26C1C0F10}"/>
              </a:ext>
            </a:extLst>
          </p:cNvPr>
          <p:cNvSpPr/>
          <p:nvPr/>
        </p:nvSpPr>
        <p:spPr>
          <a:xfrm>
            <a:off x="431409" y="2439903"/>
            <a:ext cx="927021" cy="115133"/>
          </a:xfrm>
          <a:prstGeom prst="rect">
            <a:avLst/>
          </a:prstGeom>
          <a:noFill/>
          <a:ln/>
        </p:spPr>
        <p:txBody>
          <a:bodyPr wrap="none" lIns="0" tIns="0" rIns="0" bIns="0" rtlCol="0" anchor="t"/>
          <a:lstStyle/>
          <a:p>
            <a:pPr marL="0" indent="0" algn="l">
              <a:lnSpc>
                <a:spcPts val="900"/>
              </a:lnSpc>
              <a:buNone/>
            </a:pPr>
            <a:r>
              <a:rPr lang="en-US" sz="1200" b="1">
                <a:solidFill>
                  <a:srgbClr val="333333"/>
                </a:solidFill>
                <a:latin typeface="Inter Bold" pitchFamily="34" charset="0"/>
                <a:ea typeface="Inter Bold" pitchFamily="34" charset="-122"/>
                <a:cs typeface="Inter Bold" pitchFamily="34" charset="-120"/>
              </a:rPr>
              <a:t>Delegation Across Distance, Culture, and Power</a:t>
            </a:r>
            <a:endParaRPr lang="en-US" sz="1200"/>
          </a:p>
        </p:txBody>
      </p:sp>
      <p:sp>
        <p:nvSpPr>
          <p:cNvPr id="12" name="Text 40">
            <a:extLst>
              <a:ext uri="{FF2B5EF4-FFF2-40B4-BE49-F238E27FC236}">
                <a16:creationId xmlns:a16="http://schemas.microsoft.com/office/drawing/2014/main" id="{F6F69089-8261-BD97-792C-7DC2471782E8}"/>
              </a:ext>
            </a:extLst>
          </p:cNvPr>
          <p:cNvSpPr/>
          <p:nvPr/>
        </p:nvSpPr>
        <p:spPr>
          <a:xfrm>
            <a:off x="431410" y="2599208"/>
            <a:ext cx="3322140" cy="1095177"/>
          </a:xfrm>
          <a:prstGeom prst="rect">
            <a:avLst/>
          </a:prstGeom>
          <a:noFill/>
          <a:ln/>
        </p:spPr>
        <p:txBody>
          <a:bodyPr wrap="square" lIns="0" tIns="0" rIns="0" bIns="0" rtlCol="0" anchor="t"/>
          <a:lstStyle/>
          <a:p>
            <a:pPr marL="0" indent="0" algn="l">
              <a:buNone/>
            </a:pPr>
            <a:r>
              <a:rPr lang="en-US" sz="1200"/>
              <a:t>Executives must learn to:</a:t>
            </a:r>
          </a:p>
          <a:p>
            <a:pPr marL="171450" indent="-171450" algn="l">
              <a:buFont typeface="Arial" panose="020B0604020202020204" pitchFamily="34" charset="0"/>
              <a:buChar char="•"/>
            </a:pPr>
            <a:r>
              <a:rPr lang="en-US" sz="1200"/>
              <a:t>Delegate </a:t>
            </a:r>
            <a:r>
              <a:rPr lang="en-US" sz="1200" b="1"/>
              <a:t>outcomes </a:t>
            </a:r>
            <a:r>
              <a:rPr lang="en-US" sz="1200"/>
              <a:t>rather than activities across time zones and cultures</a:t>
            </a:r>
          </a:p>
          <a:p>
            <a:pPr marL="171450" indent="-171450" algn="l">
              <a:buFont typeface="Arial" panose="020B0604020202020204" pitchFamily="34" charset="0"/>
              <a:buChar char="•"/>
            </a:pPr>
            <a:r>
              <a:rPr lang="en-US" sz="1200"/>
              <a:t>Calibrate delegation based on capability, trust, and local context</a:t>
            </a:r>
          </a:p>
          <a:p>
            <a:pPr marL="171450" indent="-171450" algn="l">
              <a:buFont typeface="Arial" panose="020B0604020202020204" pitchFamily="34" charset="0"/>
              <a:buChar char="•"/>
            </a:pPr>
            <a:r>
              <a:rPr lang="en-US" sz="1200"/>
              <a:t>Establish clarity on what must be standardized vs. locally owned</a:t>
            </a:r>
          </a:p>
        </p:txBody>
      </p:sp>
      <p:sp>
        <p:nvSpPr>
          <p:cNvPr id="16" name="Shape 41">
            <a:extLst>
              <a:ext uri="{FF2B5EF4-FFF2-40B4-BE49-F238E27FC236}">
                <a16:creationId xmlns:a16="http://schemas.microsoft.com/office/drawing/2014/main" id="{A18DBBEF-3722-6C3D-C97C-CFDC562084D1}"/>
              </a:ext>
            </a:extLst>
          </p:cNvPr>
          <p:cNvSpPr/>
          <p:nvPr/>
        </p:nvSpPr>
        <p:spPr>
          <a:xfrm>
            <a:off x="4381499" y="2203162"/>
            <a:ext cx="3429000" cy="1778162"/>
          </a:xfrm>
          <a:prstGeom prst="roundRect">
            <a:avLst>
              <a:gd name="adj" fmla="val 6740"/>
            </a:avLst>
          </a:prstGeom>
          <a:solidFill>
            <a:srgbClr val="F5F5F5"/>
          </a:solidFill>
          <a:ln/>
        </p:spPr>
        <p:txBody>
          <a:bodyPr/>
          <a:lstStyle/>
          <a:p>
            <a:endParaRPr lang="en-US" sz="1200"/>
          </a:p>
        </p:txBody>
      </p:sp>
      <p:sp>
        <p:nvSpPr>
          <p:cNvPr id="17" name="Text 45">
            <a:extLst>
              <a:ext uri="{FF2B5EF4-FFF2-40B4-BE49-F238E27FC236}">
                <a16:creationId xmlns:a16="http://schemas.microsoft.com/office/drawing/2014/main" id="{4B4AFC13-75DD-A0EC-014C-46FC11E0DFCA}"/>
              </a:ext>
            </a:extLst>
          </p:cNvPr>
          <p:cNvSpPr/>
          <p:nvPr/>
        </p:nvSpPr>
        <p:spPr>
          <a:xfrm>
            <a:off x="4462819" y="2387353"/>
            <a:ext cx="921425" cy="115133"/>
          </a:xfrm>
          <a:prstGeom prst="rect">
            <a:avLst/>
          </a:prstGeom>
          <a:noFill/>
          <a:ln/>
        </p:spPr>
        <p:txBody>
          <a:bodyPr wrap="none" lIns="0" tIns="0" rIns="0" bIns="0" rtlCol="0" anchor="t"/>
          <a:lstStyle/>
          <a:p>
            <a:pPr marL="0" indent="0" algn="l">
              <a:lnSpc>
                <a:spcPts val="900"/>
              </a:lnSpc>
              <a:buNone/>
            </a:pPr>
            <a:r>
              <a:rPr lang="en-US" sz="1200" b="1">
                <a:solidFill>
                  <a:srgbClr val="333333"/>
                </a:solidFill>
                <a:latin typeface="Inter Bold" pitchFamily="34" charset="0"/>
                <a:ea typeface="Inter Bold" pitchFamily="34" charset="-122"/>
                <a:cs typeface="Inter Bold" pitchFamily="34" charset="-120"/>
              </a:rPr>
              <a:t>Decision Rights in Matrixed, Global Organizations</a:t>
            </a:r>
            <a:endParaRPr lang="en-US" sz="1200"/>
          </a:p>
        </p:txBody>
      </p:sp>
      <p:sp>
        <p:nvSpPr>
          <p:cNvPr id="18" name="Text 46">
            <a:extLst>
              <a:ext uri="{FF2B5EF4-FFF2-40B4-BE49-F238E27FC236}">
                <a16:creationId xmlns:a16="http://schemas.microsoft.com/office/drawing/2014/main" id="{67926B42-07CF-0C9C-01B8-AA7745D9E585}"/>
              </a:ext>
            </a:extLst>
          </p:cNvPr>
          <p:cNvSpPr/>
          <p:nvPr/>
        </p:nvSpPr>
        <p:spPr>
          <a:xfrm>
            <a:off x="4462820" y="2546658"/>
            <a:ext cx="3347680" cy="330019"/>
          </a:xfrm>
          <a:prstGeom prst="rect">
            <a:avLst/>
          </a:prstGeom>
          <a:noFill/>
          <a:ln/>
        </p:spPr>
        <p:txBody>
          <a:bodyPr wrap="square" lIns="0" tIns="0" rIns="0" bIns="0" rtlCol="0" anchor="t"/>
          <a:lstStyle/>
          <a:p>
            <a:pPr marL="171450" indent="-171450" algn="l">
              <a:buFont typeface="Arial" panose="020B0604020202020204" pitchFamily="34" charset="0"/>
              <a:buChar char="•"/>
            </a:pPr>
            <a:r>
              <a:rPr lang="en-US" sz="1200">
                <a:solidFill>
                  <a:srgbClr val="333333"/>
                </a:solidFill>
                <a:latin typeface="Inter" pitchFamily="34" charset="0"/>
                <a:ea typeface="Inter" pitchFamily="34" charset="-122"/>
                <a:cs typeface="Inter" pitchFamily="34" charset="-120"/>
              </a:rPr>
              <a:t>Clarifying </a:t>
            </a:r>
            <a:r>
              <a:rPr lang="en-US" sz="1200" b="1">
                <a:solidFill>
                  <a:srgbClr val="333333"/>
                </a:solidFill>
                <a:latin typeface="Inter" pitchFamily="34" charset="0"/>
                <a:ea typeface="Inter" pitchFamily="34" charset="-122"/>
                <a:cs typeface="Inter" pitchFamily="34" charset="-120"/>
              </a:rPr>
              <a:t>who decides, who influences, and who executes</a:t>
            </a:r>
          </a:p>
          <a:p>
            <a:pPr marL="171450" indent="-171450" algn="l">
              <a:buFont typeface="Arial" panose="020B0604020202020204" pitchFamily="34" charset="0"/>
              <a:buChar char="•"/>
            </a:pPr>
            <a:r>
              <a:rPr lang="en-US" sz="1200">
                <a:solidFill>
                  <a:srgbClr val="333333"/>
                </a:solidFill>
                <a:latin typeface="Inter" pitchFamily="34" charset="0"/>
                <a:ea typeface="Inter" pitchFamily="34" charset="-122"/>
              </a:rPr>
              <a:t>Navigating </a:t>
            </a:r>
            <a:r>
              <a:rPr lang="en-US" sz="1200" b="1">
                <a:solidFill>
                  <a:srgbClr val="333333"/>
                </a:solidFill>
                <a:latin typeface="Inter" pitchFamily="34" charset="0"/>
                <a:ea typeface="Inter" pitchFamily="34" charset="-122"/>
              </a:rPr>
              <a:t>competing priorities </a:t>
            </a:r>
            <a:r>
              <a:rPr lang="en-US" sz="1200">
                <a:solidFill>
                  <a:srgbClr val="333333"/>
                </a:solidFill>
                <a:latin typeface="Inter" pitchFamily="34" charset="0"/>
                <a:ea typeface="Inter" pitchFamily="34" charset="-122"/>
              </a:rPr>
              <a:t>across units</a:t>
            </a:r>
          </a:p>
          <a:p>
            <a:pPr marL="171450" indent="-171450" algn="l">
              <a:buFont typeface="Arial" panose="020B0604020202020204" pitchFamily="34" charset="0"/>
              <a:buChar char="•"/>
            </a:pPr>
            <a:r>
              <a:rPr lang="en-US" sz="1200">
                <a:solidFill>
                  <a:srgbClr val="333333"/>
                </a:solidFill>
                <a:latin typeface="Inter" pitchFamily="34" charset="0"/>
                <a:ea typeface="Inter" pitchFamily="34" charset="-122"/>
              </a:rPr>
              <a:t>Preventing decision paralysis in multi-stakeholder environments</a:t>
            </a:r>
          </a:p>
          <a:p>
            <a:pPr marL="171450" indent="-171450" algn="l">
              <a:buFont typeface="Arial" panose="020B0604020202020204" pitchFamily="34" charset="0"/>
              <a:buChar char="•"/>
            </a:pPr>
            <a:r>
              <a:rPr lang="en-US" sz="1200">
                <a:solidFill>
                  <a:srgbClr val="333333"/>
                </a:solidFill>
                <a:latin typeface="Inter" pitchFamily="34" charset="0"/>
                <a:ea typeface="Inter" pitchFamily="34" charset="-122"/>
              </a:rPr>
              <a:t>Managing escalation without undermining local leaders</a:t>
            </a:r>
            <a:endParaRPr lang="en-US" sz="1200"/>
          </a:p>
        </p:txBody>
      </p:sp>
      <p:sp>
        <p:nvSpPr>
          <p:cNvPr id="20" name="Shape 47">
            <a:extLst>
              <a:ext uri="{FF2B5EF4-FFF2-40B4-BE49-F238E27FC236}">
                <a16:creationId xmlns:a16="http://schemas.microsoft.com/office/drawing/2014/main" id="{29E6A436-DF5F-3AC6-057D-664AAD0C27B7}"/>
              </a:ext>
            </a:extLst>
          </p:cNvPr>
          <p:cNvSpPr/>
          <p:nvPr/>
        </p:nvSpPr>
        <p:spPr>
          <a:xfrm>
            <a:off x="8412910" y="2203163"/>
            <a:ext cx="3429000" cy="1794828"/>
          </a:xfrm>
          <a:prstGeom prst="roundRect">
            <a:avLst>
              <a:gd name="adj" fmla="val 6740"/>
            </a:avLst>
          </a:prstGeom>
          <a:solidFill>
            <a:srgbClr val="F5F5F5"/>
          </a:solidFill>
          <a:ln/>
        </p:spPr>
        <p:txBody>
          <a:bodyPr/>
          <a:lstStyle/>
          <a:p>
            <a:endParaRPr lang="en-US" sz="1200"/>
          </a:p>
        </p:txBody>
      </p:sp>
      <p:sp>
        <p:nvSpPr>
          <p:cNvPr id="21" name="Text 51">
            <a:extLst>
              <a:ext uri="{FF2B5EF4-FFF2-40B4-BE49-F238E27FC236}">
                <a16:creationId xmlns:a16="http://schemas.microsoft.com/office/drawing/2014/main" id="{4773F17F-BD22-4656-C9EB-10C54CCE29B8}"/>
              </a:ext>
            </a:extLst>
          </p:cNvPr>
          <p:cNvSpPr/>
          <p:nvPr/>
        </p:nvSpPr>
        <p:spPr>
          <a:xfrm>
            <a:off x="8494230" y="2387353"/>
            <a:ext cx="921425" cy="115133"/>
          </a:xfrm>
          <a:prstGeom prst="rect">
            <a:avLst/>
          </a:prstGeom>
          <a:noFill/>
          <a:ln/>
        </p:spPr>
        <p:txBody>
          <a:bodyPr wrap="none" lIns="0" tIns="0" rIns="0" bIns="0" rtlCol="0" anchor="t"/>
          <a:lstStyle/>
          <a:p>
            <a:pPr marL="0" indent="0" algn="l">
              <a:lnSpc>
                <a:spcPts val="900"/>
              </a:lnSpc>
              <a:buNone/>
            </a:pPr>
            <a:r>
              <a:rPr lang="en-US" sz="1200" b="1">
                <a:solidFill>
                  <a:srgbClr val="333333"/>
                </a:solidFill>
                <a:latin typeface="Inter Bold" pitchFamily="34" charset="0"/>
                <a:ea typeface="Inter Bold" pitchFamily="34" charset="-122"/>
                <a:cs typeface="Inter Bold" pitchFamily="34" charset="-120"/>
              </a:rPr>
              <a:t>Stakeholder mapping across Global Systems</a:t>
            </a:r>
            <a:endParaRPr lang="en-US" sz="1200"/>
          </a:p>
        </p:txBody>
      </p:sp>
      <p:sp>
        <p:nvSpPr>
          <p:cNvPr id="22" name="Text 52">
            <a:extLst>
              <a:ext uri="{FF2B5EF4-FFF2-40B4-BE49-F238E27FC236}">
                <a16:creationId xmlns:a16="http://schemas.microsoft.com/office/drawing/2014/main" id="{A5B6F9F4-3F49-5177-98C3-7FB2345E7DDD}"/>
              </a:ext>
            </a:extLst>
          </p:cNvPr>
          <p:cNvSpPr/>
          <p:nvPr/>
        </p:nvSpPr>
        <p:spPr>
          <a:xfrm>
            <a:off x="8494231" y="2546658"/>
            <a:ext cx="3347680" cy="206811"/>
          </a:xfrm>
          <a:prstGeom prst="rect">
            <a:avLst/>
          </a:prstGeom>
          <a:noFill/>
          <a:ln/>
        </p:spPr>
        <p:txBody>
          <a:bodyPr wrap="square" lIns="0" tIns="0" rIns="0" bIns="0" rtlCol="0" anchor="t"/>
          <a:lstStyle/>
          <a:p>
            <a:pPr marL="171450" indent="-171450" algn="l">
              <a:buFont typeface="Arial" panose="020B0604020202020204" pitchFamily="34" charset="0"/>
              <a:buChar char="•"/>
            </a:pPr>
            <a:r>
              <a:rPr lang="en-US" sz="1200">
                <a:solidFill>
                  <a:srgbClr val="333333"/>
                </a:solidFill>
                <a:latin typeface="Inter" pitchFamily="34" charset="0"/>
                <a:ea typeface="Inter" pitchFamily="34" charset="-122"/>
                <a:cs typeface="Inter" pitchFamily="34" charset="-120"/>
              </a:rPr>
              <a:t>Identify </a:t>
            </a:r>
            <a:r>
              <a:rPr lang="en-US" sz="1200" b="1">
                <a:solidFill>
                  <a:srgbClr val="333333"/>
                </a:solidFill>
                <a:latin typeface="Inter" pitchFamily="34" charset="0"/>
                <a:ea typeface="Inter" pitchFamily="34" charset="-122"/>
                <a:cs typeface="Inter" pitchFamily="34" charset="-120"/>
              </a:rPr>
              <a:t>formal vs informal power holders</a:t>
            </a:r>
            <a:r>
              <a:rPr lang="en-US" sz="1200">
                <a:solidFill>
                  <a:srgbClr val="333333"/>
                </a:solidFill>
                <a:latin typeface="Inter" pitchFamily="34" charset="0"/>
                <a:ea typeface="Inter" pitchFamily="34" charset="-122"/>
                <a:cs typeface="Inter" pitchFamily="34" charset="-120"/>
              </a:rPr>
              <a:t> across regions</a:t>
            </a:r>
          </a:p>
          <a:p>
            <a:pPr marL="171450" indent="-171450" algn="l">
              <a:buFont typeface="Arial" panose="020B0604020202020204" pitchFamily="34" charset="0"/>
              <a:buChar char="•"/>
            </a:pPr>
            <a:r>
              <a:rPr lang="en-US" sz="1200">
                <a:solidFill>
                  <a:srgbClr val="333333"/>
                </a:solidFill>
                <a:latin typeface="Inter" pitchFamily="34" charset="0"/>
                <a:ea typeface="Inter" pitchFamily="34" charset="-122"/>
                <a:cs typeface="Inter" pitchFamily="34" charset="-120"/>
              </a:rPr>
              <a:t>Read economical and cultural dynamics to avoid negative repercussions on the organization</a:t>
            </a:r>
          </a:p>
          <a:p>
            <a:pPr marL="171450" indent="-171450" algn="l">
              <a:buFont typeface="Arial" panose="020B0604020202020204" pitchFamily="34" charset="0"/>
              <a:buChar char="•"/>
            </a:pPr>
            <a:r>
              <a:rPr lang="en-US" sz="1200">
                <a:solidFill>
                  <a:srgbClr val="333333"/>
                </a:solidFill>
                <a:latin typeface="Inter" pitchFamily="34" charset="0"/>
                <a:ea typeface="Inter" pitchFamily="34" charset="-122"/>
                <a:cs typeface="Inter" pitchFamily="34" charset="-120"/>
              </a:rPr>
              <a:t>Build credibility quickly with unfamiliar stakeholders</a:t>
            </a:r>
          </a:p>
          <a:p>
            <a:pPr marL="171450" indent="-171450" algn="l">
              <a:buFont typeface="Arial" panose="020B0604020202020204" pitchFamily="34" charset="0"/>
              <a:buChar char="•"/>
            </a:pPr>
            <a:r>
              <a:rPr lang="en-US" sz="1200">
                <a:solidFill>
                  <a:srgbClr val="333333"/>
                </a:solidFill>
                <a:latin typeface="Inter" pitchFamily="34" charset="0"/>
                <a:ea typeface="Inter" pitchFamily="34" charset="-122"/>
                <a:cs typeface="Inter" pitchFamily="34" charset="-120"/>
              </a:rPr>
              <a:t>Manage legacy relationships</a:t>
            </a:r>
          </a:p>
          <a:p>
            <a:pPr marL="0" indent="0" algn="l">
              <a:buNone/>
            </a:pPr>
            <a:endParaRPr lang="en-US" sz="1200"/>
          </a:p>
        </p:txBody>
      </p:sp>
      <p:sp>
        <p:nvSpPr>
          <p:cNvPr id="23" name="Shape 36">
            <a:extLst>
              <a:ext uri="{FF2B5EF4-FFF2-40B4-BE49-F238E27FC236}">
                <a16:creationId xmlns:a16="http://schemas.microsoft.com/office/drawing/2014/main" id="{E9AAB89E-1AAD-D25E-FE5B-6A94E48CA7AE}"/>
              </a:ext>
            </a:extLst>
          </p:cNvPr>
          <p:cNvSpPr/>
          <p:nvPr/>
        </p:nvSpPr>
        <p:spPr>
          <a:xfrm>
            <a:off x="4407038" y="2096989"/>
            <a:ext cx="3403461" cy="125457"/>
          </a:xfrm>
          <a:prstGeom prst="roundRect">
            <a:avLst>
              <a:gd name="adj" fmla="val 101581"/>
            </a:avLst>
          </a:prstGeom>
          <a:solidFill>
            <a:srgbClr val="015465"/>
          </a:solidFill>
          <a:ln/>
        </p:spPr>
        <p:txBody>
          <a:bodyPr/>
          <a:lstStyle/>
          <a:p>
            <a:endParaRPr lang="en-US" sz="1200"/>
          </a:p>
        </p:txBody>
      </p:sp>
      <p:sp>
        <p:nvSpPr>
          <p:cNvPr id="24" name="Shape 37">
            <a:extLst>
              <a:ext uri="{FF2B5EF4-FFF2-40B4-BE49-F238E27FC236}">
                <a16:creationId xmlns:a16="http://schemas.microsoft.com/office/drawing/2014/main" id="{04846909-3C41-85D9-61C8-B66209664008}"/>
              </a:ext>
            </a:extLst>
          </p:cNvPr>
          <p:cNvSpPr/>
          <p:nvPr/>
        </p:nvSpPr>
        <p:spPr>
          <a:xfrm>
            <a:off x="5925888" y="1976837"/>
            <a:ext cx="365760" cy="365760"/>
          </a:xfrm>
          <a:prstGeom prst="roundRect">
            <a:avLst>
              <a:gd name="adj" fmla="val 413570"/>
            </a:avLst>
          </a:prstGeom>
          <a:solidFill>
            <a:srgbClr val="015465"/>
          </a:solidFill>
          <a:ln/>
        </p:spPr>
        <p:txBody>
          <a:bodyPr/>
          <a:lstStyle/>
          <a:p>
            <a:endParaRPr lang="en-US" sz="1200"/>
          </a:p>
        </p:txBody>
      </p:sp>
      <p:sp>
        <p:nvSpPr>
          <p:cNvPr id="25" name="Text 38">
            <a:extLst>
              <a:ext uri="{FF2B5EF4-FFF2-40B4-BE49-F238E27FC236}">
                <a16:creationId xmlns:a16="http://schemas.microsoft.com/office/drawing/2014/main" id="{C512BD5D-9586-5596-BE72-201D7920DC46}"/>
              </a:ext>
            </a:extLst>
          </p:cNvPr>
          <p:cNvSpPr/>
          <p:nvPr/>
        </p:nvSpPr>
        <p:spPr>
          <a:xfrm>
            <a:off x="6064596" y="2104472"/>
            <a:ext cx="88344" cy="110490"/>
          </a:xfrm>
          <a:prstGeom prst="rect">
            <a:avLst/>
          </a:prstGeom>
          <a:noFill/>
          <a:ln/>
        </p:spPr>
        <p:txBody>
          <a:bodyPr wrap="none" lIns="0" tIns="0" rIns="0" bIns="0" rtlCol="0" anchor="t"/>
          <a:lstStyle/>
          <a:p>
            <a:pPr marL="0" indent="0" algn="l">
              <a:lnSpc>
                <a:spcPts val="1100"/>
              </a:lnSpc>
              <a:buNone/>
            </a:pPr>
            <a:r>
              <a:rPr lang="en-US" sz="1200" b="1">
                <a:solidFill>
                  <a:srgbClr val="FFFFFF"/>
                </a:solidFill>
                <a:latin typeface="Inter Bold" pitchFamily="34" charset="0"/>
                <a:ea typeface="Inter Bold" pitchFamily="34" charset="-122"/>
                <a:cs typeface="Inter Bold" pitchFamily="34" charset="-120"/>
              </a:rPr>
              <a:t>2</a:t>
            </a:r>
            <a:endParaRPr lang="en-US" sz="1200"/>
          </a:p>
        </p:txBody>
      </p:sp>
      <p:sp>
        <p:nvSpPr>
          <p:cNvPr id="26" name="Shape 36">
            <a:extLst>
              <a:ext uri="{FF2B5EF4-FFF2-40B4-BE49-F238E27FC236}">
                <a16:creationId xmlns:a16="http://schemas.microsoft.com/office/drawing/2014/main" id="{084B372B-80E8-0225-CDFC-6AA323BF9AEE}"/>
              </a:ext>
            </a:extLst>
          </p:cNvPr>
          <p:cNvSpPr/>
          <p:nvPr/>
        </p:nvSpPr>
        <p:spPr>
          <a:xfrm>
            <a:off x="8412909" y="2099119"/>
            <a:ext cx="3403461" cy="125457"/>
          </a:xfrm>
          <a:prstGeom prst="roundRect">
            <a:avLst>
              <a:gd name="adj" fmla="val 101581"/>
            </a:avLst>
          </a:prstGeom>
          <a:solidFill>
            <a:srgbClr val="015465"/>
          </a:solidFill>
          <a:ln/>
        </p:spPr>
        <p:txBody>
          <a:bodyPr/>
          <a:lstStyle/>
          <a:p>
            <a:endParaRPr lang="en-US" sz="1200"/>
          </a:p>
        </p:txBody>
      </p:sp>
      <p:sp>
        <p:nvSpPr>
          <p:cNvPr id="27" name="Shape 37">
            <a:extLst>
              <a:ext uri="{FF2B5EF4-FFF2-40B4-BE49-F238E27FC236}">
                <a16:creationId xmlns:a16="http://schemas.microsoft.com/office/drawing/2014/main" id="{E4E7EA72-3BD3-1131-7086-F5C07B53C6D6}"/>
              </a:ext>
            </a:extLst>
          </p:cNvPr>
          <p:cNvSpPr/>
          <p:nvPr/>
        </p:nvSpPr>
        <p:spPr>
          <a:xfrm>
            <a:off x="9931759" y="1978967"/>
            <a:ext cx="365760" cy="365760"/>
          </a:xfrm>
          <a:prstGeom prst="roundRect">
            <a:avLst>
              <a:gd name="adj" fmla="val 413570"/>
            </a:avLst>
          </a:prstGeom>
          <a:solidFill>
            <a:srgbClr val="015465"/>
          </a:solidFill>
          <a:ln/>
        </p:spPr>
        <p:txBody>
          <a:bodyPr/>
          <a:lstStyle/>
          <a:p>
            <a:endParaRPr lang="en-US" sz="1200"/>
          </a:p>
        </p:txBody>
      </p:sp>
      <p:sp>
        <p:nvSpPr>
          <p:cNvPr id="28" name="Text 38">
            <a:extLst>
              <a:ext uri="{FF2B5EF4-FFF2-40B4-BE49-F238E27FC236}">
                <a16:creationId xmlns:a16="http://schemas.microsoft.com/office/drawing/2014/main" id="{B27EA6A8-EE42-B562-B29F-55B4625A41BA}"/>
              </a:ext>
            </a:extLst>
          </p:cNvPr>
          <p:cNvSpPr/>
          <p:nvPr/>
        </p:nvSpPr>
        <p:spPr>
          <a:xfrm>
            <a:off x="10077447" y="2106602"/>
            <a:ext cx="88344" cy="110490"/>
          </a:xfrm>
          <a:prstGeom prst="rect">
            <a:avLst/>
          </a:prstGeom>
          <a:noFill/>
          <a:ln/>
        </p:spPr>
        <p:txBody>
          <a:bodyPr wrap="none" lIns="0" tIns="0" rIns="0" bIns="0" rtlCol="0" anchor="t"/>
          <a:lstStyle/>
          <a:p>
            <a:pPr marL="0" indent="0" algn="l">
              <a:lnSpc>
                <a:spcPts val="1100"/>
              </a:lnSpc>
              <a:buNone/>
            </a:pPr>
            <a:r>
              <a:rPr lang="en-US" sz="1200" b="1">
                <a:solidFill>
                  <a:srgbClr val="FFFFFF"/>
                </a:solidFill>
                <a:latin typeface="Inter Bold" pitchFamily="34" charset="0"/>
                <a:ea typeface="Inter Bold" pitchFamily="34" charset="-122"/>
              </a:rPr>
              <a:t>3</a:t>
            </a:r>
            <a:endParaRPr lang="en-US" sz="1200"/>
          </a:p>
        </p:txBody>
      </p:sp>
      <p:sp>
        <p:nvSpPr>
          <p:cNvPr id="29" name="Shape 36">
            <a:extLst>
              <a:ext uri="{FF2B5EF4-FFF2-40B4-BE49-F238E27FC236}">
                <a16:creationId xmlns:a16="http://schemas.microsoft.com/office/drawing/2014/main" id="{B0762DDB-52C2-CC86-CB29-EA4B57C359F7}"/>
              </a:ext>
            </a:extLst>
          </p:cNvPr>
          <p:cNvSpPr/>
          <p:nvPr/>
        </p:nvSpPr>
        <p:spPr>
          <a:xfrm>
            <a:off x="2070399" y="4325968"/>
            <a:ext cx="3403461" cy="125457"/>
          </a:xfrm>
          <a:prstGeom prst="roundRect">
            <a:avLst>
              <a:gd name="adj" fmla="val 101581"/>
            </a:avLst>
          </a:prstGeom>
          <a:solidFill>
            <a:srgbClr val="015465"/>
          </a:solidFill>
          <a:ln/>
        </p:spPr>
        <p:txBody>
          <a:bodyPr/>
          <a:lstStyle/>
          <a:p>
            <a:endParaRPr lang="en-US" sz="1200"/>
          </a:p>
        </p:txBody>
      </p:sp>
      <p:sp>
        <p:nvSpPr>
          <p:cNvPr id="30" name="Shape 37">
            <a:extLst>
              <a:ext uri="{FF2B5EF4-FFF2-40B4-BE49-F238E27FC236}">
                <a16:creationId xmlns:a16="http://schemas.microsoft.com/office/drawing/2014/main" id="{63152B59-D315-4069-99EB-1B7340D9DCBB}"/>
              </a:ext>
            </a:extLst>
          </p:cNvPr>
          <p:cNvSpPr/>
          <p:nvPr/>
        </p:nvSpPr>
        <p:spPr>
          <a:xfrm>
            <a:off x="3589249" y="4205816"/>
            <a:ext cx="365760" cy="365760"/>
          </a:xfrm>
          <a:prstGeom prst="roundRect">
            <a:avLst>
              <a:gd name="adj" fmla="val 413570"/>
            </a:avLst>
          </a:prstGeom>
          <a:solidFill>
            <a:srgbClr val="015465"/>
          </a:solidFill>
          <a:ln/>
        </p:spPr>
        <p:txBody>
          <a:bodyPr/>
          <a:lstStyle/>
          <a:p>
            <a:endParaRPr lang="en-US" sz="1200"/>
          </a:p>
        </p:txBody>
      </p:sp>
      <p:sp>
        <p:nvSpPr>
          <p:cNvPr id="31" name="Text 38">
            <a:extLst>
              <a:ext uri="{FF2B5EF4-FFF2-40B4-BE49-F238E27FC236}">
                <a16:creationId xmlns:a16="http://schemas.microsoft.com/office/drawing/2014/main" id="{A1683F41-32AB-BC26-0034-D1651F5AF080}"/>
              </a:ext>
            </a:extLst>
          </p:cNvPr>
          <p:cNvSpPr/>
          <p:nvPr/>
        </p:nvSpPr>
        <p:spPr>
          <a:xfrm>
            <a:off x="3727957" y="4333451"/>
            <a:ext cx="88344" cy="110490"/>
          </a:xfrm>
          <a:prstGeom prst="rect">
            <a:avLst/>
          </a:prstGeom>
          <a:noFill/>
          <a:ln/>
        </p:spPr>
        <p:txBody>
          <a:bodyPr wrap="none" lIns="0" tIns="0" rIns="0" bIns="0" rtlCol="0" anchor="t"/>
          <a:lstStyle/>
          <a:p>
            <a:pPr marL="0" indent="0" algn="l">
              <a:lnSpc>
                <a:spcPts val="1100"/>
              </a:lnSpc>
              <a:buNone/>
            </a:pPr>
            <a:r>
              <a:rPr lang="en-US" sz="1200" b="1">
                <a:solidFill>
                  <a:srgbClr val="FFFFFF"/>
                </a:solidFill>
                <a:latin typeface="Inter Bold" pitchFamily="34" charset="0"/>
                <a:ea typeface="Inter Bold" pitchFamily="34" charset="-122"/>
              </a:rPr>
              <a:t>4</a:t>
            </a:r>
            <a:endParaRPr lang="en-US" sz="1200"/>
          </a:p>
        </p:txBody>
      </p:sp>
      <p:sp>
        <p:nvSpPr>
          <p:cNvPr id="32" name="Shape 36">
            <a:extLst>
              <a:ext uri="{FF2B5EF4-FFF2-40B4-BE49-F238E27FC236}">
                <a16:creationId xmlns:a16="http://schemas.microsoft.com/office/drawing/2014/main" id="{49551A66-1917-265C-D2C9-7337FF1CD068}"/>
              </a:ext>
            </a:extLst>
          </p:cNvPr>
          <p:cNvSpPr/>
          <p:nvPr/>
        </p:nvSpPr>
        <p:spPr>
          <a:xfrm>
            <a:off x="6729758" y="4301420"/>
            <a:ext cx="3403461" cy="125457"/>
          </a:xfrm>
          <a:prstGeom prst="roundRect">
            <a:avLst>
              <a:gd name="adj" fmla="val 101581"/>
            </a:avLst>
          </a:prstGeom>
          <a:solidFill>
            <a:srgbClr val="015465"/>
          </a:solidFill>
          <a:ln/>
        </p:spPr>
        <p:txBody>
          <a:bodyPr/>
          <a:lstStyle/>
          <a:p>
            <a:endParaRPr lang="en-US" sz="1200"/>
          </a:p>
        </p:txBody>
      </p:sp>
      <p:sp>
        <p:nvSpPr>
          <p:cNvPr id="33" name="Shape 37">
            <a:extLst>
              <a:ext uri="{FF2B5EF4-FFF2-40B4-BE49-F238E27FC236}">
                <a16:creationId xmlns:a16="http://schemas.microsoft.com/office/drawing/2014/main" id="{C69ECCCC-0251-92FE-735B-4205060E2004}"/>
              </a:ext>
            </a:extLst>
          </p:cNvPr>
          <p:cNvSpPr/>
          <p:nvPr/>
        </p:nvSpPr>
        <p:spPr>
          <a:xfrm>
            <a:off x="8248608" y="4181268"/>
            <a:ext cx="365760" cy="365760"/>
          </a:xfrm>
          <a:prstGeom prst="roundRect">
            <a:avLst>
              <a:gd name="adj" fmla="val 413570"/>
            </a:avLst>
          </a:prstGeom>
          <a:solidFill>
            <a:srgbClr val="015465"/>
          </a:solidFill>
          <a:ln/>
        </p:spPr>
        <p:txBody>
          <a:bodyPr/>
          <a:lstStyle/>
          <a:p>
            <a:endParaRPr lang="en-US" sz="1200"/>
          </a:p>
        </p:txBody>
      </p:sp>
      <p:sp>
        <p:nvSpPr>
          <p:cNvPr id="34" name="Text 38">
            <a:extLst>
              <a:ext uri="{FF2B5EF4-FFF2-40B4-BE49-F238E27FC236}">
                <a16:creationId xmlns:a16="http://schemas.microsoft.com/office/drawing/2014/main" id="{1716D8E4-A763-35B5-5E80-B7B20286BF52}"/>
              </a:ext>
            </a:extLst>
          </p:cNvPr>
          <p:cNvSpPr/>
          <p:nvPr/>
        </p:nvSpPr>
        <p:spPr>
          <a:xfrm>
            <a:off x="8387316" y="4308903"/>
            <a:ext cx="88344" cy="110490"/>
          </a:xfrm>
          <a:prstGeom prst="rect">
            <a:avLst/>
          </a:prstGeom>
          <a:noFill/>
          <a:ln/>
        </p:spPr>
        <p:txBody>
          <a:bodyPr wrap="none" lIns="0" tIns="0" rIns="0" bIns="0" rtlCol="0" anchor="t"/>
          <a:lstStyle/>
          <a:p>
            <a:pPr marL="0" indent="0" algn="l">
              <a:lnSpc>
                <a:spcPts val="1100"/>
              </a:lnSpc>
              <a:buNone/>
            </a:pPr>
            <a:r>
              <a:rPr lang="en-US" sz="1200" b="1">
                <a:solidFill>
                  <a:srgbClr val="FFFFFF"/>
                </a:solidFill>
                <a:latin typeface="Inter Bold" pitchFamily="34" charset="0"/>
                <a:ea typeface="Inter Bold" pitchFamily="34" charset="-122"/>
              </a:rPr>
              <a:t>5</a:t>
            </a:r>
            <a:endParaRPr lang="en-US" sz="1200"/>
          </a:p>
        </p:txBody>
      </p:sp>
      <p:sp>
        <p:nvSpPr>
          <p:cNvPr id="35" name="Text 57">
            <a:extLst>
              <a:ext uri="{FF2B5EF4-FFF2-40B4-BE49-F238E27FC236}">
                <a16:creationId xmlns:a16="http://schemas.microsoft.com/office/drawing/2014/main" id="{BCA5DD2F-99BA-4CF5-A042-BDFD6528A60F}"/>
              </a:ext>
            </a:extLst>
          </p:cNvPr>
          <p:cNvSpPr/>
          <p:nvPr/>
        </p:nvSpPr>
        <p:spPr>
          <a:xfrm>
            <a:off x="2136512" y="4615832"/>
            <a:ext cx="1120259" cy="115133"/>
          </a:xfrm>
          <a:prstGeom prst="rect">
            <a:avLst/>
          </a:prstGeom>
          <a:noFill/>
          <a:ln/>
        </p:spPr>
        <p:txBody>
          <a:bodyPr wrap="none" lIns="0" tIns="0" rIns="0" bIns="0" rtlCol="0" anchor="t"/>
          <a:lstStyle/>
          <a:p>
            <a:pPr marL="0" indent="0" algn="l">
              <a:lnSpc>
                <a:spcPts val="900"/>
              </a:lnSpc>
              <a:buNone/>
            </a:pPr>
            <a:r>
              <a:rPr lang="en-US" sz="1200" b="1">
                <a:solidFill>
                  <a:srgbClr val="333333"/>
                </a:solidFill>
                <a:latin typeface="Inter Bold" pitchFamily="34" charset="0"/>
                <a:ea typeface="Inter Bold" pitchFamily="34" charset="-122"/>
                <a:cs typeface="Inter Bold" pitchFamily="34" charset="-120"/>
              </a:rPr>
              <a:t>Influence without Authority</a:t>
            </a:r>
            <a:endParaRPr lang="en-US" sz="1200"/>
          </a:p>
        </p:txBody>
      </p:sp>
      <p:sp>
        <p:nvSpPr>
          <p:cNvPr id="36" name="Text 63">
            <a:extLst>
              <a:ext uri="{FF2B5EF4-FFF2-40B4-BE49-F238E27FC236}">
                <a16:creationId xmlns:a16="http://schemas.microsoft.com/office/drawing/2014/main" id="{3DB26FE3-9848-30E8-E817-A2456B9F3E0C}"/>
              </a:ext>
            </a:extLst>
          </p:cNvPr>
          <p:cNvSpPr/>
          <p:nvPr/>
        </p:nvSpPr>
        <p:spPr>
          <a:xfrm>
            <a:off x="6825963" y="4593941"/>
            <a:ext cx="921425" cy="115133"/>
          </a:xfrm>
          <a:prstGeom prst="rect">
            <a:avLst/>
          </a:prstGeom>
          <a:noFill/>
          <a:ln/>
        </p:spPr>
        <p:txBody>
          <a:bodyPr wrap="none" lIns="0" tIns="0" rIns="0" bIns="0" rtlCol="0" anchor="t"/>
          <a:lstStyle/>
          <a:p>
            <a:pPr marL="0" indent="0" algn="l">
              <a:lnSpc>
                <a:spcPts val="900"/>
              </a:lnSpc>
              <a:buNone/>
            </a:pPr>
            <a:r>
              <a:rPr lang="en-US" sz="1200" b="1">
                <a:solidFill>
                  <a:srgbClr val="333333"/>
                </a:solidFill>
                <a:latin typeface="Inter Bold" pitchFamily="34" charset="0"/>
                <a:ea typeface="Inter Bold" pitchFamily="34" charset="-122"/>
                <a:cs typeface="Inter Bold" pitchFamily="34" charset="-120"/>
              </a:rPr>
              <a:t>Trust, Visibility, and Accountability at Scale</a:t>
            </a:r>
            <a:endParaRPr lang="en-US" sz="1200"/>
          </a:p>
        </p:txBody>
      </p:sp>
      <p:sp>
        <p:nvSpPr>
          <p:cNvPr id="37" name="Text 58">
            <a:extLst>
              <a:ext uri="{FF2B5EF4-FFF2-40B4-BE49-F238E27FC236}">
                <a16:creationId xmlns:a16="http://schemas.microsoft.com/office/drawing/2014/main" id="{8C9C4CAF-8156-6837-1DB7-4008B0D5BB14}"/>
              </a:ext>
            </a:extLst>
          </p:cNvPr>
          <p:cNvSpPr/>
          <p:nvPr/>
        </p:nvSpPr>
        <p:spPr>
          <a:xfrm>
            <a:off x="2127340" y="4784086"/>
            <a:ext cx="3429000" cy="359794"/>
          </a:xfrm>
          <a:prstGeom prst="rect">
            <a:avLst/>
          </a:prstGeom>
          <a:noFill/>
          <a:ln/>
        </p:spPr>
        <p:txBody>
          <a:bodyPr wrap="square" lIns="0" tIns="0" rIns="0" bIns="0" rtlCol="0" anchor="t"/>
          <a:lstStyle/>
          <a:p>
            <a:pPr marL="0" indent="0" algn="l">
              <a:buNone/>
            </a:pPr>
            <a:r>
              <a:rPr lang="en-US" sz="1200">
                <a:solidFill>
                  <a:srgbClr val="333333"/>
                </a:solidFill>
                <a:latin typeface="Inter" pitchFamily="34" charset="0"/>
                <a:ea typeface="Inter" pitchFamily="34" charset="-122"/>
                <a:cs typeface="Inter" pitchFamily="34" charset="-120"/>
              </a:rPr>
              <a:t>Critical global skills:</a:t>
            </a:r>
          </a:p>
          <a:p>
            <a:pPr marL="171450" indent="-171450" algn="l">
              <a:buFont typeface="Arial" panose="020B0604020202020204" pitchFamily="34" charset="0"/>
              <a:buChar char="•"/>
            </a:pPr>
            <a:r>
              <a:rPr lang="en-US" sz="1200">
                <a:solidFill>
                  <a:srgbClr val="333333"/>
                </a:solidFill>
                <a:latin typeface="Inter" pitchFamily="34" charset="0"/>
                <a:ea typeface="Inter" pitchFamily="34" charset="-122"/>
              </a:rPr>
              <a:t>Leading when authority is indirect or shared</a:t>
            </a:r>
          </a:p>
          <a:p>
            <a:pPr marL="171450" indent="-171450" algn="l">
              <a:buFont typeface="Arial" panose="020B0604020202020204" pitchFamily="34" charset="0"/>
              <a:buChar char="•"/>
            </a:pPr>
            <a:r>
              <a:rPr lang="en-US" sz="1200" b="1">
                <a:solidFill>
                  <a:srgbClr val="333333"/>
                </a:solidFill>
                <a:latin typeface="Inter" pitchFamily="34" charset="0"/>
                <a:ea typeface="Inter" pitchFamily="34" charset="-122"/>
              </a:rPr>
              <a:t>Adapting influence style </a:t>
            </a:r>
            <a:r>
              <a:rPr lang="en-US" sz="1200">
                <a:solidFill>
                  <a:srgbClr val="333333"/>
                </a:solidFill>
                <a:latin typeface="Inter" pitchFamily="34" charset="0"/>
                <a:ea typeface="Inter" pitchFamily="34" charset="-122"/>
              </a:rPr>
              <a:t>by culture and context</a:t>
            </a:r>
          </a:p>
          <a:p>
            <a:pPr marL="171450" indent="-171450" algn="l">
              <a:buFont typeface="Arial" panose="020B0604020202020204" pitchFamily="34" charset="0"/>
              <a:buChar char="•"/>
            </a:pPr>
            <a:r>
              <a:rPr lang="en-US" sz="1200"/>
              <a:t>Using </a:t>
            </a:r>
            <a:r>
              <a:rPr lang="en-US" sz="1200" b="1"/>
              <a:t>enterprise narrative </a:t>
            </a:r>
            <a:r>
              <a:rPr lang="en-US" sz="1200"/>
              <a:t>rather than positional power</a:t>
            </a:r>
          </a:p>
          <a:p>
            <a:pPr marL="171450" indent="-171450" algn="l">
              <a:buFont typeface="Arial" panose="020B0604020202020204" pitchFamily="34" charset="0"/>
              <a:buChar char="•"/>
            </a:pPr>
            <a:r>
              <a:rPr lang="en-US" sz="1200"/>
              <a:t>Managing resistance without damaging long term relationships</a:t>
            </a:r>
          </a:p>
        </p:txBody>
      </p:sp>
      <p:sp>
        <p:nvSpPr>
          <p:cNvPr id="38" name="Text 64">
            <a:extLst>
              <a:ext uri="{FF2B5EF4-FFF2-40B4-BE49-F238E27FC236}">
                <a16:creationId xmlns:a16="http://schemas.microsoft.com/office/drawing/2014/main" id="{D09D08E0-B1CE-6AC9-82DB-7DF5A65E65CB}"/>
              </a:ext>
            </a:extLst>
          </p:cNvPr>
          <p:cNvSpPr/>
          <p:nvPr/>
        </p:nvSpPr>
        <p:spPr>
          <a:xfrm>
            <a:off x="6824202" y="4752201"/>
            <a:ext cx="3309017" cy="416274"/>
          </a:xfrm>
          <a:prstGeom prst="rect">
            <a:avLst/>
          </a:prstGeom>
          <a:noFill/>
          <a:ln/>
        </p:spPr>
        <p:txBody>
          <a:bodyPr wrap="square" lIns="0" tIns="0" rIns="0" bIns="0" rtlCol="0" anchor="t"/>
          <a:lstStyle/>
          <a:p>
            <a:pPr marL="0" indent="0" algn="l">
              <a:buNone/>
            </a:pPr>
            <a:r>
              <a:rPr lang="en-US" sz="1200">
                <a:solidFill>
                  <a:srgbClr val="333333"/>
                </a:solidFill>
                <a:latin typeface="Inter" pitchFamily="34" charset="0"/>
                <a:ea typeface="Inter" pitchFamily="34" charset="-122"/>
                <a:cs typeface="Inter" pitchFamily="34" charset="-120"/>
              </a:rPr>
              <a:t>Executives practice:</a:t>
            </a:r>
          </a:p>
          <a:p>
            <a:pPr marL="171450" indent="-171450" algn="l">
              <a:buFont typeface="Arial" panose="020B0604020202020204" pitchFamily="34" charset="0"/>
              <a:buChar char="•"/>
            </a:pPr>
            <a:r>
              <a:rPr lang="en-US" sz="1200">
                <a:solidFill>
                  <a:srgbClr val="333333"/>
                </a:solidFill>
                <a:latin typeface="Inter" pitchFamily="34" charset="0"/>
                <a:ea typeface="Inter" pitchFamily="34" charset="-122"/>
                <a:cs typeface="Inter" pitchFamily="34" charset="-120"/>
              </a:rPr>
              <a:t>Creating </a:t>
            </a:r>
            <a:r>
              <a:rPr lang="en-US" sz="1200" b="1">
                <a:solidFill>
                  <a:srgbClr val="333333"/>
                </a:solidFill>
                <a:latin typeface="Inter" pitchFamily="34" charset="0"/>
                <a:ea typeface="Inter" pitchFamily="34" charset="-122"/>
                <a:cs typeface="Inter" pitchFamily="34" charset="-120"/>
              </a:rPr>
              <a:t>predictable leadership presence</a:t>
            </a:r>
            <a:r>
              <a:rPr lang="en-US" sz="1200">
                <a:solidFill>
                  <a:srgbClr val="333333"/>
                </a:solidFill>
                <a:latin typeface="Inter" pitchFamily="34" charset="0"/>
                <a:ea typeface="Inter" pitchFamily="34" charset="-122"/>
                <a:cs typeface="Inter" pitchFamily="34" charset="-120"/>
              </a:rPr>
              <a:t> without micromanaging</a:t>
            </a:r>
          </a:p>
          <a:p>
            <a:pPr marL="171450" indent="-171450" algn="l">
              <a:buFont typeface="Arial" panose="020B0604020202020204" pitchFamily="34" charset="0"/>
              <a:buChar char="•"/>
            </a:pPr>
            <a:r>
              <a:rPr lang="en-US" sz="1200">
                <a:solidFill>
                  <a:srgbClr val="333333"/>
                </a:solidFill>
                <a:latin typeface="Inter" pitchFamily="34" charset="0"/>
                <a:ea typeface="Inter" pitchFamily="34" charset="-122"/>
                <a:cs typeface="Inter" pitchFamily="34" charset="-120"/>
              </a:rPr>
              <a:t>Setting </a:t>
            </a:r>
            <a:r>
              <a:rPr lang="en-US" sz="1200" b="1">
                <a:solidFill>
                  <a:srgbClr val="333333"/>
                </a:solidFill>
                <a:latin typeface="Inter" pitchFamily="34" charset="0"/>
                <a:ea typeface="Inter" pitchFamily="34" charset="-122"/>
                <a:cs typeface="Inter" pitchFamily="34" charset="-120"/>
              </a:rPr>
              <a:t>clear accountability </a:t>
            </a:r>
            <a:r>
              <a:rPr lang="en-US" sz="1200">
                <a:solidFill>
                  <a:srgbClr val="333333"/>
                </a:solidFill>
                <a:latin typeface="Inter" pitchFamily="34" charset="0"/>
                <a:ea typeface="Inter" pitchFamily="34" charset="-122"/>
                <a:cs typeface="Inter" pitchFamily="34" charset="-120"/>
              </a:rPr>
              <a:t>across distributed teams</a:t>
            </a:r>
          </a:p>
          <a:p>
            <a:pPr marL="171450" indent="-171450" algn="l">
              <a:buFont typeface="Arial" panose="020B0604020202020204" pitchFamily="34" charset="0"/>
              <a:buChar char="•"/>
            </a:pPr>
            <a:r>
              <a:rPr lang="en-US" sz="1200">
                <a:solidFill>
                  <a:srgbClr val="333333"/>
                </a:solidFill>
                <a:latin typeface="Inter" pitchFamily="34" charset="0"/>
                <a:ea typeface="Inter" pitchFamily="34" charset="-122"/>
                <a:cs typeface="Inter" pitchFamily="34" charset="-120"/>
              </a:rPr>
              <a:t>Maintaining visibility without exhausting the organization</a:t>
            </a:r>
          </a:p>
          <a:p>
            <a:pPr marL="171450" indent="-171450" algn="l">
              <a:buFont typeface="Arial" panose="020B0604020202020204" pitchFamily="34" charset="0"/>
              <a:buChar char="•"/>
            </a:pPr>
            <a:r>
              <a:rPr lang="en-US" sz="1200">
                <a:solidFill>
                  <a:srgbClr val="333333"/>
                </a:solidFill>
                <a:latin typeface="Inter" pitchFamily="34" charset="0"/>
                <a:ea typeface="Inter" pitchFamily="34" charset="-122"/>
                <a:cs typeface="Inter" pitchFamily="34" charset="-120"/>
              </a:rPr>
              <a:t>Knowing when to step in and when not to</a:t>
            </a:r>
          </a:p>
        </p:txBody>
      </p:sp>
    </p:spTree>
    <p:extLst>
      <p:ext uri="{BB962C8B-B14F-4D97-AF65-F5344CB8AC3E}">
        <p14:creationId xmlns:p14="http://schemas.microsoft.com/office/powerpoint/2010/main" val="41148262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5FCBA71-635C-605B-7697-425E7C23425D}"/>
              </a:ext>
            </a:extLst>
          </p:cNvPr>
          <p:cNvGraphicFramePr>
            <a:graphicFrameLocks noChangeAspect="1"/>
          </p:cNvGraphicFramePr>
          <p:nvPr>
            <p:custDataLst>
              <p:tags r:id="rId1"/>
            </p:custDataLst>
            <p:extLst>
              <p:ext uri="{D42A27DB-BD31-4B8C-83A1-F6EECF244321}">
                <p14:modId xmlns:p14="http://schemas.microsoft.com/office/powerpoint/2010/main" val="740777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think-cell data - do not delete" hidden="1">
                        <a:extLst>
                          <a:ext uri="{FF2B5EF4-FFF2-40B4-BE49-F238E27FC236}">
                            <a16:creationId xmlns:a16="http://schemas.microsoft.com/office/drawing/2014/main" id="{A5FCBA71-635C-605B-7697-425E7C2342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5791D46-46B2-851F-C88B-3C8B469E9926}"/>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latin typeface="Moderat" pitchFamily="2" charset="77"/>
              </a:rPr>
              <a:t>ASCEND+ Advanced Manager Program </a:t>
            </a:r>
          </a:p>
        </p:txBody>
      </p:sp>
      <p:grpSp>
        <p:nvGrpSpPr>
          <p:cNvPr id="9" name="Group 8">
            <a:extLst>
              <a:ext uri="{FF2B5EF4-FFF2-40B4-BE49-F238E27FC236}">
                <a16:creationId xmlns:a16="http://schemas.microsoft.com/office/drawing/2014/main" id="{040AF536-3DC4-22F0-25C9-1800FAEC4ABD}"/>
              </a:ext>
            </a:extLst>
          </p:cNvPr>
          <p:cNvGrpSpPr/>
          <p:nvPr/>
        </p:nvGrpSpPr>
        <p:grpSpPr>
          <a:xfrm>
            <a:off x="515938" y="1412876"/>
            <a:ext cx="5275262" cy="1460953"/>
            <a:chOff x="6805613" y="3810001"/>
            <a:chExt cx="5275262" cy="1460953"/>
          </a:xfrm>
        </p:grpSpPr>
        <p:sp>
          <p:nvSpPr>
            <p:cNvPr id="10" name="Shape 21">
              <a:extLst>
                <a:ext uri="{FF2B5EF4-FFF2-40B4-BE49-F238E27FC236}">
                  <a16:creationId xmlns:a16="http://schemas.microsoft.com/office/drawing/2014/main" id="{378BC139-0AE9-5E4F-3EFC-11FA9170BDB9}"/>
                </a:ext>
              </a:extLst>
            </p:cNvPr>
            <p:cNvSpPr/>
            <p:nvPr/>
          </p:nvSpPr>
          <p:spPr>
            <a:xfrm>
              <a:off x="6805613" y="3810001"/>
              <a:ext cx="5275262" cy="1460953"/>
            </a:xfrm>
            <a:prstGeom prst="roundRect">
              <a:avLst>
                <a:gd name="adj" fmla="val 5363"/>
              </a:avLst>
            </a:prstGeom>
            <a:solidFill>
              <a:schemeClr val="bg1">
                <a:lumMod val="95000"/>
              </a:schemeClr>
            </a:solidFill>
            <a:ln w="22860">
              <a:noFill/>
              <a:prstDash val="solid"/>
            </a:ln>
          </p:spPr>
          <p:txBody>
            <a:bodyPr/>
            <a:lstStyle/>
            <a:p>
              <a:endParaRPr lang="en-IN" sz="1600">
                <a:solidFill>
                  <a:schemeClr val="bg1"/>
                </a:solidFill>
                <a:latin typeface="Moderat" pitchFamily="2" charset="77"/>
              </a:endParaRPr>
            </a:p>
          </p:txBody>
        </p:sp>
        <p:sp>
          <p:nvSpPr>
            <p:cNvPr id="12" name="Text 8">
              <a:extLst>
                <a:ext uri="{FF2B5EF4-FFF2-40B4-BE49-F238E27FC236}">
                  <a16:creationId xmlns:a16="http://schemas.microsoft.com/office/drawing/2014/main" id="{7E6285F9-25DB-3AD8-C8F5-3BC5462BEF40}"/>
                </a:ext>
              </a:extLst>
            </p:cNvPr>
            <p:cNvSpPr/>
            <p:nvPr/>
          </p:nvSpPr>
          <p:spPr>
            <a:xfrm>
              <a:off x="7043654" y="4310104"/>
              <a:ext cx="4717907" cy="646331"/>
            </a:xfrm>
            <a:prstGeom prst="rect">
              <a:avLst/>
            </a:prstGeom>
            <a:noFill/>
            <a:ln/>
          </p:spPr>
          <p:txBody>
            <a:bodyPr wrap="square" lIns="0" tIns="0" rIns="0" bIns="0" rtlCol="0" anchor="t">
              <a:spAutoFit/>
            </a:bodyPr>
            <a:lstStyle/>
            <a:p>
              <a:pPr>
                <a:spcBef>
                  <a:spcPts val="400"/>
                </a:spcBef>
                <a:spcAft>
                  <a:spcPts val="400"/>
                </a:spcAft>
              </a:pPr>
              <a:r>
                <a:rPr lang="en-US" sz="1400">
                  <a:solidFill>
                    <a:schemeClr val="bg2">
                      <a:lumMod val="25000"/>
                    </a:schemeClr>
                  </a:solidFill>
                  <a:latin typeface="Moderat" pitchFamily="2" charset="77"/>
                  <a:ea typeface="Lato" pitchFamily="34" charset="-122"/>
                  <a:cs typeface="Lato" pitchFamily="34" charset="-120"/>
                </a:rPr>
                <a:t>Transform experienced frontline managers into influential leaders who drive cross-functional outcomes and support the GCC's strategic growth</a:t>
              </a:r>
            </a:p>
          </p:txBody>
        </p:sp>
        <p:sp>
          <p:nvSpPr>
            <p:cNvPr id="13" name="Text 7">
              <a:extLst>
                <a:ext uri="{FF2B5EF4-FFF2-40B4-BE49-F238E27FC236}">
                  <a16:creationId xmlns:a16="http://schemas.microsoft.com/office/drawing/2014/main" id="{CDE43BF2-4594-2EF2-3ED1-89C976B610DC}"/>
                </a:ext>
              </a:extLst>
            </p:cNvPr>
            <p:cNvSpPr/>
            <p:nvPr/>
          </p:nvSpPr>
          <p:spPr>
            <a:xfrm>
              <a:off x="7016069" y="3962901"/>
              <a:ext cx="3893732" cy="243656"/>
            </a:xfrm>
            <a:prstGeom prst="rect">
              <a:avLst/>
            </a:prstGeom>
            <a:noFill/>
            <a:ln/>
          </p:spPr>
          <p:txBody>
            <a:bodyPr wrap="square" lIns="0" tIns="0" rIns="0" bIns="0" rtlCol="0" anchor="t">
              <a:spAutoFit/>
            </a:bodyPr>
            <a:lstStyle/>
            <a:p>
              <a:pPr>
                <a:lnSpc>
                  <a:spcPts val="1916"/>
                </a:lnSpc>
              </a:pPr>
              <a:r>
                <a:rPr lang="en-US" sz="1600" b="1">
                  <a:solidFill>
                    <a:schemeClr val="accent6"/>
                  </a:solidFill>
                  <a:latin typeface="Moderat" pitchFamily="2" charset="77"/>
                  <a:ea typeface="Lato Bold" pitchFamily="34" charset="-122"/>
                  <a:cs typeface="Lato Bold" pitchFamily="34" charset="-120"/>
                </a:rPr>
                <a:t>Why you need this course</a:t>
              </a:r>
            </a:p>
          </p:txBody>
        </p:sp>
      </p:grpSp>
      <p:grpSp>
        <p:nvGrpSpPr>
          <p:cNvPr id="14" name="Group 13">
            <a:extLst>
              <a:ext uri="{FF2B5EF4-FFF2-40B4-BE49-F238E27FC236}">
                <a16:creationId xmlns:a16="http://schemas.microsoft.com/office/drawing/2014/main" id="{CAA3CE4C-2B5F-64CE-029D-56013796824D}"/>
              </a:ext>
            </a:extLst>
          </p:cNvPr>
          <p:cNvGrpSpPr/>
          <p:nvPr/>
        </p:nvGrpSpPr>
        <p:grpSpPr>
          <a:xfrm>
            <a:off x="515938" y="2968173"/>
            <a:ext cx="5275262" cy="1247332"/>
            <a:chOff x="6805613" y="3810002"/>
            <a:chExt cx="5275262" cy="1247332"/>
          </a:xfrm>
        </p:grpSpPr>
        <p:sp>
          <p:nvSpPr>
            <p:cNvPr id="15" name="Shape 21">
              <a:extLst>
                <a:ext uri="{FF2B5EF4-FFF2-40B4-BE49-F238E27FC236}">
                  <a16:creationId xmlns:a16="http://schemas.microsoft.com/office/drawing/2014/main" id="{89BDEFC5-F349-9FDC-E3E5-A8840C6997DE}"/>
                </a:ext>
              </a:extLst>
            </p:cNvPr>
            <p:cNvSpPr/>
            <p:nvPr/>
          </p:nvSpPr>
          <p:spPr>
            <a:xfrm>
              <a:off x="6805613" y="3810002"/>
              <a:ext cx="5275262" cy="1247332"/>
            </a:xfrm>
            <a:prstGeom prst="roundRect">
              <a:avLst>
                <a:gd name="adj" fmla="val 5363"/>
              </a:avLst>
            </a:prstGeom>
            <a:solidFill>
              <a:schemeClr val="bg1">
                <a:lumMod val="95000"/>
              </a:schemeClr>
            </a:solidFill>
            <a:ln w="22860">
              <a:noFill/>
              <a:prstDash val="solid"/>
            </a:ln>
          </p:spPr>
          <p:txBody>
            <a:bodyPr/>
            <a:lstStyle/>
            <a:p>
              <a:endParaRPr lang="en-IN" sz="1600">
                <a:solidFill>
                  <a:schemeClr val="bg1"/>
                </a:solidFill>
                <a:latin typeface="Moderat" pitchFamily="2" charset="77"/>
              </a:endParaRPr>
            </a:p>
          </p:txBody>
        </p:sp>
        <p:sp>
          <p:nvSpPr>
            <p:cNvPr id="16" name="Text 8">
              <a:extLst>
                <a:ext uri="{FF2B5EF4-FFF2-40B4-BE49-F238E27FC236}">
                  <a16:creationId xmlns:a16="http://schemas.microsoft.com/office/drawing/2014/main" id="{B25649D3-7773-2B1A-230B-CE9A3C54E22B}"/>
                </a:ext>
              </a:extLst>
            </p:cNvPr>
            <p:cNvSpPr/>
            <p:nvPr/>
          </p:nvSpPr>
          <p:spPr>
            <a:xfrm>
              <a:off x="7043654" y="4300677"/>
              <a:ext cx="4717907" cy="430887"/>
            </a:xfrm>
            <a:prstGeom prst="rect">
              <a:avLst/>
            </a:prstGeom>
            <a:noFill/>
            <a:ln/>
          </p:spPr>
          <p:txBody>
            <a:bodyPr wrap="square" lIns="0" tIns="0" rIns="0" bIns="0" rtlCol="0" anchor="t">
              <a:spAutoFit/>
            </a:bodyPr>
            <a:lstStyle/>
            <a:p>
              <a:pPr>
                <a:spcBef>
                  <a:spcPts val="400"/>
                </a:spcBef>
                <a:spcAft>
                  <a:spcPts val="400"/>
                </a:spcAft>
              </a:pPr>
              <a:r>
                <a:rPr lang="en-US" sz="1400">
                  <a:solidFill>
                    <a:schemeClr val="bg2">
                      <a:lumMod val="25000"/>
                    </a:schemeClr>
                  </a:solidFill>
                  <a:latin typeface="Moderat" pitchFamily="2" charset="77"/>
                  <a:ea typeface="Lato" pitchFamily="34" charset="-122"/>
                  <a:cs typeface="Lato" pitchFamily="34" charset="-120"/>
                </a:rPr>
                <a:t>6–8 interactive modules with live practice labs, real GCC scenarios, and a culminating capstone business challenge</a:t>
              </a:r>
            </a:p>
          </p:txBody>
        </p:sp>
        <p:sp>
          <p:nvSpPr>
            <p:cNvPr id="17" name="Text 7">
              <a:extLst>
                <a:ext uri="{FF2B5EF4-FFF2-40B4-BE49-F238E27FC236}">
                  <a16:creationId xmlns:a16="http://schemas.microsoft.com/office/drawing/2014/main" id="{9F9326C4-42CA-3666-7CE1-E5FBB9FF8666}"/>
                </a:ext>
              </a:extLst>
            </p:cNvPr>
            <p:cNvSpPr/>
            <p:nvPr/>
          </p:nvSpPr>
          <p:spPr>
            <a:xfrm>
              <a:off x="7016069" y="3962901"/>
              <a:ext cx="3893732" cy="243656"/>
            </a:xfrm>
            <a:prstGeom prst="rect">
              <a:avLst/>
            </a:prstGeom>
            <a:noFill/>
            <a:ln/>
          </p:spPr>
          <p:txBody>
            <a:bodyPr wrap="square" lIns="0" tIns="0" rIns="0" bIns="0" rtlCol="0" anchor="t">
              <a:spAutoFit/>
            </a:bodyPr>
            <a:lstStyle/>
            <a:p>
              <a:pPr>
                <a:lnSpc>
                  <a:spcPts val="1916"/>
                </a:lnSpc>
              </a:pPr>
              <a:r>
                <a:rPr lang="en-US" sz="1600" b="1">
                  <a:solidFill>
                    <a:schemeClr val="accent6"/>
                  </a:solidFill>
                  <a:latin typeface="Moderat" pitchFamily="2" charset="77"/>
                  <a:ea typeface="Lato Bold" pitchFamily="34" charset="-122"/>
                  <a:cs typeface="Lato Bold" pitchFamily="34" charset="-120"/>
                </a:rPr>
                <a:t>How managers experience it</a:t>
              </a:r>
            </a:p>
          </p:txBody>
        </p:sp>
      </p:grpSp>
      <p:grpSp>
        <p:nvGrpSpPr>
          <p:cNvPr id="18" name="Group 17">
            <a:extLst>
              <a:ext uri="{FF2B5EF4-FFF2-40B4-BE49-F238E27FC236}">
                <a16:creationId xmlns:a16="http://schemas.microsoft.com/office/drawing/2014/main" id="{92CDB501-6758-5EE5-AD0E-6C68D2FF9984}"/>
              </a:ext>
            </a:extLst>
          </p:cNvPr>
          <p:cNvGrpSpPr/>
          <p:nvPr/>
        </p:nvGrpSpPr>
        <p:grpSpPr>
          <a:xfrm>
            <a:off x="515938" y="4368404"/>
            <a:ext cx="5275262" cy="1616017"/>
            <a:chOff x="6805613" y="3654937"/>
            <a:chExt cx="5275262" cy="1616017"/>
          </a:xfrm>
        </p:grpSpPr>
        <p:sp>
          <p:nvSpPr>
            <p:cNvPr id="19" name="Shape 21">
              <a:extLst>
                <a:ext uri="{FF2B5EF4-FFF2-40B4-BE49-F238E27FC236}">
                  <a16:creationId xmlns:a16="http://schemas.microsoft.com/office/drawing/2014/main" id="{E06C089E-3957-2BB1-BFF9-20750CE78EA7}"/>
                </a:ext>
              </a:extLst>
            </p:cNvPr>
            <p:cNvSpPr/>
            <p:nvPr/>
          </p:nvSpPr>
          <p:spPr>
            <a:xfrm>
              <a:off x="6805613" y="3654937"/>
              <a:ext cx="5275262" cy="1616017"/>
            </a:xfrm>
            <a:prstGeom prst="roundRect">
              <a:avLst>
                <a:gd name="adj" fmla="val 5363"/>
              </a:avLst>
            </a:prstGeom>
            <a:solidFill>
              <a:schemeClr val="bg1">
                <a:lumMod val="95000"/>
              </a:schemeClr>
            </a:solidFill>
            <a:ln w="22860">
              <a:noFill/>
              <a:prstDash val="solid"/>
            </a:ln>
          </p:spPr>
          <p:txBody>
            <a:bodyPr/>
            <a:lstStyle/>
            <a:p>
              <a:endParaRPr lang="en-IN" sz="1600">
                <a:solidFill>
                  <a:schemeClr val="bg1"/>
                </a:solidFill>
                <a:latin typeface="Moderat" pitchFamily="2" charset="77"/>
              </a:endParaRPr>
            </a:p>
          </p:txBody>
        </p:sp>
        <p:sp>
          <p:nvSpPr>
            <p:cNvPr id="20" name="Text 8">
              <a:extLst>
                <a:ext uri="{FF2B5EF4-FFF2-40B4-BE49-F238E27FC236}">
                  <a16:creationId xmlns:a16="http://schemas.microsoft.com/office/drawing/2014/main" id="{B842AF6A-21E1-14A3-CFEB-93B08E99FF16}"/>
                </a:ext>
              </a:extLst>
            </p:cNvPr>
            <p:cNvSpPr/>
            <p:nvPr/>
          </p:nvSpPr>
          <p:spPr>
            <a:xfrm>
              <a:off x="7043654" y="4142339"/>
              <a:ext cx="4717907" cy="646331"/>
            </a:xfrm>
            <a:prstGeom prst="rect">
              <a:avLst/>
            </a:prstGeom>
            <a:noFill/>
            <a:ln/>
          </p:spPr>
          <p:txBody>
            <a:bodyPr wrap="square" lIns="0" tIns="0" rIns="0" bIns="0" rtlCol="0" anchor="t">
              <a:spAutoFit/>
            </a:bodyPr>
            <a:lstStyle/>
            <a:p>
              <a:pPr>
                <a:spcBef>
                  <a:spcPts val="400"/>
                </a:spcBef>
                <a:spcAft>
                  <a:spcPts val="400"/>
                </a:spcAft>
              </a:pPr>
              <a:r>
                <a:rPr lang="en-US" sz="1400">
                  <a:solidFill>
                    <a:schemeClr val="bg2">
                      <a:lumMod val="25000"/>
                    </a:schemeClr>
                  </a:solidFill>
                  <a:latin typeface="Moderat" pitchFamily="2" charset="77"/>
                  <a:ea typeface="Lato" pitchFamily="34" charset="-122"/>
                  <a:cs typeface="Lato" pitchFamily="34" charset="-120"/>
                </a:rPr>
                <a:t>Managers leave with clarity, the ability to influence outcomes, and ownership of results. They are equipped to lead at scale as the GCC matures</a:t>
              </a:r>
            </a:p>
          </p:txBody>
        </p:sp>
        <p:sp>
          <p:nvSpPr>
            <p:cNvPr id="21" name="Text 7">
              <a:extLst>
                <a:ext uri="{FF2B5EF4-FFF2-40B4-BE49-F238E27FC236}">
                  <a16:creationId xmlns:a16="http://schemas.microsoft.com/office/drawing/2014/main" id="{05409E24-2669-8DFA-0BF0-671B3D8222F2}"/>
                </a:ext>
              </a:extLst>
            </p:cNvPr>
            <p:cNvSpPr/>
            <p:nvPr/>
          </p:nvSpPr>
          <p:spPr>
            <a:xfrm>
              <a:off x="7016069" y="3807836"/>
              <a:ext cx="3893732" cy="243656"/>
            </a:xfrm>
            <a:prstGeom prst="rect">
              <a:avLst/>
            </a:prstGeom>
            <a:noFill/>
            <a:ln/>
          </p:spPr>
          <p:txBody>
            <a:bodyPr wrap="square" lIns="0" tIns="0" rIns="0" bIns="0" rtlCol="0" anchor="t">
              <a:spAutoFit/>
            </a:bodyPr>
            <a:lstStyle/>
            <a:p>
              <a:pPr>
                <a:lnSpc>
                  <a:spcPts val="1916"/>
                </a:lnSpc>
              </a:pPr>
              <a:r>
                <a:rPr lang="en-US" sz="1600" b="1">
                  <a:solidFill>
                    <a:schemeClr val="accent6"/>
                  </a:solidFill>
                  <a:latin typeface="Moderat" pitchFamily="2" charset="77"/>
                  <a:ea typeface="Lato Bold" pitchFamily="34" charset="-122"/>
                  <a:cs typeface="Lato Bold" pitchFamily="34" charset="-120"/>
                </a:rPr>
                <a:t>What managers leave with</a:t>
              </a:r>
            </a:p>
          </p:txBody>
        </p:sp>
      </p:grpSp>
      <p:sp>
        <p:nvSpPr>
          <p:cNvPr id="4" name="Shape 4">
            <a:extLst>
              <a:ext uri="{FF2B5EF4-FFF2-40B4-BE49-F238E27FC236}">
                <a16:creationId xmlns:a16="http://schemas.microsoft.com/office/drawing/2014/main" id="{54C439B8-1871-8015-3F18-7193431A98F8}"/>
              </a:ext>
            </a:extLst>
          </p:cNvPr>
          <p:cNvSpPr/>
          <p:nvPr/>
        </p:nvSpPr>
        <p:spPr>
          <a:xfrm>
            <a:off x="6952342" y="1412879"/>
            <a:ext cx="4723719" cy="705368"/>
          </a:xfrm>
          <a:prstGeom prst="roundRect">
            <a:avLst>
              <a:gd name="adj" fmla="val 2498"/>
            </a:avLst>
          </a:prstGeom>
          <a:solidFill>
            <a:schemeClr val="bg1">
              <a:lumMod val="95000"/>
            </a:schemeClr>
          </a:solidFill>
          <a:ln w="22860">
            <a:noFill/>
            <a:prstDash val="solid"/>
          </a:ln>
        </p:spPr>
        <p:txBody>
          <a:bodyPr/>
          <a:lstStyle/>
          <a:p>
            <a:endParaRPr lang="en-IN" sz="1500">
              <a:latin typeface="Moderat" pitchFamily="2" charset="77"/>
            </a:endParaRPr>
          </a:p>
        </p:txBody>
      </p:sp>
      <p:sp>
        <p:nvSpPr>
          <p:cNvPr id="7" name="Text 7">
            <a:extLst>
              <a:ext uri="{FF2B5EF4-FFF2-40B4-BE49-F238E27FC236}">
                <a16:creationId xmlns:a16="http://schemas.microsoft.com/office/drawing/2014/main" id="{4ABABA1E-D1DE-F65E-8574-DFD3FED0CE83}"/>
              </a:ext>
            </a:extLst>
          </p:cNvPr>
          <p:cNvSpPr/>
          <p:nvPr/>
        </p:nvSpPr>
        <p:spPr>
          <a:xfrm>
            <a:off x="7145819" y="1455684"/>
            <a:ext cx="3693637" cy="228368"/>
          </a:xfrm>
          <a:prstGeom prst="rect">
            <a:avLst/>
          </a:prstGeom>
          <a:noFill/>
          <a:ln/>
        </p:spPr>
        <p:txBody>
          <a:bodyPr wrap="none" lIns="0" tIns="0" rIns="0" bIns="0" rtlCol="0" anchor="ctr"/>
          <a:lstStyle/>
          <a:p>
            <a:r>
              <a:rPr lang="en-US" sz="1400" b="1">
                <a:solidFill>
                  <a:schemeClr val="accent6"/>
                </a:solidFill>
                <a:latin typeface="Moderat" pitchFamily="2" charset="77"/>
                <a:ea typeface="Lato Bold" pitchFamily="34" charset="-122"/>
                <a:cs typeface="Lato Bold" pitchFamily="34" charset="-120"/>
              </a:rPr>
              <a:t>Operational Excellence</a:t>
            </a:r>
          </a:p>
        </p:txBody>
      </p:sp>
      <p:sp>
        <p:nvSpPr>
          <p:cNvPr id="24" name="Text 8">
            <a:extLst>
              <a:ext uri="{FF2B5EF4-FFF2-40B4-BE49-F238E27FC236}">
                <a16:creationId xmlns:a16="http://schemas.microsoft.com/office/drawing/2014/main" id="{9828301B-2C29-EACB-557B-2459963222BA}"/>
              </a:ext>
            </a:extLst>
          </p:cNvPr>
          <p:cNvSpPr/>
          <p:nvPr/>
        </p:nvSpPr>
        <p:spPr>
          <a:xfrm>
            <a:off x="7145818" y="1681445"/>
            <a:ext cx="4305499" cy="356800"/>
          </a:xfrm>
          <a:prstGeom prst="rect">
            <a:avLst/>
          </a:prstGeom>
          <a:noFill/>
          <a:ln/>
        </p:spPr>
        <p:txBody>
          <a:bodyPr wrap="square" lIns="0" tIns="0" rIns="0" bIns="0" rtlCol="0" anchor="t">
            <a:spAutoFit/>
          </a:bodyPr>
          <a:lstStyle/>
          <a:p>
            <a:pPr marL="171450" indent="-171450" defTabSz="571500">
              <a:buClr>
                <a:schemeClr val="accent5"/>
              </a:buClr>
              <a:buSzPct val="100000"/>
              <a:buFont typeface="Arial" panose="020B0604020202020204" pitchFamily="34" charset="0"/>
              <a:buChar char="•"/>
            </a:pPr>
            <a:r>
              <a:rPr lang="en-US" sz="1200">
                <a:solidFill>
                  <a:srgbClr val="4A4A45"/>
                </a:solidFill>
                <a:latin typeface="Moderat" pitchFamily="2" charset="77"/>
              </a:rPr>
              <a:t>Data-driven decision making</a:t>
            </a:r>
          </a:p>
          <a:p>
            <a:pPr marL="171450" indent="-171450" defTabSz="571500">
              <a:buClr>
                <a:schemeClr val="accent5"/>
              </a:buClr>
              <a:buSzPct val="100000"/>
              <a:buFont typeface="Arial" panose="020B0604020202020204" pitchFamily="34" charset="0"/>
              <a:buChar char="•"/>
            </a:pPr>
            <a:r>
              <a:rPr lang="en-US" sz="1200">
                <a:solidFill>
                  <a:srgbClr val="4A4A45"/>
                </a:solidFill>
                <a:latin typeface="Moderat" pitchFamily="2" charset="77"/>
              </a:rPr>
              <a:t>Risk visibility and mitigation</a:t>
            </a:r>
          </a:p>
        </p:txBody>
      </p:sp>
      <p:sp>
        <p:nvSpPr>
          <p:cNvPr id="27" name="Shape 4">
            <a:extLst>
              <a:ext uri="{FF2B5EF4-FFF2-40B4-BE49-F238E27FC236}">
                <a16:creationId xmlns:a16="http://schemas.microsoft.com/office/drawing/2014/main" id="{F7633BAD-D783-9E03-2AA2-217392C5946D}"/>
              </a:ext>
            </a:extLst>
          </p:cNvPr>
          <p:cNvSpPr/>
          <p:nvPr/>
        </p:nvSpPr>
        <p:spPr>
          <a:xfrm>
            <a:off x="6952342" y="2174308"/>
            <a:ext cx="4723719" cy="705368"/>
          </a:xfrm>
          <a:prstGeom prst="roundRect">
            <a:avLst>
              <a:gd name="adj" fmla="val 2498"/>
            </a:avLst>
          </a:prstGeom>
          <a:solidFill>
            <a:schemeClr val="bg1">
              <a:lumMod val="95000"/>
            </a:schemeClr>
          </a:solidFill>
          <a:ln w="22860">
            <a:noFill/>
            <a:prstDash val="solid"/>
          </a:ln>
        </p:spPr>
        <p:txBody>
          <a:bodyPr/>
          <a:lstStyle/>
          <a:p>
            <a:endParaRPr lang="en-IN" sz="1500">
              <a:latin typeface="Moderat" pitchFamily="2" charset="77"/>
            </a:endParaRPr>
          </a:p>
        </p:txBody>
      </p:sp>
      <p:sp>
        <p:nvSpPr>
          <p:cNvPr id="29" name="Text 7">
            <a:extLst>
              <a:ext uri="{FF2B5EF4-FFF2-40B4-BE49-F238E27FC236}">
                <a16:creationId xmlns:a16="http://schemas.microsoft.com/office/drawing/2014/main" id="{976A5256-D7A2-429F-3DEA-3D41568BFDEC}"/>
              </a:ext>
            </a:extLst>
          </p:cNvPr>
          <p:cNvSpPr/>
          <p:nvPr/>
        </p:nvSpPr>
        <p:spPr>
          <a:xfrm>
            <a:off x="7145819" y="2217113"/>
            <a:ext cx="3693637" cy="228368"/>
          </a:xfrm>
          <a:prstGeom prst="rect">
            <a:avLst/>
          </a:prstGeom>
          <a:noFill/>
          <a:ln/>
        </p:spPr>
        <p:txBody>
          <a:bodyPr wrap="none" lIns="0" tIns="0" rIns="0" bIns="0" rtlCol="0" anchor="ctr"/>
          <a:lstStyle/>
          <a:p>
            <a:r>
              <a:rPr lang="en-US" sz="1400" b="1">
                <a:solidFill>
                  <a:schemeClr val="accent6"/>
                </a:solidFill>
                <a:latin typeface="Moderat" pitchFamily="2" charset="77"/>
                <a:ea typeface="Lato Bold" pitchFamily="34" charset="-122"/>
                <a:cs typeface="Lato Bold" pitchFamily="34" charset="-120"/>
              </a:rPr>
              <a:t>Systems Thinking</a:t>
            </a:r>
          </a:p>
        </p:txBody>
      </p:sp>
      <p:sp>
        <p:nvSpPr>
          <p:cNvPr id="30" name="Text 8">
            <a:extLst>
              <a:ext uri="{FF2B5EF4-FFF2-40B4-BE49-F238E27FC236}">
                <a16:creationId xmlns:a16="http://schemas.microsoft.com/office/drawing/2014/main" id="{C5695068-DC36-B93A-7A5F-C6DDAAAD8904}"/>
              </a:ext>
            </a:extLst>
          </p:cNvPr>
          <p:cNvSpPr/>
          <p:nvPr/>
        </p:nvSpPr>
        <p:spPr>
          <a:xfrm>
            <a:off x="7145818" y="2442874"/>
            <a:ext cx="4305499" cy="356800"/>
          </a:xfrm>
          <a:prstGeom prst="rect">
            <a:avLst/>
          </a:prstGeom>
          <a:noFill/>
          <a:ln/>
        </p:spPr>
        <p:txBody>
          <a:bodyPr wrap="square" lIns="0" tIns="0" rIns="0" bIns="0" rtlCol="0" anchor="t">
            <a:spAutoFit/>
          </a:bodyPr>
          <a:lstStyle/>
          <a:p>
            <a:pPr marL="171450" indent="-171450" defTabSz="571500">
              <a:buClr>
                <a:schemeClr val="accent5"/>
              </a:buClr>
              <a:buSzPct val="100000"/>
              <a:buFont typeface="Arial" panose="020B0604020202020204" pitchFamily="34" charset="0"/>
              <a:buChar char="•"/>
            </a:pPr>
            <a:r>
              <a:rPr lang="en-US" sz="1200">
                <a:solidFill>
                  <a:srgbClr val="4A4A45"/>
                </a:solidFill>
                <a:latin typeface="Moderat" pitchFamily="2" charset="77"/>
              </a:rPr>
              <a:t>Building scalable systems</a:t>
            </a:r>
          </a:p>
          <a:p>
            <a:pPr marL="171450" indent="-171450" defTabSz="571500">
              <a:buClr>
                <a:schemeClr val="accent5"/>
              </a:buClr>
              <a:buSzPct val="100000"/>
              <a:buFont typeface="Arial" panose="020B0604020202020204" pitchFamily="34" charset="0"/>
              <a:buChar char="•"/>
            </a:pPr>
            <a:r>
              <a:rPr lang="en-US" sz="1200">
                <a:solidFill>
                  <a:srgbClr val="4A4A45"/>
                </a:solidFill>
                <a:latin typeface="Moderat" pitchFamily="2" charset="77"/>
              </a:rPr>
              <a:t>Redesigning approaches through experimentation</a:t>
            </a:r>
          </a:p>
        </p:txBody>
      </p:sp>
      <p:sp>
        <p:nvSpPr>
          <p:cNvPr id="32" name="Shape 4">
            <a:extLst>
              <a:ext uri="{FF2B5EF4-FFF2-40B4-BE49-F238E27FC236}">
                <a16:creationId xmlns:a16="http://schemas.microsoft.com/office/drawing/2014/main" id="{737BD4E5-C9EB-C6AF-1D09-48174F3196AC}"/>
              </a:ext>
            </a:extLst>
          </p:cNvPr>
          <p:cNvSpPr/>
          <p:nvPr/>
        </p:nvSpPr>
        <p:spPr>
          <a:xfrm>
            <a:off x="6952342" y="2935737"/>
            <a:ext cx="4723719" cy="705368"/>
          </a:xfrm>
          <a:prstGeom prst="roundRect">
            <a:avLst>
              <a:gd name="adj" fmla="val 2498"/>
            </a:avLst>
          </a:prstGeom>
          <a:solidFill>
            <a:schemeClr val="bg1">
              <a:lumMod val="95000"/>
            </a:schemeClr>
          </a:solidFill>
          <a:ln w="22860">
            <a:noFill/>
            <a:prstDash val="solid"/>
          </a:ln>
        </p:spPr>
        <p:txBody>
          <a:bodyPr/>
          <a:lstStyle/>
          <a:p>
            <a:endParaRPr lang="en-IN" sz="1500">
              <a:latin typeface="Moderat" pitchFamily="2" charset="77"/>
            </a:endParaRPr>
          </a:p>
        </p:txBody>
      </p:sp>
      <p:sp>
        <p:nvSpPr>
          <p:cNvPr id="34" name="Text 7">
            <a:extLst>
              <a:ext uri="{FF2B5EF4-FFF2-40B4-BE49-F238E27FC236}">
                <a16:creationId xmlns:a16="http://schemas.microsoft.com/office/drawing/2014/main" id="{6D58ED70-A93E-09AC-FF86-B70377FEE42D}"/>
              </a:ext>
            </a:extLst>
          </p:cNvPr>
          <p:cNvSpPr/>
          <p:nvPr/>
        </p:nvSpPr>
        <p:spPr>
          <a:xfrm>
            <a:off x="7145819" y="2978542"/>
            <a:ext cx="3693637" cy="228368"/>
          </a:xfrm>
          <a:prstGeom prst="rect">
            <a:avLst/>
          </a:prstGeom>
          <a:noFill/>
          <a:ln/>
        </p:spPr>
        <p:txBody>
          <a:bodyPr wrap="none" lIns="0" tIns="0" rIns="0" bIns="0" rtlCol="0" anchor="ctr"/>
          <a:lstStyle/>
          <a:p>
            <a:r>
              <a:rPr lang="en-US" sz="1400" b="1">
                <a:solidFill>
                  <a:schemeClr val="accent6"/>
                </a:solidFill>
                <a:latin typeface="Moderat" pitchFamily="2" charset="77"/>
                <a:ea typeface="Lato Bold" pitchFamily="34" charset="-122"/>
                <a:cs typeface="Lato Bold" pitchFamily="34" charset="-120"/>
              </a:rPr>
              <a:t>Strategic Thinking</a:t>
            </a:r>
          </a:p>
        </p:txBody>
      </p:sp>
      <p:sp>
        <p:nvSpPr>
          <p:cNvPr id="35" name="Text 8">
            <a:extLst>
              <a:ext uri="{FF2B5EF4-FFF2-40B4-BE49-F238E27FC236}">
                <a16:creationId xmlns:a16="http://schemas.microsoft.com/office/drawing/2014/main" id="{EBE1711E-2C8F-2DD4-A007-885803AC8911}"/>
              </a:ext>
            </a:extLst>
          </p:cNvPr>
          <p:cNvSpPr/>
          <p:nvPr/>
        </p:nvSpPr>
        <p:spPr>
          <a:xfrm>
            <a:off x="7145818" y="3204303"/>
            <a:ext cx="4305499" cy="356800"/>
          </a:xfrm>
          <a:prstGeom prst="rect">
            <a:avLst/>
          </a:prstGeom>
          <a:noFill/>
          <a:ln/>
        </p:spPr>
        <p:txBody>
          <a:bodyPr wrap="square" lIns="0" tIns="0" rIns="0" bIns="0" rtlCol="0" anchor="t">
            <a:spAutoFit/>
          </a:bodyPr>
          <a:lstStyle/>
          <a:p>
            <a:pPr marL="171450" indent="-171450" defTabSz="571500">
              <a:buClr>
                <a:schemeClr val="accent5"/>
              </a:buClr>
              <a:buSzPct val="100000"/>
              <a:buFont typeface="Arial" panose="020B0604020202020204" pitchFamily="34" charset="0"/>
              <a:buChar char="•"/>
            </a:pPr>
            <a:r>
              <a:rPr lang="en-US" sz="1200">
                <a:solidFill>
                  <a:srgbClr val="4A4A45"/>
                </a:solidFill>
                <a:latin typeface="Moderat" pitchFamily="2" charset="77"/>
              </a:rPr>
              <a:t>Prioritization</a:t>
            </a:r>
          </a:p>
          <a:p>
            <a:pPr marL="171450" indent="-171450" defTabSz="571500">
              <a:buClr>
                <a:schemeClr val="accent5"/>
              </a:buClr>
              <a:buSzPct val="100000"/>
              <a:buFont typeface="Arial" panose="020B0604020202020204" pitchFamily="34" charset="0"/>
              <a:buChar char="•"/>
            </a:pPr>
            <a:r>
              <a:rPr lang="en-US" sz="1200">
                <a:solidFill>
                  <a:srgbClr val="4A4A45"/>
                </a:solidFill>
                <a:latin typeface="Moderat" pitchFamily="2" charset="77"/>
              </a:rPr>
              <a:t>Linking work to enterprise goals</a:t>
            </a:r>
          </a:p>
        </p:txBody>
      </p:sp>
      <p:sp>
        <p:nvSpPr>
          <p:cNvPr id="37" name="Shape 4">
            <a:extLst>
              <a:ext uri="{FF2B5EF4-FFF2-40B4-BE49-F238E27FC236}">
                <a16:creationId xmlns:a16="http://schemas.microsoft.com/office/drawing/2014/main" id="{DD501C51-01CA-1C29-E17F-4BB582494DB8}"/>
              </a:ext>
            </a:extLst>
          </p:cNvPr>
          <p:cNvSpPr/>
          <p:nvPr/>
        </p:nvSpPr>
        <p:spPr>
          <a:xfrm>
            <a:off x="6952342" y="3697166"/>
            <a:ext cx="4723719" cy="705368"/>
          </a:xfrm>
          <a:prstGeom prst="roundRect">
            <a:avLst>
              <a:gd name="adj" fmla="val 2498"/>
            </a:avLst>
          </a:prstGeom>
          <a:solidFill>
            <a:schemeClr val="bg1">
              <a:lumMod val="95000"/>
            </a:schemeClr>
          </a:solidFill>
          <a:ln w="22860">
            <a:noFill/>
            <a:prstDash val="solid"/>
          </a:ln>
        </p:spPr>
        <p:txBody>
          <a:bodyPr/>
          <a:lstStyle/>
          <a:p>
            <a:endParaRPr lang="en-IN" sz="1500">
              <a:latin typeface="Moderat" pitchFamily="2" charset="77"/>
            </a:endParaRPr>
          </a:p>
        </p:txBody>
      </p:sp>
      <p:sp>
        <p:nvSpPr>
          <p:cNvPr id="39" name="Text 7">
            <a:extLst>
              <a:ext uri="{FF2B5EF4-FFF2-40B4-BE49-F238E27FC236}">
                <a16:creationId xmlns:a16="http://schemas.microsoft.com/office/drawing/2014/main" id="{25BBCFCA-8D22-661F-9641-CD7E9A51054A}"/>
              </a:ext>
            </a:extLst>
          </p:cNvPr>
          <p:cNvSpPr/>
          <p:nvPr/>
        </p:nvSpPr>
        <p:spPr>
          <a:xfrm>
            <a:off x="7145819" y="3739971"/>
            <a:ext cx="3693637" cy="228368"/>
          </a:xfrm>
          <a:prstGeom prst="rect">
            <a:avLst/>
          </a:prstGeom>
          <a:noFill/>
          <a:ln/>
        </p:spPr>
        <p:txBody>
          <a:bodyPr wrap="none" lIns="0" tIns="0" rIns="0" bIns="0" rtlCol="0" anchor="ctr"/>
          <a:lstStyle/>
          <a:p>
            <a:r>
              <a:rPr lang="en-US" sz="1400" b="1">
                <a:solidFill>
                  <a:schemeClr val="accent6"/>
                </a:solidFill>
                <a:latin typeface="Moderat" pitchFamily="2" charset="77"/>
                <a:ea typeface="Lato Bold" pitchFamily="34" charset="-122"/>
                <a:cs typeface="Lato Bold" pitchFamily="34" charset="-120"/>
              </a:rPr>
              <a:t>Stakeholder Influence</a:t>
            </a:r>
          </a:p>
        </p:txBody>
      </p:sp>
      <p:sp>
        <p:nvSpPr>
          <p:cNvPr id="40" name="Text 8">
            <a:extLst>
              <a:ext uri="{FF2B5EF4-FFF2-40B4-BE49-F238E27FC236}">
                <a16:creationId xmlns:a16="http://schemas.microsoft.com/office/drawing/2014/main" id="{02AECCDA-B4DF-E4F8-30AE-D0BC7E403A37}"/>
              </a:ext>
            </a:extLst>
          </p:cNvPr>
          <p:cNvSpPr/>
          <p:nvPr/>
        </p:nvSpPr>
        <p:spPr>
          <a:xfrm>
            <a:off x="7145818" y="3965732"/>
            <a:ext cx="4305499" cy="356800"/>
          </a:xfrm>
          <a:prstGeom prst="rect">
            <a:avLst/>
          </a:prstGeom>
          <a:noFill/>
          <a:ln/>
        </p:spPr>
        <p:txBody>
          <a:bodyPr wrap="square" lIns="0" tIns="0" rIns="0" bIns="0" rtlCol="0" anchor="t">
            <a:spAutoFit/>
          </a:bodyPr>
          <a:lstStyle/>
          <a:p>
            <a:pPr marL="171450" indent="-171450" defTabSz="571500">
              <a:buClr>
                <a:schemeClr val="accent5"/>
              </a:buClr>
              <a:buSzPct val="100000"/>
              <a:buFont typeface="Arial" panose="020B0604020202020204" pitchFamily="34" charset="0"/>
              <a:buChar char="•"/>
            </a:pPr>
            <a:r>
              <a:rPr lang="en-US" sz="1200">
                <a:solidFill>
                  <a:srgbClr val="4A4A45"/>
                </a:solidFill>
                <a:latin typeface="Moderat" pitchFamily="2" charset="77"/>
              </a:rPr>
              <a:t>Executive communication</a:t>
            </a:r>
          </a:p>
          <a:p>
            <a:pPr marL="171450" indent="-171450" defTabSz="571500">
              <a:buClr>
                <a:schemeClr val="accent5"/>
              </a:buClr>
              <a:buSzPct val="100000"/>
              <a:buFont typeface="Arial" panose="020B0604020202020204" pitchFamily="34" charset="0"/>
              <a:buChar char="•"/>
            </a:pPr>
            <a:r>
              <a:rPr lang="en-US" sz="1200">
                <a:solidFill>
                  <a:srgbClr val="4A4A45"/>
                </a:solidFill>
                <a:latin typeface="Moderat" pitchFamily="2" charset="77"/>
              </a:rPr>
              <a:t>Global alignment</a:t>
            </a:r>
          </a:p>
        </p:txBody>
      </p:sp>
      <p:sp>
        <p:nvSpPr>
          <p:cNvPr id="42" name="Shape 4">
            <a:extLst>
              <a:ext uri="{FF2B5EF4-FFF2-40B4-BE49-F238E27FC236}">
                <a16:creationId xmlns:a16="http://schemas.microsoft.com/office/drawing/2014/main" id="{BBF3E0CF-1FF8-0315-CCB0-579C1533FD97}"/>
              </a:ext>
            </a:extLst>
          </p:cNvPr>
          <p:cNvSpPr/>
          <p:nvPr/>
        </p:nvSpPr>
        <p:spPr>
          <a:xfrm>
            <a:off x="6952342" y="4458595"/>
            <a:ext cx="4723719" cy="705368"/>
          </a:xfrm>
          <a:prstGeom prst="roundRect">
            <a:avLst>
              <a:gd name="adj" fmla="val 2498"/>
            </a:avLst>
          </a:prstGeom>
          <a:solidFill>
            <a:schemeClr val="bg1">
              <a:lumMod val="95000"/>
            </a:schemeClr>
          </a:solidFill>
          <a:ln w="22860">
            <a:noFill/>
            <a:prstDash val="solid"/>
          </a:ln>
        </p:spPr>
        <p:txBody>
          <a:bodyPr/>
          <a:lstStyle/>
          <a:p>
            <a:endParaRPr lang="en-IN" sz="1500">
              <a:latin typeface="Moderat" pitchFamily="2" charset="77"/>
            </a:endParaRPr>
          </a:p>
        </p:txBody>
      </p:sp>
      <p:sp>
        <p:nvSpPr>
          <p:cNvPr id="44" name="Text 7">
            <a:extLst>
              <a:ext uri="{FF2B5EF4-FFF2-40B4-BE49-F238E27FC236}">
                <a16:creationId xmlns:a16="http://schemas.microsoft.com/office/drawing/2014/main" id="{B8A5AF28-268E-8BB5-2D9A-0161AC044DF8}"/>
              </a:ext>
            </a:extLst>
          </p:cNvPr>
          <p:cNvSpPr/>
          <p:nvPr/>
        </p:nvSpPr>
        <p:spPr>
          <a:xfrm>
            <a:off x="7145819" y="4501400"/>
            <a:ext cx="3693637" cy="228368"/>
          </a:xfrm>
          <a:prstGeom prst="rect">
            <a:avLst/>
          </a:prstGeom>
          <a:noFill/>
          <a:ln/>
        </p:spPr>
        <p:txBody>
          <a:bodyPr wrap="none" lIns="0" tIns="0" rIns="0" bIns="0" rtlCol="0" anchor="ctr"/>
          <a:lstStyle/>
          <a:p>
            <a:r>
              <a:rPr lang="en-US" sz="1400" b="1">
                <a:solidFill>
                  <a:schemeClr val="accent6"/>
                </a:solidFill>
                <a:latin typeface="Moderat" pitchFamily="2" charset="77"/>
                <a:ea typeface="Lato Bold" pitchFamily="34" charset="-122"/>
                <a:cs typeface="Lato Bold" pitchFamily="34" charset="-120"/>
              </a:rPr>
              <a:t>Team Development</a:t>
            </a:r>
          </a:p>
        </p:txBody>
      </p:sp>
      <p:sp>
        <p:nvSpPr>
          <p:cNvPr id="45" name="Text 8">
            <a:extLst>
              <a:ext uri="{FF2B5EF4-FFF2-40B4-BE49-F238E27FC236}">
                <a16:creationId xmlns:a16="http://schemas.microsoft.com/office/drawing/2014/main" id="{BB3C569D-3DA4-EF6B-C145-0F16C6A8DAAD}"/>
              </a:ext>
            </a:extLst>
          </p:cNvPr>
          <p:cNvSpPr/>
          <p:nvPr/>
        </p:nvSpPr>
        <p:spPr>
          <a:xfrm>
            <a:off x="7145818" y="4727161"/>
            <a:ext cx="4305499" cy="356800"/>
          </a:xfrm>
          <a:prstGeom prst="rect">
            <a:avLst/>
          </a:prstGeom>
          <a:noFill/>
          <a:ln/>
        </p:spPr>
        <p:txBody>
          <a:bodyPr wrap="square" lIns="0" tIns="0" rIns="0" bIns="0" rtlCol="0" anchor="t">
            <a:spAutoFit/>
          </a:bodyPr>
          <a:lstStyle/>
          <a:p>
            <a:pPr marL="171450" indent="-171450" defTabSz="571500">
              <a:buClr>
                <a:schemeClr val="accent5"/>
              </a:buClr>
              <a:buSzPct val="100000"/>
              <a:buFont typeface="Arial" panose="020B0604020202020204" pitchFamily="34" charset="0"/>
              <a:buChar char="•"/>
            </a:pPr>
            <a:r>
              <a:rPr lang="en-US" sz="1200">
                <a:solidFill>
                  <a:srgbClr val="4A4A45"/>
                </a:solidFill>
                <a:latin typeface="Moderat" pitchFamily="2" charset="77"/>
              </a:rPr>
              <a:t>Building capability pipelines / succession planning</a:t>
            </a:r>
          </a:p>
          <a:p>
            <a:pPr marL="171450" indent="-171450" defTabSz="571500">
              <a:buClr>
                <a:schemeClr val="accent5"/>
              </a:buClr>
              <a:buSzPct val="100000"/>
              <a:buFont typeface="Arial" panose="020B0604020202020204" pitchFamily="34" charset="0"/>
              <a:buChar char="•"/>
            </a:pPr>
            <a:r>
              <a:rPr lang="en-US" sz="1200">
                <a:solidFill>
                  <a:srgbClr val="4A4A45"/>
                </a:solidFill>
                <a:latin typeface="Moderat" pitchFamily="2" charset="77"/>
              </a:rPr>
              <a:t>Accountability Frameworks</a:t>
            </a:r>
          </a:p>
        </p:txBody>
      </p:sp>
      <p:sp>
        <p:nvSpPr>
          <p:cNvPr id="47" name="Shape 4">
            <a:extLst>
              <a:ext uri="{FF2B5EF4-FFF2-40B4-BE49-F238E27FC236}">
                <a16:creationId xmlns:a16="http://schemas.microsoft.com/office/drawing/2014/main" id="{1E647026-A1DE-D69C-5A30-18836569D88C}"/>
              </a:ext>
            </a:extLst>
          </p:cNvPr>
          <p:cNvSpPr/>
          <p:nvPr/>
        </p:nvSpPr>
        <p:spPr>
          <a:xfrm>
            <a:off x="6952342" y="5220022"/>
            <a:ext cx="4723719" cy="705368"/>
          </a:xfrm>
          <a:prstGeom prst="roundRect">
            <a:avLst>
              <a:gd name="adj" fmla="val 2498"/>
            </a:avLst>
          </a:prstGeom>
          <a:solidFill>
            <a:schemeClr val="bg1">
              <a:lumMod val="95000"/>
            </a:schemeClr>
          </a:solidFill>
          <a:ln w="22860">
            <a:noFill/>
            <a:prstDash val="solid"/>
          </a:ln>
        </p:spPr>
        <p:txBody>
          <a:bodyPr/>
          <a:lstStyle/>
          <a:p>
            <a:endParaRPr lang="en-IN" sz="1500">
              <a:latin typeface="Moderat" pitchFamily="2" charset="77"/>
            </a:endParaRPr>
          </a:p>
        </p:txBody>
      </p:sp>
      <p:sp>
        <p:nvSpPr>
          <p:cNvPr id="49" name="Text 7">
            <a:extLst>
              <a:ext uri="{FF2B5EF4-FFF2-40B4-BE49-F238E27FC236}">
                <a16:creationId xmlns:a16="http://schemas.microsoft.com/office/drawing/2014/main" id="{ABE3C02F-A471-73A4-4CF6-F4DC2B7938C2}"/>
              </a:ext>
            </a:extLst>
          </p:cNvPr>
          <p:cNvSpPr/>
          <p:nvPr/>
        </p:nvSpPr>
        <p:spPr>
          <a:xfrm>
            <a:off x="7145819" y="5262827"/>
            <a:ext cx="3693637" cy="228368"/>
          </a:xfrm>
          <a:prstGeom prst="rect">
            <a:avLst/>
          </a:prstGeom>
          <a:noFill/>
          <a:ln/>
        </p:spPr>
        <p:txBody>
          <a:bodyPr wrap="none" lIns="0" tIns="0" rIns="0" bIns="0" rtlCol="0" anchor="ctr"/>
          <a:lstStyle/>
          <a:p>
            <a:r>
              <a:rPr lang="en-US" sz="1400" b="1">
                <a:solidFill>
                  <a:schemeClr val="accent6"/>
                </a:solidFill>
                <a:latin typeface="Moderat" pitchFamily="2" charset="77"/>
                <a:ea typeface="Lato Bold" pitchFamily="34" charset="-122"/>
                <a:cs typeface="Lato Bold" pitchFamily="34" charset="-120"/>
              </a:rPr>
              <a:t>Cross-functional Impact</a:t>
            </a:r>
          </a:p>
        </p:txBody>
      </p:sp>
      <p:sp>
        <p:nvSpPr>
          <p:cNvPr id="50" name="Text 8">
            <a:extLst>
              <a:ext uri="{FF2B5EF4-FFF2-40B4-BE49-F238E27FC236}">
                <a16:creationId xmlns:a16="http://schemas.microsoft.com/office/drawing/2014/main" id="{A3705576-D5CE-A779-40CC-304F9306CB45}"/>
              </a:ext>
            </a:extLst>
          </p:cNvPr>
          <p:cNvSpPr/>
          <p:nvPr/>
        </p:nvSpPr>
        <p:spPr>
          <a:xfrm>
            <a:off x="7145818" y="5488588"/>
            <a:ext cx="4305499" cy="356800"/>
          </a:xfrm>
          <a:prstGeom prst="rect">
            <a:avLst/>
          </a:prstGeom>
          <a:noFill/>
          <a:ln/>
        </p:spPr>
        <p:txBody>
          <a:bodyPr wrap="square" lIns="0" tIns="0" rIns="0" bIns="0" rtlCol="0" anchor="t">
            <a:spAutoFit/>
          </a:bodyPr>
          <a:lstStyle/>
          <a:p>
            <a:pPr marL="171450" indent="-171450" defTabSz="571500">
              <a:buClr>
                <a:schemeClr val="accent5"/>
              </a:buClr>
              <a:buSzPct val="100000"/>
              <a:buFont typeface="Arial" panose="020B0604020202020204" pitchFamily="34" charset="0"/>
              <a:buChar char="•"/>
            </a:pPr>
            <a:r>
              <a:rPr lang="en-US" sz="1200">
                <a:solidFill>
                  <a:srgbClr val="4A4A45"/>
                </a:solidFill>
                <a:latin typeface="Moderat" pitchFamily="2" charset="77"/>
              </a:rPr>
              <a:t>Managing dependencies</a:t>
            </a:r>
          </a:p>
          <a:p>
            <a:pPr marL="171450" indent="-171450" defTabSz="571500">
              <a:buClr>
                <a:schemeClr val="accent5"/>
              </a:buClr>
              <a:buSzPct val="100000"/>
              <a:buFont typeface="Arial" panose="020B0604020202020204" pitchFamily="34" charset="0"/>
              <a:buChar char="•"/>
            </a:pPr>
            <a:r>
              <a:rPr lang="en-US" sz="1200">
                <a:solidFill>
                  <a:srgbClr val="4A4A45"/>
                </a:solidFill>
                <a:latin typeface="Moderat" pitchFamily="2" charset="77"/>
              </a:rPr>
              <a:t>Building collaborative partnerships</a:t>
            </a:r>
          </a:p>
        </p:txBody>
      </p:sp>
      <p:grpSp>
        <p:nvGrpSpPr>
          <p:cNvPr id="72" name="Group 71">
            <a:extLst>
              <a:ext uri="{FF2B5EF4-FFF2-40B4-BE49-F238E27FC236}">
                <a16:creationId xmlns:a16="http://schemas.microsoft.com/office/drawing/2014/main" id="{D3F1956E-82A2-62D4-673A-2B0CC0DD72AA}"/>
              </a:ext>
            </a:extLst>
          </p:cNvPr>
          <p:cNvGrpSpPr/>
          <p:nvPr/>
        </p:nvGrpSpPr>
        <p:grpSpPr>
          <a:xfrm>
            <a:off x="6234917" y="1412882"/>
            <a:ext cx="717426" cy="764395"/>
            <a:chOff x="6234917" y="1412882"/>
            <a:chExt cx="717426" cy="764395"/>
          </a:xfrm>
        </p:grpSpPr>
        <p:sp>
          <p:nvSpPr>
            <p:cNvPr id="5" name="Shape 5">
              <a:extLst>
                <a:ext uri="{FF2B5EF4-FFF2-40B4-BE49-F238E27FC236}">
                  <a16:creationId xmlns:a16="http://schemas.microsoft.com/office/drawing/2014/main" id="{7CEA9ED5-F93D-AEB7-738C-4EDD93FC4A02}"/>
                </a:ext>
              </a:extLst>
            </p:cNvPr>
            <p:cNvSpPr/>
            <p:nvPr/>
          </p:nvSpPr>
          <p:spPr>
            <a:xfrm rot="5400000">
              <a:off x="6211432" y="1436367"/>
              <a:ext cx="764395" cy="717426"/>
            </a:xfrm>
            <a:prstGeom prst="chevron">
              <a:avLst>
                <a:gd name="adj" fmla="val 9474"/>
              </a:avLst>
            </a:prstGeom>
            <a:solidFill>
              <a:schemeClr val="accent1"/>
            </a:solidFill>
            <a:ln/>
          </p:spPr>
          <p:txBody>
            <a:bodyPr vert="vert270" anchor="ctr"/>
            <a:lstStyle/>
            <a:p>
              <a:pPr algn="ctr"/>
              <a:endParaRPr lang="en-IN" sz="1500">
                <a:solidFill>
                  <a:schemeClr val="bg1"/>
                </a:solidFill>
                <a:latin typeface="Moderat" pitchFamily="2" charset="77"/>
              </a:endParaRPr>
            </a:p>
          </p:txBody>
        </p:sp>
        <p:sp>
          <p:nvSpPr>
            <p:cNvPr id="53" name="Pic">
              <a:extLst>
                <a:ext uri="{FF2B5EF4-FFF2-40B4-BE49-F238E27FC236}">
                  <a16:creationId xmlns:a16="http://schemas.microsoft.com/office/drawing/2014/main" id="{33EA51ED-1BB2-0B73-E731-9C781C18B38E}"/>
                </a:ext>
              </a:extLst>
            </p:cNvPr>
            <p:cNvSpPr>
              <a:spLocks noChangeAspect="1"/>
            </p:cNvSpPr>
            <p:nvPr/>
          </p:nvSpPr>
          <p:spPr>
            <a:xfrm>
              <a:off x="6408277" y="1564378"/>
              <a:ext cx="370705" cy="524904"/>
            </a:xfrm>
            <a:custGeom>
              <a:avLst/>
              <a:gdLst>
                <a:gd name="csX0" fmla="*/ 516268 w 542749"/>
                <a:gd name="csY0" fmla="*/ 439174 h 768511"/>
                <a:gd name="csX1" fmla="*/ 506227 w 542749"/>
                <a:gd name="csY1" fmla="*/ 439174 h 768511"/>
                <a:gd name="csX2" fmla="*/ 469904 w 542749"/>
                <a:gd name="csY2" fmla="*/ 414904 h 768511"/>
                <a:gd name="csX3" fmla="*/ 478427 w 542749"/>
                <a:gd name="csY3" fmla="*/ 372056 h 768511"/>
                <a:gd name="csX4" fmla="*/ 485526 w 542749"/>
                <a:gd name="csY4" fmla="*/ 364955 h 768511"/>
                <a:gd name="csX5" fmla="*/ 493268 w 542749"/>
                <a:gd name="csY5" fmla="*/ 346225 h 768511"/>
                <a:gd name="csX6" fmla="*/ 485527 w 542749"/>
                <a:gd name="csY6" fmla="*/ 327496 h 768511"/>
                <a:gd name="csX7" fmla="*/ 464054 w 542749"/>
                <a:gd name="csY7" fmla="*/ 306023 h 768511"/>
                <a:gd name="csX8" fmla="*/ 464054 w 542749"/>
                <a:gd name="csY8" fmla="*/ 216261 h 768511"/>
                <a:gd name="csX9" fmla="*/ 472523 w 542749"/>
                <a:gd name="csY9" fmla="*/ 216261 h 768511"/>
                <a:gd name="csX10" fmla="*/ 489823 w 542749"/>
                <a:gd name="csY10" fmla="*/ 205447 h 768511"/>
                <a:gd name="csX11" fmla="*/ 487655 w 542749"/>
                <a:gd name="csY11" fmla="*/ 185160 h 768511"/>
                <a:gd name="csX12" fmla="*/ 439374 w 542749"/>
                <a:gd name="csY12" fmla="*/ 123601 h 768511"/>
                <a:gd name="csX13" fmla="*/ 418001 w 542749"/>
                <a:gd name="csY13" fmla="*/ 113205 h 768511"/>
                <a:gd name="csX14" fmla="*/ 396627 w 542749"/>
                <a:gd name="csY14" fmla="*/ 123601 h 768511"/>
                <a:gd name="csX15" fmla="*/ 348347 w 542749"/>
                <a:gd name="csY15" fmla="*/ 185160 h 768511"/>
                <a:gd name="csX16" fmla="*/ 346178 w 542749"/>
                <a:gd name="csY16" fmla="*/ 205447 h 768511"/>
                <a:gd name="csX17" fmla="*/ 363479 w 542749"/>
                <a:gd name="csY17" fmla="*/ 216261 h 768511"/>
                <a:gd name="csX18" fmla="*/ 371947 w 542749"/>
                <a:gd name="csY18" fmla="*/ 216261 h 768511"/>
                <a:gd name="csX19" fmla="*/ 371947 w 542749"/>
                <a:gd name="csY19" fmla="*/ 301651 h 768511"/>
                <a:gd name="csX20" fmla="*/ 353610 w 542749"/>
                <a:gd name="csY20" fmla="*/ 298613 h 768511"/>
                <a:gd name="csX21" fmla="*/ 329339 w 542749"/>
                <a:gd name="csY21" fmla="*/ 262288 h 768511"/>
                <a:gd name="csX22" fmla="*/ 329339 w 542749"/>
                <a:gd name="csY22" fmla="*/ 252246 h 768511"/>
                <a:gd name="csX23" fmla="*/ 317433 w 542749"/>
                <a:gd name="csY23" fmla="*/ 230157 h 768511"/>
                <a:gd name="csX24" fmla="*/ 317433 w 542749"/>
                <a:gd name="csY24" fmla="*/ 103056 h 768511"/>
                <a:gd name="csX25" fmla="*/ 325900 w 542749"/>
                <a:gd name="csY25" fmla="*/ 103056 h 768511"/>
                <a:gd name="csX26" fmla="*/ 343201 w 542749"/>
                <a:gd name="csY26" fmla="*/ 92242 h 768511"/>
                <a:gd name="csX27" fmla="*/ 341032 w 542749"/>
                <a:gd name="csY27" fmla="*/ 71955 h 768511"/>
                <a:gd name="csX28" fmla="*/ 292752 w 542749"/>
                <a:gd name="csY28" fmla="*/ 10396 h 768511"/>
                <a:gd name="csX29" fmla="*/ 271379 w 542749"/>
                <a:gd name="csY29" fmla="*/ 0 h 768511"/>
                <a:gd name="csX30" fmla="*/ 250006 w 542749"/>
                <a:gd name="csY30" fmla="*/ 10396 h 768511"/>
                <a:gd name="csX31" fmla="*/ 201724 w 542749"/>
                <a:gd name="csY31" fmla="*/ 71955 h 768511"/>
                <a:gd name="csX32" fmla="*/ 199555 w 542749"/>
                <a:gd name="csY32" fmla="*/ 92242 h 768511"/>
                <a:gd name="csX33" fmla="*/ 216856 w 542749"/>
                <a:gd name="csY33" fmla="*/ 103056 h 768511"/>
                <a:gd name="csX34" fmla="*/ 225324 w 542749"/>
                <a:gd name="csY34" fmla="*/ 103056 h 768511"/>
                <a:gd name="csX35" fmla="*/ 225324 w 542749"/>
                <a:gd name="csY35" fmla="*/ 230156 h 768511"/>
                <a:gd name="csX36" fmla="*/ 213419 w 542749"/>
                <a:gd name="csY36" fmla="*/ 252245 h 768511"/>
                <a:gd name="csX37" fmla="*/ 213419 w 542749"/>
                <a:gd name="csY37" fmla="*/ 262287 h 768511"/>
                <a:gd name="csX38" fmla="*/ 189149 w 542749"/>
                <a:gd name="csY38" fmla="*/ 298610 h 768511"/>
                <a:gd name="csX39" fmla="*/ 170810 w 542749"/>
                <a:gd name="csY39" fmla="*/ 301651 h 768511"/>
                <a:gd name="csX40" fmla="*/ 170810 w 542749"/>
                <a:gd name="csY40" fmla="*/ 216261 h 768511"/>
                <a:gd name="csX41" fmla="*/ 179279 w 542749"/>
                <a:gd name="csY41" fmla="*/ 216261 h 768511"/>
                <a:gd name="csX42" fmla="*/ 196578 w 542749"/>
                <a:gd name="csY42" fmla="*/ 205449 h 768511"/>
                <a:gd name="csX43" fmla="*/ 194411 w 542749"/>
                <a:gd name="csY43" fmla="*/ 185158 h 768511"/>
                <a:gd name="csX44" fmla="*/ 146130 w 542749"/>
                <a:gd name="csY44" fmla="*/ 123601 h 768511"/>
                <a:gd name="csX45" fmla="*/ 124757 w 542749"/>
                <a:gd name="csY45" fmla="*/ 113205 h 768511"/>
                <a:gd name="csX46" fmla="*/ 103383 w 542749"/>
                <a:gd name="csY46" fmla="*/ 123601 h 768511"/>
                <a:gd name="csX47" fmla="*/ 55101 w 542749"/>
                <a:gd name="csY47" fmla="*/ 185160 h 768511"/>
                <a:gd name="csX48" fmla="*/ 52934 w 542749"/>
                <a:gd name="csY48" fmla="*/ 205449 h 768511"/>
                <a:gd name="csX49" fmla="*/ 70233 w 542749"/>
                <a:gd name="csY49" fmla="*/ 216261 h 768511"/>
                <a:gd name="csX50" fmla="*/ 78700 w 542749"/>
                <a:gd name="csY50" fmla="*/ 216261 h 768511"/>
                <a:gd name="csX51" fmla="*/ 78700 w 542749"/>
                <a:gd name="csY51" fmla="*/ 306024 h 768511"/>
                <a:gd name="csX52" fmla="*/ 57228 w 542749"/>
                <a:gd name="csY52" fmla="*/ 327497 h 768511"/>
                <a:gd name="csX53" fmla="*/ 49489 w 542749"/>
                <a:gd name="csY53" fmla="*/ 346226 h 768511"/>
                <a:gd name="csX54" fmla="*/ 57230 w 542749"/>
                <a:gd name="csY54" fmla="*/ 364957 h 768511"/>
                <a:gd name="csX55" fmla="*/ 64330 w 542749"/>
                <a:gd name="csY55" fmla="*/ 372056 h 768511"/>
                <a:gd name="csX56" fmla="*/ 72853 w 542749"/>
                <a:gd name="csY56" fmla="*/ 414906 h 768511"/>
                <a:gd name="csX57" fmla="*/ 36530 w 542749"/>
                <a:gd name="csY57" fmla="*/ 439176 h 768511"/>
                <a:gd name="csX58" fmla="*/ 26488 w 542749"/>
                <a:gd name="csY58" fmla="*/ 439176 h 768511"/>
                <a:gd name="csX59" fmla="*/ 0 w 542749"/>
                <a:gd name="csY59" fmla="*/ 465662 h 768511"/>
                <a:gd name="csX60" fmla="*/ 0 w 542749"/>
                <a:gd name="csY60" fmla="*/ 528608 h 768511"/>
                <a:gd name="csX61" fmla="*/ 26488 w 542749"/>
                <a:gd name="csY61" fmla="*/ 555094 h 768511"/>
                <a:gd name="csX62" fmla="*/ 36530 w 542749"/>
                <a:gd name="csY62" fmla="*/ 555094 h 768511"/>
                <a:gd name="csX63" fmla="*/ 72855 w 542749"/>
                <a:gd name="csY63" fmla="*/ 579366 h 768511"/>
                <a:gd name="csX64" fmla="*/ 64330 w 542749"/>
                <a:gd name="csY64" fmla="*/ 622214 h 768511"/>
                <a:gd name="csX65" fmla="*/ 57231 w 542749"/>
                <a:gd name="csY65" fmla="*/ 629314 h 768511"/>
                <a:gd name="csX66" fmla="*/ 49489 w 542749"/>
                <a:gd name="csY66" fmla="*/ 648043 h 768511"/>
                <a:gd name="csX67" fmla="*/ 57228 w 542749"/>
                <a:gd name="csY67" fmla="*/ 666774 h 768511"/>
                <a:gd name="csX68" fmla="*/ 101739 w 542749"/>
                <a:gd name="csY68" fmla="*/ 711283 h 768511"/>
                <a:gd name="csX69" fmla="*/ 139197 w 542749"/>
                <a:gd name="csY69" fmla="*/ 711283 h 768511"/>
                <a:gd name="csX70" fmla="*/ 146297 w 542749"/>
                <a:gd name="csY70" fmla="*/ 704182 h 768511"/>
                <a:gd name="csX71" fmla="*/ 189146 w 542749"/>
                <a:gd name="csY71" fmla="*/ 695658 h 768511"/>
                <a:gd name="csX72" fmla="*/ 213416 w 542749"/>
                <a:gd name="csY72" fmla="*/ 731983 h 768511"/>
                <a:gd name="csX73" fmla="*/ 213416 w 542749"/>
                <a:gd name="csY73" fmla="*/ 742025 h 768511"/>
                <a:gd name="csX74" fmla="*/ 239902 w 542749"/>
                <a:gd name="csY74" fmla="*/ 768511 h 768511"/>
                <a:gd name="csX75" fmla="*/ 302848 w 542749"/>
                <a:gd name="csY75" fmla="*/ 768511 h 768511"/>
                <a:gd name="csX76" fmla="*/ 329334 w 542749"/>
                <a:gd name="csY76" fmla="*/ 742025 h 768511"/>
                <a:gd name="csX77" fmla="*/ 329334 w 542749"/>
                <a:gd name="csY77" fmla="*/ 731983 h 768511"/>
                <a:gd name="csX78" fmla="*/ 353606 w 542749"/>
                <a:gd name="csY78" fmla="*/ 695658 h 768511"/>
                <a:gd name="csX79" fmla="*/ 396452 w 542749"/>
                <a:gd name="csY79" fmla="*/ 704182 h 768511"/>
                <a:gd name="csX80" fmla="*/ 403554 w 542749"/>
                <a:gd name="csY80" fmla="*/ 711283 h 768511"/>
                <a:gd name="csX81" fmla="*/ 441012 w 542749"/>
                <a:gd name="csY81" fmla="*/ 711283 h 768511"/>
                <a:gd name="csX82" fmla="*/ 485521 w 542749"/>
                <a:gd name="csY82" fmla="*/ 666774 h 768511"/>
                <a:gd name="csX83" fmla="*/ 485521 w 542749"/>
                <a:gd name="csY83" fmla="*/ 629314 h 768511"/>
                <a:gd name="csX84" fmla="*/ 478419 w 542749"/>
                <a:gd name="csY84" fmla="*/ 622214 h 768511"/>
                <a:gd name="csX85" fmla="*/ 469896 w 542749"/>
                <a:gd name="csY85" fmla="*/ 579367 h 768511"/>
                <a:gd name="csX86" fmla="*/ 506221 w 542749"/>
                <a:gd name="csY86" fmla="*/ 555096 h 768511"/>
                <a:gd name="csX87" fmla="*/ 516262 w 542749"/>
                <a:gd name="csY87" fmla="*/ 555096 h 768511"/>
                <a:gd name="csX88" fmla="*/ 542750 w 542749"/>
                <a:gd name="csY88" fmla="*/ 528609 h 768511"/>
                <a:gd name="csX89" fmla="*/ 542750 w 542749"/>
                <a:gd name="csY89" fmla="*/ 465664 h 768511"/>
                <a:gd name="csX90" fmla="*/ 516268 w 542749"/>
                <a:gd name="csY90" fmla="*/ 439174 h 768511"/>
                <a:gd name="csX91" fmla="*/ 383251 w 542749"/>
                <a:gd name="csY91" fmla="*/ 193659 h 768511"/>
                <a:gd name="csX92" fmla="*/ 370410 w 542749"/>
                <a:gd name="csY92" fmla="*/ 193659 h 768511"/>
                <a:gd name="csX93" fmla="*/ 414414 w 542749"/>
                <a:gd name="csY93" fmla="*/ 137554 h 768511"/>
                <a:gd name="csX94" fmla="*/ 418002 w 542749"/>
                <a:gd name="csY94" fmla="*/ 135811 h 768511"/>
                <a:gd name="csX95" fmla="*/ 421590 w 542749"/>
                <a:gd name="csY95" fmla="*/ 137554 h 768511"/>
                <a:gd name="csX96" fmla="*/ 465593 w 542749"/>
                <a:gd name="csY96" fmla="*/ 193659 h 768511"/>
                <a:gd name="csX97" fmla="*/ 452753 w 542749"/>
                <a:gd name="csY97" fmla="*/ 193659 h 768511"/>
                <a:gd name="csX98" fmla="*/ 441451 w 542749"/>
                <a:gd name="csY98" fmla="*/ 204960 h 768511"/>
                <a:gd name="csX99" fmla="*/ 441451 w 542749"/>
                <a:gd name="csY99" fmla="*/ 283419 h 768511"/>
                <a:gd name="csX100" fmla="*/ 441018 w 542749"/>
                <a:gd name="csY100" fmla="*/ 282987 h 768511"/>
                <a:gd name="csX101" fmla="*/ 403559 w 542749"/>
                <a:gd name="csY101" fmla="*/ 282988 h 768511"/>
                <a:gd name="csX102" fmla="*/ 396458 w 542749"/>
                <a:gd name="csY102" fmla="*/ 290089 h 768511"/>
                <a:gd name="csX103" fmla="*/ 394552 w 542749"/>
                <a:gd name="csY103" fmla="*/ 291867 h 768511"/>
                <a:gd name="csX104" fmla="*/ 394552 w 542749"/>
                <a:gd name="csY104" fmla="*/ 204959 h 768511"/>
                <a:gd name="csX105" fmla="*/ 383251 w 542749"/>
                <a:gd name="csY105" fmla="*/ 193659 h 768511"/>
                <a:gd name="csX106" fmla="*/ 223787 w 542749"/>
                <a:gd name="csY106" fmla="*/ 80453 h 768511"/>
                <a:gd name="csX107" fmla="*/ 267792 w 542749"/>
                <a:gd name="csY107" fmla="*/ 24348 h 768511"/>
                <a:gd name="csX108" fmla="*/ 271379 w 542749"/>
                <a:gd name="csY108" fmla="*/ 22603 h 768511"/>
                <a:gd name="csX109" fmla="*/ 274966 w 542749"/>
                <a:gd name="csY109" fmla="*/ 24347 h 768511"/>
                <a:gd name="csX110" fmla="*/ 318968 w 542749"/>
                <a:gd name="csY110" fmla="*/ 80451 h 768511"/>
                <a:gd name="csX111" fmla="*/ 306130 w 542749"/>
                <a:gd name="csY111" fmla="*/ 80451 h 768511"/>
                <a:gd name="csX112" fmla="*/ 294828 w 542749"/>
                <a:gd name="csY112" fmla="*/ 91753 h 768511"/>
                <a:gd name="csX113" fmla="*/ 294828 w 542749"/>
                <a:gd name="csY113" fmla="*/ 225758 h 768511"/>
                <a:gd name="csX114" fmla="*/ 247928 w 542749"/>
                <a:gd name="csY114" fmla="*/ 225758 h 768511"/>
                <a:gd name="csX115" fmla="*/ 247928 w 542749"/>
                <a:gd name="csY115" fmla="*/ 91754 h 768511"/>
                <a:gd name="csX116" fmla="*/ 236626 w 542749"/>
                <a:gd name="csY116" fmla="*/ 80453 h 768511"/>
                <a:gd name="csX117" fmla="*/ 90005 w 542749"/>
                <a:gd name="csY117" fmla="*/ 193659 h 768511"/>
                <a:gd name="csX118" fmla="*/ 77165 w 542749"/>
                <a:gd name="csY118" fmla="*/ 193659 h 768511"/>
                <a:gd name="csX119" fmla="*/ 121169 w 542749"/>
                <a:gd name="csY119" fmla="*/ 137554 h 768511"/>
                <a:gd name="csX120" fmla="*/ 124757 w 542749"/>
                <a:gd name="csY120" fmla="*/ 135811 h 768511"/>
                <a:gd name="csX121" fmla="*/ 128344 w 542749"/>
                <a:gd name="csY121" fmla="*/ 137554 h 768511"/>
                <a:gd name="csX122" fmla="*/ 172348 w 542749"/>
                <a:gd name="csY122" fmla="*/ 193659 h 768511"/>
                <a:gd name="csX123" fmla="*/ 159508 w 542749"/>
                <a:gd name="csY123" fmla="*/ 193659 h 768511"/>
                <a:gd name="csX124" fmla="*/ 148207 w 542749"/>
                <a:gd name="csY124" fmla="*/ 204960 h 768511"/>
                <a:gd name="csX125" fmla="*/ 148207 w 542749"/>
                <a:gd name="csY125" fmla="*/ 291867 h 768511"/>
                <a:gd name="csX126" fmla="*/ 146300 w 542749"/>
                <a:gd name="csY126" fmla="*/ 290089 h 768511"/>
                <a:gd name="csX127" fmla="*/ 139200 w 542749"/>
                <a:gd name="csY127" fmla="*/ 282988 h 768511"/>
                <a:gd name="csX128" fmla="*/ 101740 w 542749"/>
                <a:gd name="csY128" fmla="*/ 282987 h 768511"/>
                <a:gd name="csX129" fmla="*/ 101306 w 542749"/>
                <a:gd name="csY129" fmla="*/ 283421 h 768511"/>
                <a:gd name="csX130" fmla="*/ 101306 w 542749"/>
                <a:gd name="csY130" fmla="*/ 204960 h 768511"/>
                <a:gd name="csX131" fmla="*/ 90005 w 542749"/>
                <a:gd name="csY131" fmla="*/ 193659 h 768511"/>
                <a:gd name="csX132" fmla="*/ 520153 w 542749"/>
                <a:gd name="csY132" fmla="*/ 528608 h 768511"/>
                <a:gd name="csX133" fmla="*/ 516268 w 542749"/>
                <a:gd name="csY133" fmla="*/ 532491 h 768511"/>
                <a:gd name="csX134" fmla="*/ 506227 w 542749"/>
                <a:gd name="csY134" fmla="*/ 532491 h 768511"/>
                <a:gd name="csX135" fmla="*/ 449020 w 542749"/>
                <a:gd name="csY135" fmla="*/ 570716 h 768511"/>
                <a:gd name="csX136" fmla="*/ 462442 w 542749"/>
                <a:gd name="csY136" fmla="*/ 638196 h 768511"/>
                <a:gd name="csX137" fmla="*/ 469542 w 542749"/>
                <a:gd name="csY137" fmla="*/ 645295 h 768511"/>
                <a:gd name="csX138" fmla="*/ 469542 w 542749"/>
                <a:gd name="csY138" fmla="*/ 650789 h 768511"/>
                <a:gd name="csX139" fmla="*/ 425035 w 542749"/>
                <a:gd name="csY139" fmla="*/ 695298 h 768511"/>
                <a:gd name="csX140" fmla="*/ 419541 w 542749"/>
                <a:gd name="csY140" fmla="*/ 695298 h 768511"/>
                <a:gd name="csX141" fmla="*/ 412440 w 542749"/>
                <a:gd name="csY141" fmla="*/ 688199 h 768511"/>
                <a:gd name="csX142" fmla="*/ 344961 w 542749"/>
                <a:gd name="csY142" fmla="*/ 674776 h 768511"/>
                <a:gd name="csX143" fmla="*/ 306735 w 542749"/>
                <a:gd name="csY143" fmla="*/ 731983 h 768511"/>
                <a:gd name="csX144" fmla="*/ 306735 w 542749"/>
                <a:gd name="csY144" fmla="*/ 742025 h 768511"/>
                <a:gd name="csX145" fmla="*/ 302852 w 542749"/>
                <a:gd name="csY145" fmla="*/ 745908 h 768511"/>
                <a:gd name="csX146" fmla="*/ 239907 w 542749"/>
                <a:gd name="csY146" fmla="*/ 745908 h 768511"/>
                <a:gd name="csX147" fmla="*/ 236023 w 542749"/>
                <a:gd name="csY147" fmla="*/ 742025 h 768511"/>
                <a:gd name="csX148" fmla="*/ 236023 w 542749"/>
                <a:gd name="csY148" fmla="*/ 731983 h 768511"/>
                <a:gd name="csX149" fmla="*/ 197800 w 542749"/>
                <a:gd name="csY149" fmla="*/ 674776 h 768511"/>
                <a:gd name="csX150" fmla="*/ 173712 w 542749"/>
                <a:gd name="csY150" fmla="*/ 669905 h 768511"/>
                <a:gd name="csX151" fmla="*/ 130318 w 542749"/>
                <a:gd name="csY151" fmla="*/ 688199 h 768511"/>
                <a:gd name="csX152" fmla="*/ 123218 w 542749"/>
                <a:gd name="csY152" fmla="*/ 695299 h 768511"/>
                <a:gd name="csX153" fmla="*/ 117725 w 542749"/>
                <a:gd name="csY153" fmla="*/ 695299 h 768511"/>
                <a:gd name="csX154" fmla="*/ 73217 w 542749"/>
                <a:gd name="csY154" fmla="*/ 650790 h 768511"/>
                <a:gd name="csX155" fmla="*/ 72097 w 542749"/>
                <a:gd name="csY155" fmla="*/ 648046 h 768511"/>
                <a:gd name="csX156" fmla="*/ 73218 w 542749"/>
                <a:gd name="csY156" fmla="*/ 645299 h 768511"/>
                <a:gd name="csX157" fmla="*/ 80318 w 542749"/>
                <a:gd name="csY157" fmla="*/ 638199 h 768511"/>
                <a:gd name="csX158" fmla="*/ 93740 w 542749"/>
                <a:gd name="csY158" fmla="*/ 570718 h 768511"/>
                <a:gd name="csX159" fmla="*/ 36533 w 542749"/>
                <a:gd name="csY159" fmla="*/ 532494 h 768511"/>
                <a:gd name="csX160" fmla="*/ 26491 w 542749"/>
                <a:gd name="csY160" fmla="*/ 532494 h 768511"/>
                <a:gd name="csX161" fmla="*/ 22606 w 542749"/>
                <a:gd name="csY161" fmla="*/ 528611 h 768511"/>
                <a:gd name="csX162" fmla="*/ 22606 w 542749"/>
                <a:gd name="csY162" fmla="*/ 465665 h 768511"/>
                <a:gd name="csX163" fmla="*/ 26491 w 542749"/>
                <a:gd name="csY163" fmla="*/ 461782 h 768511"/>
                <a:gd name="csX164" fmla="*/ 36533 w 542749"/>
                <a:gd name="csY164" fmla="*/ 461782 h 768511"/>
                <a:gd name="csX165" fmla="*/ 93739 w 542749"/>
                <a:gd name="csY165" fmla="*/ 423558 h 768511"/>
                <a:gd name="csX166" fmla="*/ 80317 w 542749"/>
                <a:gd name="csY166" fmla="*/ 356077 h 768511"/>
                <a:gd name="csX167" fmla="*/ 73217 w 542749"/>
                <a:gd name="csY167" fmla="*/ 348976 h 768511"/>
                <a:gd name="csX168" fmla="*/ 72097 w 542749"/>
                <a:gd name="csY168" fmla="*/ 346231 h 768511"/>
                <a:gd name="csX169" fmla="*/ 73217 w 542749"/>
                <a:gd name="csY169" fmla="*/ 343487 h 768511"/>
                <a:gd name="csX170" fmla="*/ 117724 w 542749"/>
                <a:gd name="csY170" fmla="*/ 298976 h 768511"/>
                <a:gd name="csX171" fmla="*/ 123218 w 542749"/>
                <a:gd name="csY171" fmla="*/ 298978 h 768511"/>
                <a:gd name="csX172" fmla="*/ 130320 w 542749"/>
                <a:gd name="csY172" fmla="*/ 306078 h 768511"/>
                <a:gd name="csX173" fmla="*/ 197800 w 542749"/>
                <a:gd name="csY173" fmla="*/ 319500 h 768511"/>
                <a:gd name="csX174" fmla="*/ 236023 w 542749"/>
                <a:gd name="csY174" fmla="*/ 262293 h 768511"/>
                <a:gd name="csX175" fmla="*/ 236023 w 542749"/>
                <a:gd name="csY175" fmla="*/ 252251 h 768511"/>
                <a:gd name="csX176" fmla="*/ 239907 w 542749"/>
                <a:gd name="csY176" fmla="*/ 248368 h 768511"/>
                <a:gd name="csX177" fmla="*/ 302852 w 542749"/>
                <a:gd name="csY177" fmla="*/ 248368 h 768511"/>
                <a:gd name="csX178" fmla="*/ 306735 w 542749"/>
                <a:gd name="csY178" fmla="*/ 252251 h 768511"/>
                <a:gd name="csX179" fmla="*/ 306735 w 542749"/>
                <a:gd name="csY179" fmla="*/ 262293 h 768511"/>
                <a:gd name="csX180" fmla="*/ 344961 w 542749"/>
                <a:gd name="csY180" fmla="*/ 319502 h 768511"/>
                <a:gd name="csX181" fmla="*/ 412440 w 542749"/>
                <a:gd name="csY181" fmla="*/ 306078 h 768511"/>
                <a:gd name="csX182" fmla="*/ 419541 w 542749"/>
                <a:gd name="csY182" fmla="*/ 298978 h 768511"/>
                <a:gd name="csX183" fmla="*/ 425033 w 542749"/>
                <a:gd name="csY183" fmla="*/ 298976 h 768511"/>
                <a:gd name="csX184" fmla="*/ 469544 w 542749"/>
                <a:gd name="csY184" fmla="*/ 343487 h 768511"/>
                <a:gd name="csX185" fmla="*/ 470662 w 542749"/>
                <a:gd name="csY185" fmla="*/ 346231 h 768511"/>
                <a:gd name="csX186" fmla="*/ 469542 w 542749"/>
                <a:gd name="csY186" fmla="*/ 348976 h 768511"/>
                <a:gd name="csX187" fmla="*/ 462442 w 542749"/>
                <a:gd name="csY187" fmla="*/ 356077 h 768511"/>
                <a:gd name="csX188" fmla="*/ 449020 w 542749"/>
                <a:gd name="csY188" fmla="*/ 423558 h 768511"/>
                <a:gd name="csX189" fmla="*/ 506227 w 542749"/>
                <a:gd name="csY189" fmla="*/ 461782 h 768511"/>
                <a:gd name="csX190" fmla="*/ 516268 w 542749"/>
                <a:gd name="csY190" fmla="*/ 461782 h 768511"/>
                <a:gd name="csX191" fmla="*/ 520153 w 542749"/>
                <a:gd name="csY191" fmla="*/ 465665 h 768511"/>
                <a:gd name="csX192" fmla="*/ 271379 w 542749"/>
                <a:gd name="csY192" fmla="*/ 357303 h 768511"/>
                <a:gd name="csX193" fmla="*/ 131547 w 542749"/>
                <a:gd name="csY193" fmla="*/ 497135 h 768511"/>
                <a:gd name="csX194" fmla="*/ 271379 w 542749"/>
                <a:gd name="csY194" fmla="*/ 636966 h 768511"/>
                <a:gd name="csX195" fmla="*/ 411211 w 542749"/>
                <a:gd name="csY195" fmla="*/ 497135 h 768511"/>
                <a:gd name="csX196" fmla="*/ 271379 w 542749"/>
                <a:gd name="csY196" fmla="*/ 357303 h 768511"/>
                <a:gd name="csX197" fmla="*/ 271379 w 542749"/>
                <a:gd name="csY197" fmla="*/ 614363 h 768511"/>
                <a:gd name="csX198" fmla="*/ 154150 w 542749"/>
                <a:gd name="csY198" fmla="*/ 497135 h 768511"/>
                <a:gd name="csX199" fmla="*/ 271379 w 542749"/>
                <a:gd name="csY199" fmla="*/ 379907 h 768511"/>
                <a:gd name="csX200" fmla="*/ 388608 w 542749"/>
                <a:gd name="csY200" fmla="*/ 497135 h 768511"/>
                <a:gd name="csX201" fmla="*/ 271379 w 542749"/>
                <a:gd name="csY201" fmla="*/ 614363 h 768511"/>
                <a:gd name="csX202" fmla="*/ 302272 w 542749"/>
                <a:gd name="csY202" fmla="*/ 452864 h 768511"/>
                <a:gd name="csX203" fmla="*/ 281759 w 542749"/>
                <a:gd name="csY203" fmla="*/ 405281 h 768511"/>
                <a:gd name="csX204" fmla="*/ 271379 w 542749"/>
                <a:gd name="csY204" fmla="*/ 398453 h 768511"/>
                <a:gd name="csX205" fmla="*/ 261000 w 542749"/>
                <a:gd name="csY205" fmla="*/ 405281 h 768511"/>
                <a:gd name="csX206" fmla="*/ 240490 w 542749"/>
                <a:gd name="csY206" fmla="*/ 452863 h 768511"/>
                <a:gd name="csX207" fmla="*/ 188896 w 542749"/>
                <a:gd name="csY207" fmla="*/ 457667 h 768511"/>
                <a:gd name="csX208" fmla="*/ 179194 w 542749"/>
                <a:gd name="csY208" fmla="*/ 465427 h 768511"/>
                <a:gd name="csX209" fmla="*/ 182481 w 542749"/>
                <a:gd name="csY209" fmla="*/ 477407 h 768511"/>
                <a:gd name="csX210" fmla="*/ 221396 w 542749"/>
                <a:gd name="csY210" fmla="*/ 511618 h 768511"/>
                <a:gd name="csX211" fmla="*/ 210021 w 542749"/>
                <a:gd name="csY211" fmla="*/ 562171 h 768511"/>
                <a:gd name="csX212" fmla="*/ 214404 w 542749"/>
                <a:gd name="csY212" fmla="*/ 573795 h 768511"/>
                <a:gd name="csX213" fmla="*/ 226813 w 542749"/>
                <a:gd name="csY213" fmla="*/ 574372 h 768511"/>
                <a:gd name="csX214" fmla="*/ 271375 w 542749"/>
                <a:gd name="csY214" fmla="*/ 547933 h 768511"/>
                <a:gd name="csX215" fmla="*/ 315940 w 542749"/>
                <a:gd name="csY215" fmla="*/ 574373 h 768511"/>
                <a:gd name="csX216" fmla="*/ 321705 w 542749"/>
                <a:gd name="csY216" fmla="*/ 575956 h 768511"/>
                <a:gd name="csX217" fmla="*/ 328349 w 542749"/>
                <a:gd name="csY217" fmla="*/ 573796 h 768511"/>
                <a:gd name="csX218" fmla="*/ 332732 w 542749"/>
                <a:gd name="csY218" fmla="*/ 562172 h 768511"/>
                <a:gd name="csX219" fmla="*/ 321357 w 542749"/>
                <a:gd name="csY219" fmla="*/ 511622 h 768511"/>
                <a:gd name="csX220" fmla="*/ 360275 w 542749"/>
                <a:gd name="csY220" fmla="*/ 477408 h 768511"/>
                <a:gd name="csX221" fmla="*/ 363562 w 542749"/>
                <a:gd name="csY221" fmla="*/ 465429 h 768511"/>
                <a:gd name="csX222" fmla="*/ 353860 w 542749"/>
                <a:gd name="csY222" fmla="*/ 457668 h 768511"/>
                <a:gd name="csX223" fmla="*/ 301400 w 542749"/>
                <a:gd name="csY223" fmla="*/ 499074 h 768511"/>
                <a:gd name="csX224" fmla="*/ 297836 w 542749"/>
                <a:gd name="csY224" fmla="*/ 510043 h 768511"/>
                <a:gd name="csX225" fmla="*/ 304927 w 542749"/>
                <a:gd name="csY225" fmla="*/ 541556 h 768511"/>
                <a:gd name="csX226" fmla="*/ 277143 w 542749"/>
                <a:gd name="csY226" fmla="*/ 525074 h 768511"/>
                <a:gd name="csX227" fmla="*/ 271376 w 542749"/>
                <a:gd name="csY227" fmla="*/ 523492 h 768511"/>
                <a:gd name="csX228" fmla="*/ 265610 w 542749"/>
                <a:gd name="csY228" fmla="*/ 525074 h 768511"/>
                <a:gd name="csX229" fmla="*/ 237829 w 542749"/>
                <a:gd name="csY229" fmla="*/ 541556 h 768511"/>
                <a:gd name="csX230" fmla="*/ 244920 w 542749"/>
                <a:gd name="csY230" fmla="*/ 510040 h 768511"/>
                <a:gd name="csX231" fmla="*/ 241356 w 542749"/>
                <a:gd name="csY231" fmla="*/ 499071 h 768511"/>
                <a:gd name="csX232" fmla="*/ 217094 w 542749"/>
                <a:gd name="csY232" fmla="*/ 477744 h 768511"/>
                <a:gd name="csX233" fmla="*/ 249261 w 542749"/>
                <a:gd name="csY233" fmla="*/ 474749 h 768511"/>
                <a:gd name="csX234" fmla="*/ 258592 w 542749"/>
                <a:gd name="csY234" fmla="*/ 467969 h 768511"/>
                <a:gd name="csX235" fmla="*/ 271379 w 542749"/>
                <a:gd name="csY235" fmla="*/ 438303 h 768511"/>
                <a:gd name="csX236" fmla="*/ 284168 w 542749"/>
                <a:gd name="csY236" fmla="*/ 467971 h 768511"/>
                <a:gd name="csX237" fmla="*/ 293499 w 542749"/>
                <a:gd name="csY237" fmla="*/ 474750 h 768511"/>
                <a:gd name="csX238" fmla="*/ 325662 w 542749"/>
                <a:gd name="csY238" fmla="*/ 477744 h 76851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Lst>
              <a:rect l="l" t="t" r="r" b="b"/>
              <a:pathLst>
                <a:path w="542749" h="768511">
                  <a:moveTo>
                    <a:pt x="516268" y="439174"/>
                  </a:moveTo>
                  <a:lnTo>
                    <a:pt x="506227" y="439174"/>
                  </a:lnTo>
                  <a:cubicBezTo>
                    <a:pt x="489777" y="439174"/>
                    <a:pt x="476197" y="430101"/>
                    <a:pt x="469904" y="414904"/>
                  </a:cubicBezTo>
                  <a:cubicBezTo>
                    <a:pt x="463608" y="399706"/>
                    <a:pt x="466795" y="383688"/>
                    <a:pt x="478427" y="372056"/>
                  </a:cubicBezTo>
                  <a:lnTo>
                    <a:pt x="485526" y="364955"/>
                  </a:lnTo>
                  <a:cubicBezTo>
                    <a:pt x="490517" y="359965"/>
                    <a:pt x="493268" y="353313"/>
                    <a:pt x="493268" y="346225"/>
                  </a:cubicBezTo>
                  <a:cubicBezTo>
                    <a:pt x="493268" y="339138"/>
                    <a:pt x="490518" y="332487"/>
                    <a:pt x="485527" y="327496"/>
                  </a:cubicBezTo>
                  <a:lnTo>
                    <a:pt x="464054" y="306023"/>
                  </a:lnTo>
                  <a:lnTo>
                    <a:pt x="464054" y="216261"/>
                  </a:lnTo>
                  <a:lnTo>
                    <a:pt x="472523" y="216261"/>
                  </a:lnTo>
                  <a:cubicBezTo>
                    <a:pt x="479949" y="216261"/>
                    <a:pt x="486578" y="212117"/>
                    <a:pt x="489823" y="205447"/>
                  </a:cubicBezTo>
                  <a:cubicBezTo>
                    <a:pt x="493068" y="198776"/>
                    <a:pt x="492238" y="191004"/>
                    <a:pt x="487655" y="185160"/>
                  </a:cubicBezTo>
                  <a:lnTo>
                    <a:pt x="439374" y="123601"/>
                  </a:lnTo>
                  <a:cubicBezTo>
                    <a:pt x="434192" y="116993"/>
                    <a:pt x="426402" y="113205"/>
                    <a:pt x="418001" y="113205"/>
                  </a:cubicBezTo>
                  <a:cubicBezTo>
                    <a:pt x="409600" y="113205"/>
                    <a:pt x="401811" y="116995"/>
                    <a:pt x="396627" y="123601"/>
                  </a:cubicBezTo>
                  <a:lnTo>
                    <a:pt x="348347" y="185160"/>
                  </a:lnTo>
                  <a:cubicBezTo>
                    <a:pt x="343764" y="191004"/>
                    <a:pt x="342932" y="198776"/>
                    <a:pt x="346178" y="205447"/>
                  </a:cubicBezTo>
                  <a:cubicBezTo>
                    <a:pt x="349424" y="212117"/>
                    <a:pt x="356054" y="216261"/>
                    <a:pt x="363479" y="216261"/>
                  </a:cubicBezTo>
                  <a:lnTo>
                    <a:pt x="371947" y="216261"/>
                  </a:lnTo>
                  <a:lnTo>
                    <a:pt x="371947" y="301651"/>
                  </a:lnTo>
                  <a:cubicBezTo>
                    <a:pt x="365926" y="302109"/>
                    <a:pt x="359704" y="301134"/>
                    <a:pt x="353610" y="298613"/>
                  </a:cubicBezTo>
                  <a:cubicBezTo>
                    <a:pt x="338412" y="292316"/>
                    <a:pt x="329339" y="278739"/>
                    <a:pt x="329339" y="262288"/>
                  </a:cubicBezTo>
                  <a:lnTo>
                    <a:pt x="329339" y="252246"/>
                  </a:lnTo>
                  <a:cubicBezTo>
                    <a:pt x="329339" y="243027"/>
                    <a:pt x="324598" y="234902"/>
                    <a:pt x="317433" y="230157"/>
                  </a:cubicBezTo>
                  <a:lnTo>
                    <a:pt x="317433" y="103056"/>
                  </a:lnTo>
                  <a:lnTo>
                    <a:pt x="325900" y="103056"/>
                  </a:lnTo>
                  <a:cubicBezTo>
                    <a:pt x="333326" y="103056"/>
                    <a:pt x="339955" y="98912"/>
                    <a:pt x="343201" y="92242"/>
                  </a:cubicBezTo>
                  <a:cubicBezTo>
                    <a:pt x="346445" y="85571"/>
                    <a:pt x="345615" y="77799"/>
                    <a:pt x="341032" y="71955"/>
                  </a:cubicBezTo>
                  <a:lnTo>
                    <a:pt x="292752" y="10396"/>
                  </a:lnTo>
                  <a:cubicBezTo>
                    <a:pt x="287569" y="3790"/>
                    <a:pt x="279780" y="0"/>
                    <a:pt x="271379" y="0"/>
                  </a:cubicBezTo>
                  <a:cubicBezTo>
                    <a:pt x="262979" y="0"/>
                    <a:pt x="255189" y="3790"/>
                    <a:pt x="250006" y="10396"/>
                  </a:cubicBezTo>
                  <a:lnTo>
                    <a:pt x="201724" y="71955"/>
                  </a:lnTo>
                  <a:cubicBezTo>
                    <a:pt x="197141" y="77799"/>
                    <a:pt x="196309" y="85571"/>
                    <a:pt x="199555" y="92242"/>
                  </a:cubicBezTo>
                  <a:cubicBezTo>
                    <a:pt x="202801" y="98912"/>
                    <a:pt x="209431" y="103056"/>
                    <a:pt x="216856" y="103056"/>
                  </a:cubicBezTo>
                  <a:lnTo>
                    <a:pt x="225324" y="103056"/>
                  </a:lnTo>
                  <a:lnTo>
                    <a:pt x="225324" y="230156"/>
                  </a:lnTo>
                  <a:cubicBezTo>
                    <a:pt x="218159" y="234901"/>
                    <a:pt x="213419" y="243026"/>
                    <a:pt x="213419" y="252245"/>
                  </a:cubicBezTo>
                  <a:lnTo>
                    <a:pt x="213419" y="262287"/>
                  </a:lnTo>
                  <a:cubicBezTo>
                    <a:pt x="213419" y="278738"/>
                    <a:pt x="204346" y="292316"/>
                    <a:pt x="189149" y="298610"/>
                  </a:cubicBezTo>
                  <a:cubicBezTo>
                    <a:pt x="183055" y="301134"/>
                    <a:pt x="176833" y="302109"/>
                    <a:pt x="170810" y="301651"/>
                  </a:cubicBezTo>
                  <a:lnTo>
                    <a:pt x="170810" y="216261"/>
                  </a:lnTo>
                  <a:lnTo>
                    <a:pt x="179279" y="216261"/>
                  </a:lnTo>
                  <a:cubicBezTo>
                    <a:pt x="186705" y="216261"/>
                    <a:pt x="193333" y="212118"/>
                    <a:pt x="196578" y="205449"/>
                  </a:cubicBezTo>
                  <a:cubicBezTo>
                    <a:pt x="199823" y="198778"/>
                    <a:pt x="198995" y="191004"/>
                    <a:pt x="194411" y="185158"/>
                  </a:cubicBezTo>
                  <a:lnTo>
                    <a:pt x="146130" y="123601"/>
                  </a:lnTo>
                  <a:cubicBezTo>
                    <a:pt x="140948" y="116993"/>
                    <a:pt x="133157" y="113205"/>
                    <a:pt x="124757" y="113205"/>
                  </a:cubicBezTo>
                  <a:cubicBezTo>
                    <a:pt x="116356" y="113205"/>
                    <a:pt x="108567" y="116995"/>
                    <a:pt x="103383" y="123601"/>
                  </a:cubicBezTo>
                  <a:lnTo>
                    <a:pt x="55101" y="185160"/>
                  </a:lnTo>
                  <a:cubicBezTo>
                    <a:pt x="50518" y="191004"/>
                    <a:pt x="49688" y="198778"/>
                    <a:pt x="52934" y="205449"/>
                  </a:cubicBezTo>
                  <a:cubicBezTo>
                    <a:pt x="56178" y="212118"/>
                    <a:pt x="62808" y="216261"/>
                    <a:pt x="70233" y="216261"/>
                  </a:cubicBezTo>
                  <a:lnTo>
                    <a:pt x="78700" y="216261"/>
                  </a:lnTo>
                  <a:lnTo>
                    <a:pt x="78700" y="306024"/>
                  </a:lnTo>
                  <a:lnTo>
                    <a:pt x="57228" y="327497"/>
                  </a:lnTo>
                  <a:cubicBezTo>
                    <a:pt x="52238" y="332488"/>
                    <a:pt x="49489" y="339141"/>
                    <a:pt x="49489" y="346226"/>
                  </a:cubicBezTo>
                  <a:cubicBezTo>
                    <a:pt x="49489" y="353313"/>
                    <a:pt x="52238" y="359965"/>
                    <a:pt x="57230" y="364957"/>
                  </a:cubicBezTo>
                  <a:lnTo>
                    <a:pt x="64330" y="372056"/>
                  </a:lnTo>
                  <a:cubicBezTo>
                    <a:pt x="75962" y="383689"/>
                    <a:pt x="79149" y="399709"/>
                    <a:pt x="72853" y="414906"/>
                  </a:cubicBezTo>
                  <a:cubicBezTo>
                    <a:pt x="66558" y="430103"/>
                    <a:pt x="52979" y="439176"/>
                    <a:pt x="36530" y="439176"/>
                  </a:cubicBezTo>
                  <a:lnTo>
                    <a:pt x="26488" y="439176"/>
                  </a:lnTo>
                  <a:cubicBezTo>
                    <a:pt x="11883" y="439176"/>
                    <a:pt x="0" y="451057"/>
                    <a:pt x="0" y="465662"/>
                  </a:cubicBezTo>
                  <a:lnTo>
                    <a:pt x="0" y="528608"/>
                  </a:lnTo>
                  <a:cubicBezTo>
                    <a:pt x="0" y="543212"/>
                    <a:pt x="11883" y="555094"/>
                    <a:pt x="26488" y="555094"/>
                  </a:cubicBezTo>
                  <a:lnTo>
                    <a:pt x="36530" y="555094"/>
                  </a:lnTo>
                  <a:cubicBezTo>
                    <a:pt x="52979" y="555094"/>
                    <a:pt x="66559" y="564167"/>
                    <a:pt x="72855" y="579366"/>
                  </a:cubicBezTo>
                  <a:cubicBezTo>
                    <a:pt x="79149" y="594563"/>
                    <a:pt x="75962" y="610581"/>
                    <a:pt x="64330" y="622214"/>
                  </a:cubicBezTo>
                  <a:lnTo>
                    <a:pt x="57231" y="629314"/>
                  </a:lnTo>
                  <a:cubicBezTo>
                    <a:pt x="52241" y="634305"/>
                    <a:pt x="49491" y="640956"/>
                    <a:pt x="49489" y="648043"/>
                  </a:cubicBezTo>
                  <a:cubicBezTo>
                    <a:pt x="49489" y="655130"/>
                    <a:pt x="52238" y="661782"/>
                    <a:pt x="57228" y="666774"/>
                  </a:cubicBezTo>
                  <a:lnTo>
                    <a:pt x="101739" y="711283"/>
                  </a:lnTo>
                  <a:cubicBezTo>
                    <a:pt x="112067" y="721611"/>
                    <a:pt x="128872" y="721608"/>
                    <a:pt x="139197" y="711283"/>
                  </a:cubicBezTo>
                  <a:lnTo>
                    <a:pt x="146297" y="704182"/>
                  </a:lnTo>
                  <a:cubicBezTo>
                    <a:pt x="157928" y="692549"/>
                    <a:pt x="173944" y="689364"/>
                    <a:pt x="189146" y="695658"/>
                  </a:cubicBezTo>
                  <a:cubicBezTo>
                    <a:pt x="204343" y="701954"/>
                    <a:pt x="213416" y="715532"/>
                    <a:pt x="213416" y="731983"/>
                  </a:cubicBezTo>
                  <a:lnTo>
                    <a:pt x="213416" y="742025"/>
                  </a:lnTo>
                  <a:cubicBezTo>
                    <a:pt x="213416" y="756629"/>
                    <a:pt x="225297" y="768511"/>
                    <a:pt x="239902" y="768511"/>
                  </a:cubicBezTo>
                  <a:lnTo>
                    <a:pt x="302848" y="768511"/>
                  </a:lnTo>
                  <a:cubicBezTo>
                    <a:pt x="317452" y="768511"/>
                    <a:pt x="329334" y="756629"/>
                    <a:pt x="329334" y="742025"/>
                  </a:cubicBezTo>
                  <a:lnTo>
                    <a:pt x="329334" y="731983"/>
                  </a:lnTo>
                  <a:cubicBezTo>
                    <a:pt x="329334" y="715532"/>
                    <a:pt x="338407" y="701954"/>
                    <a:pt x="353606" y="695658"/>
                  </a:cubicBezTo>
                  <a:cubicBezTo>
                    <a:pt x="368809" y="689361"/>
                    <a:pt x="384822" y="692551"/>
                    <a:pt x="396452" y="704182"/>
                  </a:cubicBezTo>
                  <a:lnTo>
                    <a:pt x="403554" y="711283"/>
                  </a:lnTo>
                  <a:cubicBezTo>
                    <a:pt x="413882" y="721608"/>
                    <a:pt x="430683" y="721608"/>
                    <a:pt x="441012" y="711283"/>
                  </a:cubicBezTo>
                  <a:lnTo>
                    <a:pt x="485521" y="666774"/>
                  </a:lnTo>
                  <a:cubicBezTo>
                    <a:pt x="495848" y="656446"/>
                    <a:pt x="495848" y="639644"/>
                    <a:pt x="485521" y="629314"/>
                  </a:cubicBezTo>
                  <a:lnTo>
                    <a:pt x="478419" y="622214"/>
                  </a:lnTo>
                  <a:cubicBezTo>
                    <a:pt x="466788" y="610584"/>
                    <a:pt x="463602" y="594566"/>
                    <a:pt x="469896" y="579367"/>
                  </a:cubicBezTo>
                  <a:cubicBezTo>
                    <a:pt x="476194" y="564169"/>
                    <a:pt x="489772" y="555096"/>
                    <a:pt x="506221" y="555096"/>
                  </a:cubicBezTo>
                  <a:lnTo>
                    <a:pt x="516262" y="555096"/>
                  </a:lnTo>
                  <a:cubicBezTo>
                    <a:pt x="530866" y="555096"/>
                    <a:pt x="542750" y="543214"/>
                    <a:pt x="542750" y="528609"/>
                  </a:cubicBezTo>
                  <a:lnTo>
                    <a:pt x="542750" y="465664"/>
                  </a:lnTo>
                  <a:cubicBezTo>
                    <a:pt x="542756" y="451056"/>
                    <a:pt x="530874" y="439174"/>
                    <a:pt x="516268" y="439174"/>
                  </a:cubicBezTo>
                  <a:close/>
                  <a:moveTo>
                    <a:pt x="383251" y="193659"/>
                  </a:moveTo>
                  <a:lnTo>
                    <a:pt x="370410" y="193659"/>
                  </a:lnTo>
                  <a:lnTo>
                    <a:pt x="414414" y="137554"/>
                  </a:lnTo>
                  <a:cubicBezTo>
                    <a:pt x="415605" y="136037"/>
                    <a:pt x="417172" y="135811"/>
                    <a:pt x="418002" y="135811"/>
                  </a:cubicBezTo>
                  <a:cubicBezTo>
                    <a:pt x="418833" y="135811"/>
                    <a:pt x="420400" y="136037"/>
                    <a:pt x="421590" y="137554"/>
                  </a:cubicBezTo>
                  <a:lnTo>
                    <a:pt x="465593" y="193659"/>
                  </a:lnTo>
                  <a:lnTo>
                    <a:pt x="452753" y="193659"/>
                  </a:lnTo>
                  <a:cubicBezTo>
                    <a:pt x="446510" y="193659"/>
                    <a:pt x="441451" y="198717"/>
                    <a:pt x="441451" y="204960"/>
                  </a:cubicBezTo>
                  <a:lnTo>
                    <a:pt x="441451" y="283419"/>
                  </a:lnTo>
                  <a:lnTo>
                    <a:pt x="441018" y="282987"/>
                  </a:lnTo>
                  <a:cubicBezTo>
                    <a:pt x="430690" y="272662"/>
                    <a:pt x="413889" y="272660"/>
                    <a:pt x="403559" y="282988"/>
                  </a:cubicBezTo>
                  <a:lnTo>
                    <a:pt x="396458" y="290089"/>
                  </a:lnTo>
                  <a:cubicBezTo>
                    <a:pt x="395838" y="290710"/>
                    <a:pt x="395199" y="291294"/>
                    <a:pt x="394552" y="291867"/>
                  </a:cubicBezTo>
                  <a:lnTo>
                    <a:pt x="394552" y="204959"/>
                  </a:lnTo>
                  <a:cubicBezTo>
                    <a:pt x="394552" y="198717"/>
                    <a:pt x="389492" y="193659"/>
                    <a:pt x="383251" y="193659"/>
                  </a:cubicBezTo>
                  <a:close/>
                  <a:moveTo>
                    <a:pt x="223787" y="80453"/>
                  </a:moveTo>
                  <a:lnTo>
                    <a:pt x="267792" y="24348"/>
                  </a:lnTo>
                  <a:cubicBezTo>
                    <a:pt x="268983" y="22829"/>
                    <a:pt x="270551" y="22603"/>
                    <a:pt x="271379" y="22603"/>
                  </a:cubicBezTo>
                  <a:cubicBezTo>
                    <a:pt x="272208" y="22603"/>
                    <a:pt x="273777" y="22829"/>
                    <a:pt x="274966" y="24347"/>
                  </a:cubicBezTo>
                  <a:lnTo>
                    <a:pt x="318968" y="80451"/>
                  </a:lnTo>
                  <a:lnTo>
                    <a:pt x="306130" y="80451"/>
                  </a:lnTo>
                  <a:cubicBezTo>
                    <a:pt x="299887" y="80451"/>
                    <a:pt x="294828" y="85510"/>
                    <a:pt x="294828" y="91753"/>
                  </a:cubicBezTo>
                  <a:lnTo>
                    <a:pt x="294828" y="225758"/>
                  </a:lnTo>
                  <a:lnTo>
                    <a:pt x="247928" y="225758"/>
                  </a:lnTo>
                  <a:lnTo>
                    <a:pt x="247928" y="91754"/>
                  </a:lnTo>
                  <a:cubicBezTo>
                    <a:pt x="247928" y="85511"/>
                    <a:pt x="242869" y="80453"/>
                    <a:pt x="236626" y="80453"/>
                  </a:cubicBezTo>
                  <a:close/>
                  <a:moveTo>
                    <a:pt x="90005" y="193659"/>
                  </a:moveTo>
                  <a:lnTo>
                    <a:pt x="77165" y="193659"/>
                  </a:lnTo>
                  <a:lnTo>
                    <a:pt x="121169" y="137554"/>
                  </a:lnTo>
                  <a:cubicBezTo>
                    <a:pt x="122359" y="136037"/>
                    <a:pt x="123926" y="135811"/>
                    <a:pt x="124757" y="135811"/>
                  </a:cubicBezTo>
                  <a:cubicBezTo>
                    <a:pt x="125587" y="135811"/>
                    <a:pt x="127154" y="136037"/>
                    <a:pt x="128344" y="137554"/>
                  </a:cubicBezTo>
                  <a:lnTo>
                    <a:pt x="172348" y="193659"/>
                  </a:lnTo>
                  <a:lnTo>
                    <a:pt x="159508" y="193659"/>
                  </a:lnTo>
                  <a:cubicBezTo>
                    <a:pt x="153265" y="193659"/>
                    <a:pt x="148207" y="198717"/>
                    <a:pt x="148207" y="204960"/>
                  </a:cubicBezTo>
                  <a:lnTo>
                    <a:pt x="148207" y="291867"/>
                  </a:lnTo>
                  <a:cubicBezTo>
                    <a:pt x="147562" y="291294"/>
                    <a:pt x="146921" y="290710"/>
                    <a:pt x="146300" y="290089"/>
                  </a:cubicBezTo>
                  <a:lnTo>
                    <a:pt x="139200" y="282988"/>
                  </a:lnTo>
                  <a:cubicBezTo>
                    <a:pt x="128872" y="272662"/>
                    <a:pt x="112069" y="272660"/>
                    <a:pt x="101740" y="282987"/>
                  </a:cubicBezTo>
                  <a:lnTo>
                    <a:pt x="101306" y="283421"/>
                  </a:lnTo>
                  <a:lnTo>
                    <a:pt x="101306" y="204960"/>
                  </a:lnTo>
                  <a:cubicBezTo>
                    <a:pt x="101306" y="198717"/>
                    <a:pt x="96248" y="193659"/>
                    <a:pt x="90005" y="193659"/>
                  </a:cubicBezTo>
                  <a:close/>
                  <a:moveTo>
                    <a:pt x="520153" y="528608"/>
                  </a:moveTo>
                  <a:cubicBezTo>
                    <a:pt x="520153" y="530711"/>
                    <a:pt x="518373" y="532491"/>
                    <a:pt x="516268" y="532491"/>
                  </a:cubicBezTo>
                  <a:lnTo>
                    <a:pt x="506227" y="532491"/>
                  </a:lnTo>
                  <a:cubicBezTo>
                    <a:pt x="480707" y="532491"/>
                    <a:pt x="458788" y="547138"/>
                    <a:pt x="449020" y="570716"/>
                  </a:cubicBezTo>
                  <a:cubicBezTo>
                    <a:pt x="439252" y="594294"/>
                    <a:pt x="444397" y="620152"/>
                    <a:pt x="462442" y="638196"/>
                  </a:cubicBezTo>
                  <a:lnTo>
                    <a:pt x="469542" y="645295"/>
                  </a:lnTo>
                  <a:cubicBezTo>
                    <a:pt x="471031" y="646784"/>
                    <a:pt x="471031" y="649300"/>
                    <a:pt x="469542" y="650789"/>
                  </a:cubicBezTo>
                  <a:lnTo>
                    <a:pt x="425035" y="695298"/>
                  </a:lnTo>
                  <a:cubicBezTo>
                    <a:pt x="423545" y="696787"/>
                    <a:pt x="421027" y="696784"/>
                    <a:pt x="419541" y="695298"/>
                  </a:cubicBezTo>
                  <a:lnTo>
                    <a:pt x="412440" y="688199"/>
                  </a:lnTo>
                  <a:cubicBezTo>
                    <a:pt x="394392" y="670148"/>
                    <a:pt x="368536" y="665008"/>
                    <a:pt x="344961" y="674776"/>
                  </a:cubicBezTo>
                  <a:cubicBezTo>
                    <a:pt x="321382" y="684542"/>
                    <a:pt x="306735" y="706462"/>
                    <a:pt x="306735" y="731983"/>
                  </a:cubicBezTo>
                  <a:lnTo>
                    <a:pt x="306735" y="742025"/>
                  </a:lnTo>
                  <a:cubicBezTo>
                    <a:pt x="306735" y="744128"/>
                    <a:pt x="304956" y="745908"/>
                    <a:pt x="302852" y="745908"/>
                  </a:cubicBezTo>
                  <a:lnTo>
                    <a:pt x="239907" y="745908"/>
                  </a:lnTo>
                  <a:cubicBezTo>
                    <a:pt x="237803" y="745908"/>
                    <a:pt x="236023" y="744128"/>
                    <a:pt x="236023" y="742025"/>
                  </a:cubicBezTo>
                  <a:lnTo>
                    <a:pt x="236023" y="731983"/>
                  </a:lnTo>
                  <a:cubicBezTo>
                    <a:pt x="236023" y="706462"/>
                    <a:pt x="221376" y="684542"/>
                    <a:pt x="197800" y="674776"/>
                  </a:cubicBezTo>
                  <a:cubicBezTo>
                    <a:pt x="189899" y="671503"/>
                    <a:pt x="181744" y="669905"/>
                    <a:pt x="173712" y="669905"/>
                  </a:cubicBezTo>
                  <a:cubicBezTo>
                    <a:pt x="157772" y="669905"/>
                    <a:pt x="142319" y="676199"/>
                    <a:pt x="130318" y="688199"/>
                  </a:cubicBezTo>
                  <a:lnTo>
                    <a:pt x="123218" y="695299"/>
                  </a:lnTo>
                  <a:cubicBezTo>
                    <a:pt x="121732" y="696788"/>
                    <a:pt x="119213" y="696788"/>
                    <a:pt x="117725" y="695299"/>
                  </a:cubicBezTo>
                  <a:lnTo>
                    <a:pt x="73217" y="650790"/>
                  </a:lnTo>
                  <a:cubicBezTo>
                    <a:pt x="72243" y="649817"/>
                    <a:pt x="72097" y="648654"/>
                    <a:pt x="72097" y="648046"/>
                  </a:cubicBezTo>
                  <a:cubicBezTo>
                    <a:pt x="72097" y="647439"/>
                    <a:pt x="72243" y="646274"/>
                    <a:pt x="73218" y="645299"/>
                  </a:cubicBezTo>
                  <a:lnTo>
                    <a:pt x="80318" y="638199"/>
                  </a:lnTo>
                  <a:cubicBezTo>
                    <a:pt x="98363" y="620152"/>
                    <a:pt x="103508" y="594296"/>
                    <a:pt x="93740" y="570718"/>
                  </a:cubicBezTo>
                  <a:cubicBezTo>
                    <a:pt x="83973" y="547141"/>
                    <a:pt x="62052" y="532494"/>
                    <a:pt x="36533" y="532494"/>
                  </a:cubicBezTo>
                  <a:lnTo>
                    <a:pt x="26491" y="532494"/>
                  </a:lnTo>
                  <a:cubicBezTo>
                    <a:pt x="24386" y="532494"/>
                    <a:pt x="22606" y="530714"/>
                    <a:pt x="22606" y="528611"/>
                  </a:cubicBezTo>
                  <a:lnTo>
                    <a:pt x="22606" y="465665"/>
                  </a:lnTo>
                  <a:cubicBezTo>
                    <a:pt x="22606" y="463561"/>
                    <a:pt x="24386" y="461782"/>
                    <a:pt x="26491" y="461782"/>
                  </a:cubicBezTo>
                  <a:lnTo>
                    <a:pt x="36533" y="461782"/>
                  </a:lnTo>
                  <a:cubicBezTo>
                    <a:pt x="62054" y="461782"/>
                    <a:pt x="83973" y="447135"/>
                    <a:pt x="93739" y="423558"/>
                  </a:cubicBezTo>
                  <a:cubicBezTo>
                    <a:pt x="103505" y="399981"/>
                    <a:pt x="98362" y="374123"/>
                    <a:pt x="80317" y="356077"/>
                  </a:cubicBezTo>
                  <a:lnTo>
                    <a:pt x="73217" y="348976"/>
                  </a:lnTo>
                  <a:cubicBezTo>
                    <a:pt x="72243" y="348003"/>
                    <a:pt x="72097" y="346838"/>
                    <a:pt x="72097" y="346231"/>
                  </a:cubicBezTo>
                  <a:cubicBezTo>
                    <a:pt x="72097" y="345625"/>
                    <a:pt x="72243" y="344459"/>
                    <a:pt x="73217" y="343487"/>
                  </a:cubicBezTo>
                  <a:lnTo>
                    <a:pt x="117724" y="298976"/>
                  </a:lnTo>
                  <a:cubicBezTo>
                    <a:pt x="119214" y="297489"/>
                    <a:pt x="121729" y="297491"/>
                    <a:pt x="123218" y="298978"/>
                  </a:cubicBezTo>
                  <a:lnTo>
                    <a:pt x="130320" y="306078"/>
                  </a:lnTo>
                  <a:cubicBezTo>
                    <a:pt x="148369" y="324123"/>
                    <a:pt x="174225" y="329263"/>
                    <a:pt x="197800" y="319500"/>
                  </a:cubicBezTo>
                  <a:cubicBezTo>
                    <a:pt x="221376" y="309736"/>
                    <a:pt x="236023" y="287815"/>
                    <a:pt x="236023" y="262293"/>
                  </a:cubicBezTo>
                  <a:lnTo>
                    <a:pt x="236023" y="252251"/>
                  </a:lnTo>
                  <a:cubicBezTo>
                    <a:pt x="236023" y="250147"/>
                    <a:pt x="237803" y="248368"/>
                    <a:pt x="239907" y="248368"/>
                  </a:cubicBezTo>
                  <a:lnTo>
                    <a:pt x="302852" y="248368"/>
                  </a:lnTo>
                  <a:cubicBezTo>
                    <a:pt x="304956" y="248368"/>
                    <a:pt x="306735" y="250147"/>
                    <a:pt x="306735" y="252251"/>
                  </a:cubicBezTo>
                  <a:lnTo>
                    <a:pt x="306735" y="262293"/>
                  </a:lnTo>
                  <a:cubicBezTo>
                    <a:pt x="306735" y="287813"/>
                    <a:pt x="321382" y="309733"/>
                    <a:pt x="344961" y="319502"/>
                  </a:cubicBezTo>
                  <a:cubicBezTo>
                    <a:pt x="368537" y="329265"/>
                    <a:pt x="394394" y="324123"/>
                    <a:pt x="412440" y="306078"/>
                  </a:cubicBezTo>
                  <a:lnTo>
                    <a:pt x="419541" y="298978"/>
                  </a:lnTo>
                  <a:cubicBezTo>
                    <a:pt x="421028" y="297488"/>
                    <a:pt x="423545" y="297486"/>
                    <a:pt x="425033" y="298976"/>
                  </a:cubicBezTo>
                  <a:lnTo>
                    <a:pt x="469544" y="343487"/>
                  </a:lnTo>
                  <a:cubicBezTo>
                    <a:pt x="470517" y="344460"/>
                    <a:pt x="470662" y="345625"/>
                    <a:pt x="470662" y="346231"/>
                  </a:cubicBezTo>
                  <a:cubicBezTo>
                    <a:pt x="470662" y="346838"/>
                    <a:pt x="470517" y="348003"/>
                    <a:pt x="469542" y="348976"/>
                  </a:cubicBezTo>
                  <a:lnTo>
                    <a:pt x="462442" y="356077"/>
                  </a:lnTo>
                  <a:cubicBezTo>
                    <a:pt x="444397" y="374123"/>
                    <a:pt x="439254" y="399980"/>
                    <a:pt x="449020" y="423558"/>
                  </a:cubicBezTo>
                  <a:cubicBezTo>
                    <a:pt x="458785" y="447135"/>
                    <a:pt x="480707" y="461782"/>
                    <a:pt x="506227" y="461782"/>
                  </a:cubicBezTo>
                  <a:lnTo>
                    <a:pt x="516268" y="461782"/>
                  </a:lnTo>
                  <a:cubicBezTo>
                    <a:pt x="518373" y="461782"/>
                    <a:pt x="520153" y="463561"/>
                    <a:pt x="520153" y="465665"/>
                  </a:cubicBezTo>
                  <a:close/>
                  <a:moveTo>
                    <a:pt x="271379" y="357303"/>
                  </a:moveTo>
                  <a:cubicBezTo>
                    <a:pt x="194275" y="357303"/>
                    <a:pt x="131547" y="420032"/>
                    <a:pt x="131547" y="497135"/>
                  </a:cubicBezTo>
                  <a:cubicBezTo>
                    <a:pt x="131547" y="574238"/>
                    <a:pt x="194275" y="636966"/>
                    <a:pt x="271379" y="636966"/>
                  </a:cubicBezTo>
                  <a:cubicBezTo>
                    <a:pt x="348482" y="636966"/>
                    <a:pt x="411211" y="574238"/>
                    <a:pt x="411211" y="497135"/>
                  </a:cubicBezTo>
                  <a:cubicBezTo>
                    <a:pt x="411211" y="420032"/>
                    <a:pt x="348482" y="357303"/>
                    <a:pt x="271379" y="357303"/>
                  </a:cubicBezTo>
                  <a:close/>
                  <a:moveTo>
                    <a:pt x="271379" y="614363"/>
                  </a:moveTo>
                  <a:cubicBezTo>
                    <a:pt x="206740" y="614363"/>
                    <a:pt x="154150" y="561776"/>
                    <a:pt x="154150" y="497135"/>
                  </a:cubicBezTo>
                  <a:cubicBezTo>
                    <a:pt x="154150" y="432494"/>
                    <a:pt x="206739" y="379907"/>
                    <a:pt x="271379" y="379907"/>
                  </a:cubicBezTo>
                  <a:cubicBezTo>
                    <a:pt x="336020" y="379907"/>
                    <a:pt x="388608" y="432494"/>
                    <a:pt x="388608" y="497135"/>
                  </a:cubicBezTo>
                  <a:cubicBezTo>
                    <a:pt x="388608" y="561776"/>
                    <a:pt x="336020" y="614363"/>
                    <a:pt x="271379" y="614363"/>
                  </a:cubicBezTo>
                  <a:close/>
                  <a:moveTo>
                    <a:pt x="302272" y="452864"/>
                  </a:moveTo>
                  <a:lnTo>
                    <a:pt x="281759" y="405281"/>
                  </a:lnTo>
                  <a:cubicBezTo>
                    <a:pt x="279972" y="401137"/>
                    <a:pt x="275891" y="398453"/>
                    <a:pt x="271379" y="398453"/>
                  </a:cubicBezTo>
                  <a:cubicBezTo>
                    <a:pt x="266868" y="398453"/>
                    <a:pt x="262787" y="401137"/>
                    <a:pt x="261000" y="405281"/>
                  </a:cubicBezTo>
                  <a:lnTo>
                    <a:pt x="240490" y="452863"/>
                  </a:lnTo>
                  <a:lnTo>
                    <a:pt x="188896" y="457667"/>
                  </a:lnTo>
                  <a:cubicBezTo>
                    <a:pt x="184404" y="458084"/>
                    <a:pt x="180588" y="461137"/>
                    <a:pt x="179194" y="465427"/>
                  </a:cubicBezTo>
                  <a:cubicBezTo>
                    <a:pt x="177799" y="469719"/>
                    <a:pt x="179092" y="474429"/>
                    <a:pt x="182481" y="477407"/>
                  </a:cubicBezTo>
                  <a:lnTo>
                    <a:pt x="221396" y="511618"/>
                  </a:lnTo>
                  <a:lnTo>
                    <a:pt x="210021" y="562171"/>
                  </a:lnTo>
                  <a:cubicBezTo>
                    <a:pt x="209031" y="566574"/>
                    <a:pt x="210753" y="571143"/>
                    <a:pt x="214404" y="573795"/>
                  </a:cubicBezTo>
                  <a:cubicBezTo>
                    <a:pt x="218054" y="576450"/>
                    <a:pt x="222932" y="576674"/>
                    <a:pt x="226813" y="574372"/>
                  </a:cubicBezTo>
                  <a:lnTo>
                    <a:pt x="271375" y="547933"/>
                  </a:lnTo>
                  <a:lnTo>
                    <a:pt x="315940" y="574373"/>
                  </a:lnTo>
                  <a:cubicBezTo>
                    <a:pt x="317724" y="575431"/>
                    <a:pt x="319717" y="575956"/>
                    <a:pt x="321705" y="575956"/>
                  </a:cubicBezTo>
                  <a:cubicBezTo>
                    <a:pt x="324045" y="575956"/>
                    <a:pt x="326378" y="575231"/>
                    <a:pt x="328349" y="573796"/>
                  </a:cubicBezTo>
                  <a:cubicBezTo>
                    <a:pt x="332000" y="571144"/>
                    <a:pt x="333722" y="566575"/>
                    <a:pt x="332732" y="562172"/>
                  </a:cubicBezTo>
                  <a:lnTo>
                    <a:pt x="321357" y="511622"/>
                  </a:lnTo>
                  <a:lnTo>
                    <a:pt x="360275" y="477408"/>
                  </a:lnTo>
                  <a:cubicBezTo>
                    <a:pt x="363664" y="474428"/>
                    <a:pt x="364955" y="469719"/>
                    <a:pt x="363562" y="465429"/>
                  </a:cubicBezTo>
                  <a:cubicBezTo>
                    <a:pt x="362168" y="461137"/>
                    <a:pt x="358354" y="458085"/>
                    <a:pt x="353860" y="457668"/>
                  </a:cubicBezTo>
                  <a:close/>
                  <a:moveTo>
                    <a:pt x="301400" y="499074"/>
                  </a:moveTo>
                  <a:cubicBezTo>
                    <a:pt x="298294" y="501805"/>
                    <a:pt x="296929" y="506010"/>
                    <a:pt x="297836" y="510043"/>
                  </a:cubicBezTo>
                  <a:lnTo>
                    <a:pt x="304927" y="541556"/>
                  </a:lnTo>
                  <a:lnTo>
                    <a:pt x="277143" y="525074"/>
                  </a:lnTo>
                  <a:cubicBezTo>
                    <a:pt x="275365" y="524019"/>
                    <a:pt x="273370" y="523492"/>
                    <a:pt x="271376" y="523492"/>
                  </a:cubicBezTo>
                  <a:cubicBezTo>
                    <a:pt x="269383" y="523492"/>
                    <a:pt x="267388" y="524019"/>
                    <a:pt x="265610" y="525074"/>
                  </a:cubicBezTo>
                  <a:lnTo>
                    <a:pt x="237829" y="541556"/>
                  </a:lnTo>
                  <a:lnTo>
                    <a:pt x="244920" y="510040"/>
                  </a:lnTo>
                  <a:cubicBezTo>
                    <a:pt x="245827" y="506006"/>
                    <a:pt x="244460" y="501800"/>
                    <a:pt x="241356" y="499071"/>
                  </a:cubicBezTo>
                  <a:lnTo>
                    <a:pt x="217094" y="477744"/>
                  </a:lnTo>
                  <a:lnTo>
                    <a:pt x="249261" y="474749"/>
                  </a:lnTo>
                  <a:cubicBezTo>
                    <a:pt x="253377" y="474364"/>
                    <a:pt x="256955" y="471766"/>
                    <a:pt x="258592" y="467969"/>
                  </a:cubicBezTo>
                  <a:lnTo>
                    <a:pt x="271379" y="438303"/>
                  </a:lnTo>
                  <a:lnTo>
                    <a:pt x="284168" y="467971"/>
                  </a:lnTo>
                  <a:cubicBezTo>
                    <a:pt x="285805" y="471768"/>
                    <a:pt x="289384" y="474367"/>
                    <a:pt x="293499" y="474750"/>
                  </a:cubicBezTo>
                  <a:lnTo>
                    <a:pt x="325662" y="477744"/>
                  </a:lnTo>
                  <a:close/>
                </a:path>
              </a:pathLst>
            </a:custGeom>
            <a:solidFill>
              <a:schemeClr val="bg1"/>
            </a:solidFill>
            <a:ln w="1507"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71" name="Group 70">
            <a:extLst>
              <a:ext uri="{FF2B5EF4-FFF2-40B4-BE49-F238E27FC236}">
                <a16:creationId xmlns:a16="http://schemas.microsoft.com/office/drawing/2014/main" id="{BD7027F0-963B-2E32-2141-0E3338522D83}"/>
              </a:ext>
            </a:extLst>
          </p:cNvPr>
          <p:cNvGrpSpPr/>
          <p:nvPr/>
        </p:nvGrpSpPr>
        <p:grpSpPr>
          <a:xfrm>
            <a:off x="6234917" y="2174311"/>
            <a:ext cx="717426" cy="764395"/>
            <a:chOff x="6234917" y="2174311"/>
            <a:chExt cx="717426" cy="764395"/>
          </a:xfrm>
        </p:grpSpPr>
        <p:sp>
          <p:nvSpPr>
            <p:cNvPr id="28" name="Shape 5">
              <a:extLst>
                <a:ext uri="{FF2B5EF4-FFF2-40B4-BE49-F238E27FC236}">
                  <a16:creationId xmlns:a16="http://schemas.microsoft.com/office/drawing/2014/main" id="{02EC5202-F0F2-48D3-47C8-DB66FBD875DC}"/>
                </a:ext>
              </a:extLst>
            </p:cNvPr>
            <p:cNvSpPr/>
            <p:nvPr/>
          </p:nvSpPr>
          <p:spPr>
            <a:xfrm rot="5400000">
              <a:off x="6211432" y="2197796"/>
              <a:ext cx="764395" cy="717426"/>
            </a:xfrm>
            <a:prstGeom prst="chevron">
              <a:avLst>
                <a:gd name="adj" fmla="val 9474"/>
              </a:avLst>
            </a:prstGeom>
            <a:solidFill>
              <a:schemeClr val="accent1"/>
            </a:solidFill>
            <a:ln/>
          </p:spPr>
          <p:txBody>
            <a:bodyPr vert="vert270" anchor="ctr"/>
            <a:lstStyle/>
            <a:p>
              <a:pPr algn="ctr"/>
              <a:endParaRPr lang="en-IN" sz="1500">
                <a:solidFill>
                  <a:schemeClr val="bg1"/>
                </a:solidFill>
                <a:latin typeface="Moderat" pitchFamily="2" charset="77"/>
              </a:endParaRPr>
            </a:p>
          </p:txBody>
        </p:sp>
        <p:sp>
          <p:nvSpPr>
            <p:cNvPr id="54" name="Pic">
              <a:extLst>
                <a:ext uri="{FF2B5EF4-FFF2-40B4-BE49-F238E27FC236}">
                  <a16:creationId xmlns:a16="http://schemas.microsoft.com/office/drawing/2014/main" id="{F3C04101-139F-E0F1-235C-FDCC409F1FBE}"/>
                </a:ext>
              </a:extLst>
            </p:cNvPr>
            <p:cNvSpPr>
              <a:spLocks noChangeAspect="1"/>
            </p:cNvSpPr>
            <p:nvPr/>
          </p:nvSpPr>
          <p:spPr>
            <a:xfrm>
              <a:off x="6366929" y="2340609"/>
              <a:ext cx="453401" cy="431800"/>
            </a:xfrm>
            <a:custGeom>
              <a:avLst/>
              <a:gdLst>
                <a:gd name="csX0" fmla="*/ 479783 w 603476"/>
                <a:gd name="csY0" fmla="*/ 307567 h 574725"/>
                <a:gd name="csX1" fmla="*/ 460616 w 603476"/>
                <a:gd name="csY1" fmla="*/ 304965 h 574725"/>
                <a:gd name="csX2" fmla="*/ 452602 w 603476"/>
                <a:gd name="csY2" fmla="*/ 285639 h 574725"/>
                <a:gd name="csX3" fmla="*/ 464317 w 603476"/>
                <a:gd name="csY3" fmla="*/ 270258 h 574725"/>
                <a:gd name="csX4" fmla="*/ 464305 w 603476"/>
                <a:gd name="csY4" fmla="*/ 259874 h 574725"/>
                <a:gd name="csX5" fmla="*/ 442792 w 603476"/>
                <a:gd name="csY5" fmla="*/ 238362 h 574725"/>
                <a:gd name="csX6" fmla="*/ 432408 w 603476"/>
                <a:gd name="csY6" fmla="*/ 238349 h 574725"/>
                <a:gd name="csX7" fmla="*/ 417028 w 603476"/>
                <a:gd name="csY7" fmla="*/ 250065 h 574725"/>
                <a:gd name="csX8" fmla="*/ 397702 w 603476"/>
                <a:gd name="csY8" fmla="*/ 242051 h 574725"/>
                <a:gd name="csX9" fmla="*/ 395100 w 603476"/>
                <a:gd name="csY9" fmla="*/ 222884 h 574725"/>
                <a:gd name="csX10" fmla="*/ 387746 w 603476"/>
                <a:gd name="csY10" fmla="*/ 215554 h 574725"/>
                <a:gd name="csX11" fmla="*/ 357327 w 603476"/>
                <a:gd name="csY11" fmla="*/ 215554 h 574725"/>
                <a:gd name="csX12" fmla="*/ 349973 w 603476"/>
                <a:gd name="csY12" fmla="*/ 222884 h 574725"/>
                <a:gd name="csX13" fmla="*/ 347371 w 603476"/>
                <a:gd name="csY13" fmla="*/ 242051 h 574725"/>
                <a:gd name="csX14" fmla="*/ 328045 w 603476"/>
                <a:gd name="csY14" fmla="*/ 250065 h 574725"/>
                <a:gd name="csX15" fmla="*/ 312664 w 603476"/>
                <a:gd name="csY15" fmla="*/ 238349 h 574725"/>
                <a:gd name="csX16" fmla="*/ 302280 w 603476"/>
                <a:gd name="csY16" fmla="*/ 238362 h 574725"/>
                <a:gd name="csX17" fmla="*/ 280767 w 603476"/>
                <a:gd name="csY17" fmla="*/ 259874 h 574725"/>
                <a:gd name="csX18" fmla="*/ 280755 w 603476"/>
                <a:gd name="csY18" fmla="*/ 270258 h 574725"/>
                <a:gd name="csX19" fmla="*/ 292471 w 603476"/>
                <a:gd name="csY19" fmla="*/ 285639 h 574725"/>
                <a:gd name="csX20" fmla="*/ 284457 w 603476"/>
                <a:gd name="csY20" fmla="*/ 304965 h 574725"/>
                <a:gd name="csX21" fmla="*/ 265289 w 603476"/>
                <a:gd name="csY21" fmla="*/ 307567 h 574725"/>
                <a:gd name="csX22" fmla="*/ 257960 w 603476"/>
                <a:gd name="csY22" fmla="*/ 314921 h 574725"/>
                <a:gd name="csX23" fmla="*/ 257960 w 603476"/>
                <a:gd name="csY23" fmla="*/ 345340 h 574725"/>
                <a:gd name="csX24" fmla="*/ 265289 w 603476"/>
                <a:gd name="csY24" fmla="*/ 352694 h 574725"/>
                <a:gd name="csX25" fmla="*/ 284445 w 603476"/>
                <a:gd name="csY25" fmla="*/ 355296 h 574725"/>
                <a:gd name="csX26" fmla="*/ 292458 w 603476"/>
                <a:gd name="csY26" fmla="*/ 374622 h 574725"/>
                <a:gd name="csX27" fmla="*/ 280743 w 603476"/>
                <a:gd name="csY27" fmla="*/ 390003 h 574725"/>
                <a:gd name="csX28" fmla="*/ 280755 w 603476"/>
                <a:gd name="csY28" fmla="*/ 400386 h 574725"/>
                <a:gd name="csX29" fmla="*/ 302268 w 603476"/>
                <a:gd name="csY29" fmla="*/ 421899 h 574725"/>
                <a:gd name="csX30" fmla="*/ 312652 w 603476"/>
                <a:gd name="csY30" fmla="*/ 421912 h 574725"/>
                <a:gd name="csX31" fmla="*/ 328032 w 603476"/>
                <a:gd name="csY31" fmla="*/ 410196 h 574725"/>
                <a:gd name="csX32" fmla="*/ 347359 w 603476"/>
                <a:gd name="csY32" fmla="*/ 418210 h 574725"/>
                <a:gd name="csX33" fmla="*/ 349961 w 603476"/>
                <a:gd name="csY33" fmla="*/ 437377 h 574725"/>
                <a:gd name="csX34" fmla="*/ 357315 w 603476"/>
                <a:gd name="csY34" fmla="*/ 444707 h 574725"/>
                <a:gd name="csX35" fmla="*/ 372524 w 603476"/>
                <a:gd name="csY35" fmla="*/ 445709 h 574725"/>
                <a:gd name="csX36" fmla="*/ 387733 w 603476"/>
                <a:gd name="csY36" fmla="*/ 444719 h 574725"/>
                <a:gd name="csX37" fmla="*/ 395088 w 603476"/>
                <a:gd name="csY37" fmla="*/ 437390 h 574725"/>
                <a:gd name="csX38" fmla="*/ 397690 w 603476"/>
                <a:gd name="csY38" fmla="*/ 418235 h 574725"/>
                <a:gd name="csX39" fmla="*/ 417016 w 603476"/>
                <a:gd name="csY39" fmla="*/ 410221 h 574725"/>
                <a:gd name="csX40" fmla="*/ 432396 w 603476"/>
                <a:gd name="csY40" fmla="*/ 421936 h 574725"/>
                <a:gd name="csX41" fmla="*/ 442780 w 603476"/>
                <a:gd name="csY41" fmla="*/ 421924 h 574725"/>
                <a:gd name="csX42" fmla="*/ 464293 w 603476"/>
                <a:gd name="csY42" fmla="*/ 400411 h 574725"/>
                <a:gd name="csX43" fmla="*/ 464305 w 603476"/>
                <a:gd name="csY43" fmla="*/ 390027 h 574725"/>
                <a:gd name="csX44" fmla="*/ 452590 w 603476"/>
                <a:gd name="csY44" fmla="*/ 374647 h 574725"/>
                <a:gd name="csX45" fmla="*/ 460604 w 603476"/>
                <a:gd name="csY45" fmla="*/ 355321 h 574725"/>
                <a:gd name="csX46" fmla="*/ 479771 w 603476"/>
                <a:gd name="csY46" fmla="*/ 352718 h 574725"/>
                <a:gd name="csX47" fmla="*/ 487101 w 603476"/>
                <a:gd name="csY47" fmla="*/ 345364 h 574725"/>
                <a:gd name="csX48" fmla="*/ 487101 w 603476"/>
                <a:gd name="csY48" fmla="*/ 314946 h 574725"/>
                <a:gd name="csX49" fmla="*/ 479771 w 603476"/>
                <a:gd name="csY49" fmla="*/ 307591 h 574725"/>
                <a:gd name="csX50" fmla="*/ 470792 w 603476"/>
                <a:gd name="csY50" fmla="*/ 336654 h 574725"/>
                <a:gd name="csX51" fmla="*/ 452578 w 603476"/>
                <a:gd name="csY51" fmla="*/ 339122 h 574725"/>
                <a:gd name="csX52" fmla="*/ 445370 w 603476"/>
                <a:gd name="csY52" fmla="*/ 345804 h 574725"/>
                <a:gd name="csX53" fmla="*/ 435120 w 603476"/>
                <a:gd name="csY53" fmla="*/ 370542 h 574725"/>
                <a:gd name="csX54" fmla="*/ 435499 w 603476"/>
                <a:gd name="csY54" fmla="*/ 380364 h 574725"/>
                <a:gd name="csX55" fmla="*/ 446628 w 603476"/>
                <a:gd name="csY55" fmla="*/ 394987 h 574725"/>
                <a:gd name="csX56" fmla="*/ 437393 w 603476"/>
                <a:gd name="csY56" fmla="*/ 404222 h 574725"/>
                <a:gd name="csX57" fmla="*/ 422770 w 603476"/>
                <a:gd name="csY57" fmla="*/ 393093 h 574725"/>
                <a:gd name="csX58" fmla="*/ 412948 w 603476"/>
                <a:gd name="csY58" fmla="*/ 392715 h 574725"/>
                <a:gd name="csX59" fmla="*/ 388210 w 603476"/>
                <a:gd name="csY59" fmla="*/ 402976 h 574725"/>
                <a:gd name="csX60" fmla="*/ 381528 w 603476"/>
                <a:gd name="csY60" fmla="*/ 410184 h 574725"/>
                <a:gd name="csX61" fmla="*/ 379060 w 603476"/>
                <a:gd name="csY61" fmla="*/ 428386 h 574725"/>
                <a:gd name="csX62" fmla="*/ 366013 w 603476"/>
                <a:gd name="csY62" fmla="*/ 428386 h 574725"/>
                <a:gd name="csX63" fmla="*/ 363545 w 603476"/>
                <a:gd name="csY63" fmla="*/ 410172 h 574725"/>
                <a:gd name="csX64" fmla="*/ 356863 w 603476"/>
                <a:gd name="csY64" fmla="*/ 402964 h 574725"/>
                <a:gd name="csX65" fmla="*/ 332125 w 603476"/>
                <a:gd name="csY65" fmla="*/ 392715 h 574725"/>
                <a:gd name="csX66" fmla="*/ 322303 w 603476"/>
                <a:gd name="csY66" fmla="*/ 393093 h 574725"/>
                <a:gd name="csX67" fmla="*/ 307680 w 603476"/>
                <a:gd name="csY67" fmla="*/ 404222 h 574725"/>
                <a:gd name="csX68" fmla="*/ 298444 w 603476"/>
                <a:gd name="csY68" fmla="*/ 394987 h 574725"/>
                <a:gd name="csX69" fmla="*/ 309573 w 603476"/>
                <a:gd name="csY69" fmla="*/ 380364 h 574725"/>
                <a:gd name="csX70" fmla="*/ 309952 w 603476"/>
                <a:gd name="csY70" fmla="*/ 370542 h 574725"/>
                <a:gd name="csX71" fmla="*/ 299691 w 603476"/>
                <a:gd name="csY71" fmla="*/ 345804 h 574725"/>
                <a:gd name="csX72" fmla="*/ 292483 w 603476"/>
                <a:gd name="csY72" fmla="*/ 339122 h 574725"/>
                <a:gd name="csX73" fmla="*/ 274281 w 603476"/>
                <a:gd name="csY73" fmla="*/ 336654 h 574725"/>
                <a:gd name="csX74" fmla="*/ 274281 w 603476"/>
                <a:gd name="csY74" fmla="*/ 323607 h 574725"/>
                <a:gd name="csX75" fmla="*/ 292495 w 603476"/>
                <a:gd name="csY75" fmla="*/ 321139 h 574725"/>
                <a:gd name="csX76" fmla="*/ 299703 w 603476"/>
                <a:gd name="csY76" fmla="*/ 314457 h 574725"/>
                <a:gd name="csX77" fmla="*/ 309952 w 603476"/>
                <a:gd name="csY77" fmla="*/ 289719 h 574725"/>
                <a:gd name="csX78" fmla="*/ 309573 w 603476"/>
                <a:gd name="csY78" fmla="*/ 279897 h 574725"/>
                <a:gd name="csX79" fmla="*/ 298444 w 603476"/>
                <a:gd name="csY79" fmla="*/ 265274 h 574725"/>
                <a:gd name="csX80" fmla="*/ 307680 w 603476"/>
                <a:gd name="csY80" fmla="*/ 256039 h 574725"/>
                <a:gd name="csX81" fmla="*/ 322303 w 603476"/>
                <a:gd name="csY81" fmla="*/ 267168 h 574725"/>
                <a:gd name="csX82" fmla="*/ 332125 w 603476"/>
                <a:gd name="csY82" fmla="*/ 267546 h 574725"/>
                <a:gd name="csX83" fmla="*/ 356863 w 603476"/>
                <a:gd name="csY83" fmla="*/ 257297 h 574725"/>
                <a:gd name="csX84" fmla="*/ 363545 w 603476"/>
                <a:gd name="csY84" fmla="*/ 250089 h 574725"/>
                <a:gd name="csX85" fmla="*/ 366013 w 603476"/>
                <a:gd name="csY85" fmla="*/ 231875 h 574725"/>
                <a:gd name="csX86" fmla="*/ 379060 w 603476"/>
                <a:gd name="csY86" fmla="*/ 231875 h 574725"/>
                <a:gd name="csX87" fmla="*/ 381528 w 603476"/>
                <a:gd name="csY87" fmla="*/ 250089 h 574725"/>
                <a:gd name="csX88" fmla="*/ 388210 w 603476"/>
                <a:gd name="csY88" fmla="*/ 257297 h 574725"/>
                <a:gd name="csX89" fmla="*/ 412948 w 603476"/>
                <a:gd name="csY89" fmla="*/ 267546 h 574725"/>
                <a:gd name="csX90" fmla="*/ 422770 w 603476"/>
                <a:gd name="csY90" fmla="*/ 267168 h 574725"/>
                <a:gd name="csX91" fmla="*/ 437393 w 603476"/>
                <a:gd name="csY91" fmla="*/ 256039 h 574725"/>
                <a:gd name="csX92" fmla="*/ 446616 w 603476"/>
                <a:gd name="csY92" fmla="*/ 265274 h 574725"/>
                <a:gd name="csX93" fmla="*/ 435487 w 603476"/>
                <a:gd name="csY93" fmla="*/ 279897 h 574725"/>
                <a:gd name="csX94" fmla="*/ 435108 w 603476"/>
                <a:gd name="csY94" fmla="*/ 289719 h 574725"/>
                <a:gd name="csX95" fmla="*/ 445370 w 603476"/>
                <a:gd name="csY95" fmla="*/ 314457 h 574725"/>
                <a:gd name="csX96" fmla="*/ 452578 w 603476"/>
                <a:gd name="csY96" fmla="*/ 321139 h 574725"/>
                <a:gd name="csX97" fmla="*/ 470792 w 603476"/>
                <a:gd name="csY97" fmla="*/ 323607 h 574725"/>
                <a:gd name="csX98" fmla="*/ 470792 w 603476"/>
                <a:gd name="csY98" fmla="*/ 336654 h 574725"/>
                <a:gd name="csX99" fmla="*/ 372524 w 603476"/>
                <a:gd name="csY99" fmla="*/ 278565 h 574725"/>
                <a:gd name="csX100" fmla="*/ 320959 w 603476"/>
                <a:gd name="csY100" fmla="*/ 330130 h 574725"/>
                <a:gd name="csX101" fmla="*/ 372524 w 603476"/>
                <a:gd name="csY101" fmla="*/ 381696 h 574725"/>
                <a:gd name="csX102" fmla="*/ 424089 w 603476"/>
                <a:gd name="csY102" fmla="*/ 330130 h 574725"/>
                <a:gd name="csX103" fmla="*/ 372524 w 603476"/>
                <a:gd name="csY103" fmla="*/ 278565 h 574725"/>
                <a:gd name="csX104" fmla="*/ 372524 w 603476"/>
                <a:gd name="csY104" fmla="*/ 295668 h 574725"/>
                <a:gd name="csX105" fmla="*/ 406986 w 603476"/>
                <a:gd name="csY105" fmla="*/ 330130 h 574725"/>
                <a:gd name="csX106" fmla="*/ 372524 w 603476"/>
                <a:gd name="csY106" fmla="*/ 364593 h 574725"/>
                <a:gd name="csX107" fmla="*/ 338062 w 603476"/>
                <a:gd name="csY107" fmla="*/ 330130 h 574725"/>
                <a:gd name="csX108" fmla="*/ 372524 w 603476"/>
                <a:gd name="csY108" fmla="*/ 295668 h 574725"/>
                <a:gd name="csX109" fmla="*/ 280499 w 603476"/>
                <a:gd name="csY109" fmla="*/ 167140 h 574725"/>
                <a:gd name="csX110" fmla="*/ 330439 w 603476"/>
                <a:gd name="csY110" fmla="*/ 128451 h 574725"/>
                <a:gd name="csX111" fmla="*/ 332064 w 603476"/>
                <a:gd name="csY111" fmla="*/ 115575 h 574725"/>
                <a:gd name="csX112" fmla="*/ 280499 w 603476"/>
                <a:gd name="csY112" fmla="*/ 64010 h 574725"/>
                <a:gd name="csX113" fmla="*/ 228934 w 603476"/>
                <a:gd name="csY113" fmla="*/ 115575 h 574725"/>
                <a:gd name="csX114" fmla="*/ 230558 w 603476"/>
                <a:gd name="csY114" fmla="*/ 128451 h 574725"/>
                <a:gd name="csX115" fmla="*/ 280499 w 603476"/>
                <a:gd name="csY115" fmla="*/ 167140 h 574725"/>
                <a:gd name="csX116" fmla="*/ 246085 w 603476"/>
                <a:gd name="csY116" fmla="*/ 113804 h 574725"/>
                <a:gd name="csX117" fmla="*/ 280499 w 603476"/>
                <a:gd name="csY117" fmla="*/ 81113 h 574725"/>
                <a:gd name="csX118" fmla="*/ 314912 w 603476"/>
                <a:gd name="csY118" fmla="*/ 113804 h 574725"/>
                <a:gd name="csX119" fmla="*/ 314961 w 603476"/>
                <a:gd name="csY119" fmla="*/ 115575 h 574725"/>
                <a:gd name="csX120" fmla="*/ 280499 w 603476"/>
                <a:gd name="csY120" fmla="*/ 150038 h 574725"/>
                <a:gd name="csX121" fmla="*/ 246036 w 603476"/>
                <a:gd name="csY121" fmla="*/ 115575 h 574725"/>
                <a:gd name="csX122" fmla="*/ 246085 w 603476"/>
                <a:gd name="csY122" fmla="*/ 113804 h 574725"/>
                <a:gd name="csX123" fmla="*/ 117948 w 603476"/>
                <a:gd name="csY123" fmla="*/ 262587 h 574725"/>
                <a:gd name="csX124" fmla="*/ 115310 w 603476"/>
                <a:gd name="csY124" fmla="*/ 262525 h 574725"/>
                <a:gd name="csX125" fmla="*/ 112671 w 603476"/>
                <a:gd name="csY125" fmla="*/ 262587 h 574725"/>
                <a:gd name="csX126" fmla="*/ 63855 w 603476"/>
                <a:gd name="csY126" fmla="*/ 313981 h 574725"/>
                <a:gd name="csX127" fmla="*/ 115322 w 603476"/>
                <a:gd name="csY127" fmla="*/ 365448 h 574725"/>
                <a:gd name="csX128" fmla="*/ 166789 w 603476"/>
                <a:gd name="csY128" fmla="*/ 313981 h 574725"/>
                <a:gd name="csX129" fmla="*/ 117973 w 603476"/>
                <a:gd name="csY129" fmla="*/ 262587 h 574725"/>
                <a:gd name="csX130" fmla="*/ 115310 w 603476"/>
                <a:gd name="csY130" fmla="*/ 279628 h 574725"/>
                <a:gd name="csX131" fmla="*/ 118816 w 603476"/>
                <a:gd name="csY131" fmla="*/ 279812 h 574725"/>
                <a:gd name="csX132" fmla="*/ 122224 w 603476"/>
                <a:gd name="csY132" fmla="*/ 280337 h 574725"/>
                <a:gd name="csX133" fmla="*/ 123886 w 603476"/>
                <a:gd name="csY133" fmla="*/ 280716 h 574725"/>
                <a:gd name="csX134" fmla="*/ 149674 w 603476"/>
                <a:gd name="csY134" fmla="*/ 313993 h 574725"/>
                <a:gd name="csX135" fmla="*/ 115310 w 603476"/>
                <a:gd name="csY135" fmla="*/ 348357 h 574725"/>
                <a:gd name="csX136" fmla="*/ 80945 w 603476"/>
                <a:gd name="csY136" fmla="*/ 313993 h 574725"/>
                <a:gd name="csX137" fmla="*/ 106734 w 603476"/>
                <a:gd name="csY137" fmla="*/ 280716 h 574725"/>
                <a:gd name="csX138" fmla="*/ 108395 w 603476"/>
                <a:gd name="csY138" fmla="*/ 280337 h 574725"/>
                <a:gd name="csX139" fmla="*/ 111804 w 603476"/>
                <a:gd name="csY139" fmla="*/ 279812 h 574725"/>
                <a:gd name="csX140" fmla="*/ 115310 w 603476"/>
                <a:gd name="csY140" fmla="*/ 279628 h 574725"/>
                <a:gd name="csX141" fmla="*/ 602313 w 603476"/>
                <a:gd name="csY141" fmla="*/ 395903 h 574725"/>
                <a:gd name="csX142" fmla="*/ 548158 w 603476"/>
                <a:gd name="csY142" fmla="*/ 301532 h 574725"/>
                <a:gd name="csX143" fmla="*/ 504753 w 603476"/>
                <a:gd name="csY143" fmla="*/ 177158 h 574725"/>
                <a:gd name="csX144" fmla="*/ 395992 w 603476"/>
                <a:gd name="csY144" fmla="*/ 111092 h 574725"/>
                <a:gd name="csX145" fmla="*/ 395088 w 603476"/>
                <a:gd name="csY145" fmla="*/ 100366 h 574725"/>
                <a:gd name="csX146" fmla="*/ 387758 w 603476"/>
                <a:gd name="csY146" fmla="*/ 93012 h 574725"/>
                <a:gd name="csX147" fmla="*/ 368590 w 603476"/>
                <a:gd name="csY147" fmla="*/ 90410 h 574725"/>
                <a:gd name="csX148" fmla="*/ 360577 w 603476"/>
                <a:gd name="csY148" fmla="*/ 71084 h 574725"/>
                <a:gd name="csX149" fmla="*/ 372292 w 603476"/>
                <a:gd name="csY149" fmla="*/ 55703 h 574725"/>
                <a:gd name="csX150" fmla="*/ 372280 w 603476"/>
                <a:gd name="csY150" fmla="*/ 45319 h 574725"/>
                <a:gd name="csX151" fmla="*/ 350767 w 603476"/>
                <a:gd name="csY151" fmla="*/ 23807 h 574725"/>
                <a:gd name="csX152" fmla="*/ 340383 w 603476"/>
                <a:gd name="csY152" fmla="*/ 23794 h 574725"/>
                <a:gd name="csX153" fmla="*/ 325003 w 603476"/>
                <a:gd name="csY153" fmla="*/ 35510 h 574725"/>
                <a:gd name="csX154" fmla="*/ 305676 w 603476"/>
                <a:gd name="csY154" fmla="*/ 27496 h 574725"/>
                <a:gd name="csX155" fmla="*/ 303074 w 603476"/>
                <a:gd name="csY155" fmla="*/ 8328 h 574725"/>
                <a:gd name="csX156" fmla="*/ 295720 w 603476"/>
                <a:gd name="csY156" fmla="*/ 999 h 574725"/>
                <a:gd name="csX157" fmla="*/ 265302 w 603476"/>
                <a:gd name="csY157" fmla="*/ 999 h 574725"/>
                <a:gd name="csX158" fmla="*/ 257947 w 603476"/>
                <a:gd name="csY158" fmla="*/ 8328 h 574725"/>
                <a:gd name="csX159" fmla="*/ 255345 w 603476"/>
                <a:gd name="csY159" fmla="*/ 27496 h 574725"/>
                <a:gd name="csX160" fmla="*/ 236019 w 603476"/>
                <a:gd name="csY160" fmla="*/ 35510 h 574725"/>
                <a:gd name="csX161" fmla="*/ 220639 w 603476"/>
                <a:gd name="csY161" fmla="*/ 23794 h 574725"/>
                <a:gd name="csX162" fmla="*/ 210255 w 603476"/>
                <a:gd name="csY162" fmla="*/ 23807 h 574725"/>
                <a:gd name="csX163" fmla="*/ 188742 w 603476"/>
                <a:gd name="csY163" fmla="*/ 45319 h 574725"/>
                <a:gd name="csX164" fmla="*/ 188730 w 603476"/>
                <a:gd name="csY164" fmla="*/ 55703 h 574725"/>
                <a:gd name="csX165" fmla="*/ 200445 w 603476"/>
                <a:gd name="csY165" fmla="*/ 71084 h 574725"/>
                <a:gd name="csX166" fmla="*/ 192431 w 603476"/>
                <a:gd name="csY166" fmla="*/ 90410 h 574725"/>
                <a:gd name="csX167" fmla="*/ 173264 w 603476"/>
                <a:gd name="csY167" fmla="*/ 93012 h 574725"/>
                <a:gd name="csX168" fmla="*/ 165934 w 603476"/>
                <a:gd name="csY168" fmla="*/ 100366 h 574725"/>
                <a:gd name="csX169" fmla="*/ 165934 w 603476"/>
                <a:gd name="csY169" fmla="*/ 130785 h 574725"/>
                <a:gd name="csX170" fmla="*/ 173264 w 603476"/>
                <a:gd name="csY170" fmla="*/ 138139 h 574725"/>
                <a:gd name="csX171" fmla="*/ 192419 w 603476"/>
                <a:gd name="csY171" fmla="*/ 140741 h 574725"/>
                <a:gd name="csX172" fmla="*/ 200433 w 603476"/>
                <a:gd name="csY172" fmla="*/ 160067 h 574725"/>
                <a:gd name="csX173" fmla="*/ 188718 w 603476"/>
                <a:gd name="csY173" fmla="*/ 175448 h 574725"/>
                <a:gd name="csX174" fmla="*/ 188742 w 603476"/>
                <a:gd name="csY174" fmla="*/ 185831 h 574725"/>
                <a:gd name="csX175" fmla="*/ 195864 w 603476"/>
                <a:gd name="csY175" fmla="*/ 194248 h 574725"/>
                <a:gd name="csX176" fmla="*/ 181461 w 603476"/>
                <a:gd name="csY176" fmla="*/ 220733 h 574725"/>
                <a:gd name="csX177" fmla="*/ 175060 w 603476"/>
                <a:gd name="csY177" fmla="*/ 222383 h 574725"/>
                <a:gd name="csX178" fmla="*/ 159716 w 603476"/>
                <a:gd name="csY178" fmla="*/ 234061 h 574725"/>
                <a:gd name="csX179" fmla="*/ 140451 w 603476"/>
                <a:gd name="csY179" fmla="*/ 226072 h 574725"/>
                <a:gd name="csX180" fmla="*/ 137861 w 603476"/>
                <a:gd name="csY180" fmla="*/ 206966 h 574725"/>
                <a:gd name="csX181" fmla="*/ 130507 w 603476"/>
                <a:gd name="csY181" fmla="*/ 199636 h 574725"/>
                <a:gd name="csX182" fmla="*/ 100149 w 603476"/>
                <a:gd name="csY182" fmla="*/ 199636 h 574725"/>
                <a:gd name="csX183" fmla="*/ 92795 w 603476"/>
                <a:gd name="csY183" fmla="*/ 206966 h 574725"/>
                <a:gd name="csX184" fmla="*/ 90205 w 603476"/>
                <a:gd name="csY184" fmla="*/ 226072 h 574725"/>
                <a:gd name="csX185" fmla="*/ 70940 w 603476"/>
                <a:gd name="csY185" fmla="*/ 234061 h 574725"/>
                <a:gd name="csX186" fmla="*/ 55596 w 603476"/>
                <a:gd name="csY186" fmla="*/ 222383 h 574725"/>
                <a:gd name="csX187" fmla="*/ 45213 w 603476"/>
                <a:gd name="csY187" fmla="*/ 222395 h 574725"/>
                <a:gd name="csX188" fmla="*/ 23749 w 603476"/>
                <a:gd name="csY188" fmla="*/ 243859 h 574725"/>
                <a:gd name="csX189" fmla="*/ 23736 w 603476"/>
                <a:gd name="csY189" fmla="*/ 254243 h 574725"/>
                <a:gd name="csX190" fmla="*/ 35415 w 603476"/>
                <a:gd name="csY190" fmla="*/ 269586 h 574725"/>
                <a:gd name="csX191" fmla="*/ 27426 w 603476"/>
                <a:gd name="csY191" fmla="*/ 288852 h 574725"/>
                <a:gd name="csX192" fmla="*/ 8319 w 603476"/>
                <a:gd name="csY192" fmla="*/ 291441 h 574725"/>
                <a:gd name="csX193" fmla="*/ 990 w 603476"/>
                <a:gd name="csY193" fmla="*/ 298796 h 574725"/>
                <a:gd name="csX194" fmla="*/ 990 w 603476"/>
                <a:gd name="csY194" fmla="*/ 329153 h 574725"/>
                <a:gd name="csX195" fmla="*/ 8319 w 603476"/>
                <a:gd name="csY195" fmla="*/ 336507 h 574725"/>
                <a:gd name="csX196" fmla="*/ 27426 w 603476"/>
                <a:gd name="csY196" fmla="*/ 339097 h 574725"/>
                <a:gd name="csX197" fmla="*/ 35415 w 603476"/>
                <a:gd name="csY197" fmla="*/ 358362 h 574725"/>
                <a:gd name="csX198" fmla="*/ 23736 w 603476"/>
                <a:gd name="csY198" fmla="*/ 373706 h 574725"/>
                <a:gd name="csX199" fmla="*/ 23749 w 603476"/>
                <a:gd name="csY199" fmla="*/ 384090 h 574725"/>
                <a:gd name="csX200" fmla="*/ 45225 w 603476"/>
                <a:gd name="csY200" fmla="*/ 405566 h 574725"/>
                <a:gd name="csX201" fmla="*/ 55609 w 603476"/>
                <a:gd name="csY201" fmla="*/ 405578 h 574725"/>
                <a:gd name="csX202" fmla="*/ 70952 w 603476"/>
                <a:gd name="csY202" fmla="*/ 393900 h 574725"/>
                <a:gd name="csX203" fmla="*/ 90217 w 603476"/>
                <a:gd name="csY203" fmla="*/ 401889 h 574725"/>
                <a:gd name="csX204" fmla="*/ 92807 w 603476"/>
                <a:gd name="csY204" fmla="*/ 420995 h 574725"/>
                <a:gd name="csX205" fmla="*/ 100162 w 603476"/>
                <a:gd name="csY205" fmla="*/ 428325 h 574725"/>
                <a:gd name="csX206" fmla="*/ 115334 w 603476"/>
                <a:gd name="csY206" fmla="*/ 429315 h 574725"/>
                <a:gd name="csX207" fmla="*/ 130507 w 603476"/>
                <a:gd name="csY207" fmla="*/ 428325 h 574725"/>
                <a:gd name="csX208" fmla="*/ 137861 w 603476"/>
                <a:gd name="csY208" fmla="*/ 420995 h 574725"/>
                <a:gd name="csX209" fmla="*/ 140451 w 603476"/>
                <a:gd name="csY209" fmla="*/ 401889 h 574725"/>
                <a:gd name="csX210" fmla="*/ 159716 w 603476"/>
                <a:gd name="csY210" fmla="*/ 393900 h 574725"/>
                <a:gd name="csX211" fmla="*/ 175060 w 603476"/>
                <a:gd name="csY211" fmla="*/ 405578 h 574725"/>
                <a:gd name="csX212" fmla="*/ 185444 w 603476"/>
                <a:gd name="csY212" fmla="*/ 405566 h 574725"/>
                <a:gd name="csX213" fmla="*/ 193286 w 603476"/>
                <a:gd name="csY213" fmla="*/ 398957 h 574725"/>
                <a:gd name="csX214" fmla="*/ 260830 w 603476"/>
                <a:gd name="csY214" fmla="*/ 464669 h 574725"/>
                <a:gd name="csX215" fmla="*/ 260830 w 603476"/>
                <a:gd name="csY215" fmla="*/ 566174 h 574725"/>
                <a:gd name="csX216" fmla="*/ 269382 w 603476"/>
                <a:gd name="csY216" fmla="*/ 574725 h 574725"/>
                <a:gd name="csX217" fmla="*/ 461764 w 603476"/>
                <a:gd name="csY217" fmla="*/ 574725 h 574725"/>
                <a:gd name="csX218" fmla="*/ 470316 w 603476"/>
                <a:gd name="csY218" fmla="*/ 566174 h 574725"/>
                <a:gd name="csX219" fmla="*/ 470316 w 603476"/>
                <a:gd name="csY219" fmla="*/ 508452 h 574725"/>
                <a:gd name="csX220" fmla="*/ 479869 w 603476"/>
                <a:gd name="csY220" fmla="*/ 508452 h 574725"/>
                <a:gd name="csX221" fmla="*/ 535184 w 603476"/>
                <a:gd name="csY221" fmla="*/ 453137 h 574725"/>
                <a:gd name="csX222" fmla="*/ 535184 w 603476"/>
                <a:gd name="csY222" fmla="*/ 408706 h 574725"/>
                <a:gd name="csX223" fmla="*/ 594922 w 603476"/>
                <a:gd name="csY223" fmla="*/ 408706 h 574725"/>
                <a:gd name="csX224" fmla="*/ 602325 w 603476"/>
                <a:gd name="csY224" fmla="*/ 404442 h 574725"/>
                <a:gd name="csX225" fmla="*/ 602337 w 603476"/>
                <a:gd name="csY225" fmla="*/ 395903 h 574725"/>
                <a:gd name="csX226" fmla="*/ 182231 w 603476"/>
                <a:gd name="csY226" fmla="*/ 122099 h 574725"/>
                <a:gd name="csX227" fmla="*/ 182231 w 603476"/>
                <a:gd name="csY227" fmla="*/ 109052 h 574725"/>
                <a:gd name="csX228" fmla="*/ 200445 w 603476"/>
                <a:gd name="csY228" fmla="*/ 106584 h 574725"/>
                <a:gd name="csX229" fmla="*/ 207653 w 603476"/>
                <a:gd name="csY229" fmla="*/ 99902 h 574725"/>
                <a:gd name="csX230" fmla="*/ 217915 w 603476"/>
                <a:gd name="csY230" fmla="*/ 75164 h 574725"/>
                <a:gd name="csX231" fmla="*/ 217536 w 603476"/>
                <a:gd name="csY231" fmla="*/ 65342 h 574725"/>
                <a:gd name="csX232" fmla="*/ 206407 w 603476"/>
                <a:gd name="csY232" fmla="*/ 50719 h 574725"/>
                <a:gd name="csX233" fmla="*/ 215642 w 603476"/>
                <a:gd name="csY233" fmla="*/ 41484 h 574725"/>
                <a:gd name="csX234" fmla="*/ 230265 w 603476"/>
                <a:gd name="csY234" fmla="*/ 52613 h 574725"/>
                <a:gd name="csX235" fmla="*/ 240087 w 603476"/>
                <a:gd name="csY235" fmla="*/ 52991 h 574725"/>
                <a:gd name="csX236" fmla="*/ 264825 w 603476"/>
                <a:gd name="csY236" fmla="*/ 42742 h 574725"/>
                <a:gd name="csX237" fmla="*/ 271507 w 603476"/>
                <a:gd name="csY237" fmla="*/ 35534 h 574725"/>
                <a:gd name="csX238" fmla="*/ 273975 w 603476"/>
                <a:gd name="csY238" fmla="*/ 17320 h 574725"/>
                <a:gd name="csX239" fmla="*/ 287022 w 603476"/>
                <a:gd name="csY239" fmla="*/ 17320 h 574725"/>
                <a:gd name="csX240" fmla="*/ 289490 w 603476"/>
                <a:gd name="csY240" fmla="*/ 35534 h 574725"/>
                <a:gd name="csX241" fmla="*/ 296172 w 603476"/>
                <a:gd name="csY241" fmla="*/ 42742 h 574725"/>
                <a:gd name="csX242" fmla="*/ 320910 w 603476"/>
                <a:gd name="csY242" fmla="*/ 52991 h 574725"/>
                <a:gd name="csX243" fmla="*/ 330732 w 603476"/>
                <a:gd name="csY243" fmla="*/ 52613 h 574725"/>
                <a:gd name="csX244" fmla="*/ 345355 w 603476"/>
                <a:gd name="csY244" fmla="*/ 41484 h 574725"/>
                <a:gd name="csX245" fmla="*/ 354591 w 603476"/>
                <a:gd name="csY245" fmla="*/ 50719 h 574725"/>
                <a:gd name="csX246" fmla="*/ 343462 w 603476"/>
                <a:gd name="csY246" fmla="*/ 65342 h 574725"/>
                <a:gd name="csX247" fmla="*/ 343083 w 603476"/>
                <a:gd name="csY247" fmla="*/ 75164 h 574725"/>
                <a:gd name="csX248" fmla="*/ 353345 w 603476"/>
                <a:gd name="csY248" fmla="*/ 99902 h 574725"/>
                <a:gd name="csX249" fmla="*/ 360552 w 603476"/>
                <a:gd name="csY249" fmla="*/ 106584 h 574725"/>
                <a:gd name="csX250" fmla="*/ 378767 w 603476"/>
                <a:gd name="csY250" fmla="*/ 109052 h 574725"/>
                <a:gd name="csX251" fmla="*/ 378767 w 603476"/>
                <a:gd name="csY251" fmla="*/ 122099 h 574725"/>
                <a:gd name="csX252" fmla="*/ 360552 w 603476"/>
                <a:gd name="csY252" fmla="*/ 124567 h 574725"/>
                <a:gd name="csX253" fmla="*/ 353345 w 603476"/>
                <a:gd name="csY253" fmla="*/ 131249 h 574725"/>
                <a:gd name="csX254" fmla="*/ 343095 w 603476"/>
                <a:gd name="csY254" fmla="*/ 155987 h 574725"/>
                <a:gd name="csX255" fmla="*/ 343474 w 603476"/>
                <a:gd name="csY255" fmla="*/ 165809 h 574725"/>
                <a:gd name="csX256" fmla="*/ 354603 w 603476"/>
                <a:gd name="csY256" fmla="*/ 180432 h 574725"/>
                <a:gd name="csX257" fmla="*/ 345367 w 603476"/>
                <a:gd name="csY257" fmla="*/ 189667 h 574725"/>
                <a:gd name="csX258" fmla="*/ 330744 w 603476"/>
                <a:gd name="csY258" fmla="*/ 178538 h 574725"/>
                <a:gd name="csX259" fmla="*/ 320922 w 603476"/>
                <a:gd name="csY259" fmla="*/ 178160 h 574725"/>
                <a:gd name="csX260" fmla="*/ 296184 w 603476"/>
                <a:gd name="csY260" fmla="*/ 188421 h 574725"/>
                <a:gd name="csX261" fmla="*/ 289502 w 603476"/>
                <a:gd name="csY261" fmla="*/ 195629 h 574725"/>
                <a:gd name="csX262" fmla="*/ 287034 w 603476"/>
                <a:gd name="csY262" fmla="*/ 213831 h 574725"/>
                <a:gd name="csX263" fmla="*/ 273987 w 603476"/>
                <a:gd name="csY263" fmla="*/ 213831 h 574725"/>
                <a:gd name="csX264" fmla="*/ 271520 w 603476"/>
                <a:gd name="csY264" fmla="*/ 195617 h 574725"/>
                <a:gd name="csX265" fmla="*/ 264837 w 603476"/>
                <a:gd name="csY265" fmla="*/ 188409 h 574725"/>
                <a:gd name="csX266" fmla="*/ 240099 w 603476"/>
                <a:gd name="csY266" fmla="*/ 178160 h 574725"/>
                <a:gd name="csX267" fmla="*/ 230277 w 603476"/>
                <a:gd name="csY267" fmla="*/ 178538 h 574725"/>
                <a:gd name="csX268" fmla="*/ 215655 w 603476"/>
                <a:gd name="csY268" fmla="*/ 189667 h 574725"/>
                <a:gd name="csX269" fmla="*/ 206419 w 603476"/>
                <a:gd name="csY269" fmla="*/ 180432 h 574725"/>
                <a:gd name="csX270" fmla="*/ 217548 w 603476"/>
                <a:gd name="csY270" fmla="*/ 165809 h 574725"/>
                <a:gd name="csX271" fmla="*/ 217927 w 603476"/>
                <a:gd name="csY271" fmla="*/ 155987 h 574725"/>
                <a:gd name="csX272" fmla="*/ 207665 w 603476"/>
                <a:gd name="csY272" fmla="*/ 131249 h 574725"/>
                <a:gd name="csX273" fmla="*/ 200457 w 603476"/>
                <a:gd name="csY273" fmla="*/ 124567 h 574725"/>
                <a:gd name="csX274" fmla="*/ 182255 w 603476"/>
                <a:gd name="csY274" fmla="*/ 122099 h 574725"/>
                <a:gd name="csX275" fmla="*/ 180020 w 603476"/>
                <a:gd name="csY275" fmla="*/ 387889 h 574725"/>
                <a:gd name="csX276" fmla="*/ 165445 w 603476"/>
                <a:gd name="csY276" fmla="*/ 376797 h 574725"/>
                <a:gd name="csX277" fmla="*/ 155624 w 603476"/>
                <a:gd name="csY277" fmla="*/ 376418 h 574725"/>
                <a:gd name="csX278" fmla="*/ 130947 w 603476"/>
                <a:gd name="csY278" fmla="*/ 386655 h 574725"/>
                <a:gd name="csX279" fmla="*/ 124264 w 603476"/>
                <a:gd name="csY279" fmla="*/ 393863 h 574725"/>
                <a:gd name="csX280" fmla="*/ 121809 w 603476"/>
                <a:gd name="csY280" fmla="*/ 412016 h 574725"/>
                <a:gd name="csX281" fmla="*/ 108823 w 603476"/>
                <a:gd name="csY281" fmla="*/ 412016 h 574725"/>
                <a:gd name="csX282" fmla="*/ 106367 w 603476"/>
                <a:gd name="csY282" fmla="*/ 393863 h 574725"/>
                <a:gd name="csX283" fmla="*/ 99685 w 603476"/>
                <a:gd name="csY283" fmla="*/ 386655 h 574725"/>
                <a:gd name="csX284" fmla="*/ 75008 w 603476"/>
                <a:gd name="csY284" fmla="*/ 376430 h 574725"/>
                <a:gd name="csX285" fmla="*/ 65186 w 603476"/>
                <a:gd name="csY285" fmla="*/ 376809 h 574725"/>
                <a:gd name="csX286" fmla="*/ 50612 w 603476"/>
                <a:gd name="csY286" fmla="*/ 387914 h 574725"/>
                <a:gd name="csX287" fmla="*/ 41426 w 603476"/>
                <a:gd name="csY287" fmla="*/ 378727 h 574725"/>
                <a:gd name="csX288" fmla="*/ 52518 w 603476"/>
                <a:gd name="csY288" fmla="*/ 364153 h 574725"/>
                <a:gd name="csX289" fmla="*/ 52897 w 603476"/>
                <a:gd name="csY289" fmla="*/ 354331 h 574725"/>
                <a:gd name="csX290" fmla="*/ 42659 w 603476"/>
                <a:gd name="csY290" fmla="*/ 329654 h 574725"/>
                <a:gd name="csX291" fmla="*/ 35452 w 603476"/>
                <a:gd name="csY291" fmla="*/ 322972 h 574725"/>
                <a:gd name="csX292" fmla="*/ 17298 w 603476"/>
                <a:gd name="csY292" fmla="*/ 320516 h 574725"/>
                <a:gd name="csX293" fmla="*/ 17298 w 603476"/>
                <a:gd name="csY293" fmla="*/ 307530 h 574725"/>
                <a:gd name="csX294" fmla="*/ 35452 w 603476"/>
                <a:gd name="csY294" fmla="*/ 305075 h 574725"/>
                <a:gd name="csX295" fmla="*/ 42659 w 603476"/>
                <a:gd name="csY295" fmla="*/ 298393 h 574725"/>
                <a:gd name="csX296" fmla="*/ 52884 w 603476"/>
                <a:gd name="csY296" fmla="*/ 273716 h 574725"/>
                <a:gd name="csX297" fmla="*/ 52506 w 603476"/>
                <a:gd name="csY297" fmla="*/ 263894 h 574725"/>
                <a:gd name="csX298" fmla="*/ 41401 w 603476"/>
                <a:gd name="csY298" fmla="*/ 249320 h 574725"/>
                <a:gd name="csX299" fmla="*/ 50588 w 603476"/>
                <a:gd name="csY299" fmla="*/ 240133 h 574725"/>
                <a:gd name="csX300" fmla="*/ 65162 w 603476"/>
                <a:gd name="csY300" fmla="*/ 251238 h 574725"/>
                <a:gd name="csX301" fmla="*/ 74984 w 603476"/>
                <a:gd name="csY301" fmla="*/ 251616 h 574725"/>
                <a:gd name="csX302" fmla="*/ 99661 w 603476"/>
                <a:gd name="csY302" fmla="*/ 241391 h 574725"/>
                <a:gd name="csX303" fmla="*/ 106343 w 603476"/>
                <a:gd name="csY303" fmla="*/ 234184 h 574725"/>
                <a:gd name="csX304" fmla="*/ 108798 w 603476"/>
                <a:gd name="csY304" fmla="*/ 216030 h 574725"/>
                <a:gd name="csX305" fmla="*/ 121784 w 603476"/>
                <a:gd name="csY305" fmla="*/ 216030 h 574725"/>
                <a:gd name="csX306" fmla="*/ 124240 w 603476"/>
                <a:gd name="csY306" fmla="*/ 234184 h 574725"/>
                <a:gd name="csX307" fmla="*/ 130922 w 603476"/>
                <a:gd name="csY307" fmla="*/ 241391 h 574725"/>
                <a:gd name="csX308" fmla="*/ 155599 w 603476"/>
                <a:gd name="csY308" fmla="*/ 251616 h 574725"/>
                <a:gd name="csX309" fmla="*/ 165421 w 603476"/>
                <a:gd name="csY309" fmla="*/ 251238 h 574725"/>
                <a:gd name="csX310" fmla="*/ 179995 w 603476"/>
                <a:gd name="csY310" fmla="*/ 240133 h 574725"/>
                <a:gd name="csX311" fmla="*/ 189182 w 603476"/>
                <a:gd name="csY311" fmla="*/ 249320 h 574725"/>
                <a:gd name="csX312" fmla="*/ 178077 w 603476"/>
                <a:gd name="csY312" fmla="*/ 263894 h 574725"/>
                <a:gd name="csX313" fmla="*/ 177698 w 603476"/>
                <a:gd name="csY313" fmla="*/ 273716 h 574725"/>
                <a:gd name="csX314" fmla="*/ 187936 w 603476"/>
                <a:gd name="csY314" fmla="*/ 298393 h 574725"/>
                <a:gd name="csX315" fmla="*/ 195143 w 603476"/>
                <a:gd name="csY315" fmla="*/ 305075 h 574725"/>
                <a:gd name="csX316" fmla="*/ 213297 w 603476"/>
                <a:gd name="csY316" fmla="*/ 307530 h 574725"/>
                <a:gd name="csX317" fmla="*/ 213297 w 603476"/>
                <a:gd name="csY317" fmla="*/ 320516 h 574725"/>
                <a:gd name="csX318" fmla="*/ 195143 w 603476"/>
                <a:gd name="csY318" fmla="*/ 322972 h 574725"/>
                <a:gd name="csX319" fmla="*/ 187936 w 603476"/>
                <a:gd name="csY319" fmla="*/ 329654 h 574725"/>
                <a:gd name="csX320" fmla="*/ 177711 w 603476"/>
                <a:gd name="csY320" fmla="*/ 354331 h 574725"/>
                <a:gd name="csX321" fmla="*/ 178089 w 603476"/>
                <a:gd name="csY321" fmla="*/ 364153 h 574725"/>
                <a:gd name="csX322" fmla="*/ 189182 w 603476"/>
                <a:gd name="csY322" fmla="*/ 378727 h 574725"/>
                <a:gd name="csX323" fmla="*/ 179995 w 603476"/>
                <a:gd name="csY323" fmla="*/ 387914 h 574725"/>
                <a:gd name="csX324" fmla="*/ 526608 w 603476"/>
                <a:gd name="csY324" fmla="*/ 391603 h 574725"/>
                <a:gd name="csX325" fmla="*/ 518057 w 603476"/>
                <a:gd name="csY325" fmla="*/ 400154 h 574725"/>
                <a:gd name="csX326" fmla="*/ 518057 w 603476"/>
                <a:gd name="csY326" fmla="*/ 453137 h 574725"/>
                <a:gd name="csX327" fmla="*/ 479844 w 603476"/>
                <a:gd name="csY327" fmla="*/ 491349 h 574725"/>
                <a:gd name="csX328" fmla="*/ 461740 w 603476"/>
                <a:gd name="csY328" fmla="*/ 491349 h 574725"/>
                <a:gd name="csX329" fmla="*/ 453188 w 603476"/>
                <a:gd name="csY329" fmla="*/ 499901 h 574725"/>
                <a:gd name="csX330" fmla="*/ 453188 w 603476"/>
                <a:gd name="csY330" fmla="*/ 557623 h 574725"/>
                <a:gd name="csX331" fmla="*/ 277921 w 603476"/>
                <a:gd name="csY331" fmla="*/ 557623 h 574725"/>
                <a:gd name="csX332" fmla="*/ 277921 w 603476"/>
                <a:gd name="csY332" fmla="*/ 459660 h 574725"/>
                <a:gd name="csX333" fmla="*/ 273450 w 603476"/>
                <a:gd name="csY333" fmla="*/ 452147 h 574725"/>
                <a:gd name="csX334" fmla="*/ 205417 w 603476"/>
                <a:gd name="csY334" fmla="*/ 385971 h 574725"/>
                <a:gd name="csX335" fmla="*/ 206895 w 603476"/>
                <a:gd name="csY335" fmla="*/ 384102 h 574725"/>
                <a:gd name="csX336" fmla="*/ 206908 w 603476"/>
                <a:gd name="csY336" fmla="*/ 373718 h 574725"/>
                <a:gd name="csX337" fmla="*/ 195229 w 603476"/>
                <a:gd name="csY337" fmla="*/ 358375 h 574725"/>
                <a:gd name="csX338" fmla="*/ 203218 w 603476"/>
                <a:gd name="csY338" fmla="*/ 339109 h 574725"/>
                <a:gd name="csX339" fmla="*/ 222325 w 603476"/>
                <a:gd name="csY339" fmla="*/ 336520 h 574725"/>
                <a:gd name="csX340" fmla="*/ 229654 w 603476"/>
                <a:gd name="csY340" fmla="*/ 329165 h 574725"/>
                <a:gd name="csX341" fmla="*/ 229654 w 603476"/>
                <a:gd name="csY341" fmla="*/ 298808 h 574725"/>
                <a:gd name="csX342" fmla="*/ 222325 w 603476"/>
                <a:gd name="csY342" fmla="*/ 291454 h 574725"/>
                <a:gd name="csX343" fmla="*/ 203218 w 603476"/>
                <a:gd name="csY343" fmla="*/ 288864 h 574725"/>
                <a:gd name="csX344" fmla="*/ 195229 w 603476"/>
                <a:gd name="csY344" fmla="*/ 269599 h 574725"/>
                <a:gd name="csX345" fmla="*/ 206908 w 603476"/>
                <a:gd name="csY345" fmla="*/ 254255 h 574725"/>
                <a:gd name="csX346" fmla="*/ 206895 w 603476"/>
                <a:gd name="csY346" fmla="*/ 243871 h 574725"/>
                <a:gd name="csX347" fmla="*/ 195559 w 603476"/>
                <a:gd name="csY347" fmla="*/ 231166 h 574725"/>
                <a:gd name="csX348" fmla="*/ 208606 w 603476"/>
                <a:gd name="csY348" fmla="*/ 206062 h 574725"/>
                <a:gd name="csX349" fmla="*/ 210243 w 603476"/>
                <a:gd name="csY349" fmla="*/ 207357 h 574725"/>
                <a:gd name="csX350" fmla="*/ 220627 w 603476"/>
                <a:gd name="csY350" fmla="*/ 207369 h 574725"/>
                <a:gd name="csX351" fmla="*/ 236007 w 603476"/>
                <a:gd name="csY351" fmla="*/ 195653 h 574725"/>
                <a:gd name="csX352" fmla="*/ 255333 w 603476"/>
                <a:gd name="csY352" fmla="*/ 203667 h 574725"/>
                <a:gd name="csX353" fmla="*/ 257923 w 603476"/>
                <a:gd name="csY353" fmla="*/ 222835 h 574725"/>
                <a:gd name="csX354" fmla="*/ 265277 w 603476"/>
                <a:gd name="csY354" fmla="*/ 230164 h 574725"/>
                <a:gd name="csX355" fmla="*/ 280486 w 603476"/>
                <a:gd name="csY355" fmla="*/ 231166 h 574725"/>
                <a:gd name="csX356" fmla="*/ 295684 w 603476"/>
                <a:gd name="csY356" fmla="*/ 230177 h 574725"/>
                <a:gd name="csX357" fmla="*/ 303038 w 603476"/>
                <a:gd name="csY357" fmla="*/ 222847 h 574725"/>
                <a:gd name="csX358" fmla="*/ 305628 w 603476"/>
                <a:gd name="csY358" fmla="*/ 203692 h 574725"/>
                <a:gd name="csX359" fmla="*/ 324954 w 603476"/>
                <a:gd name="csY359" fmla="*/ 195678 h 574725"/>
                <a:gd name="csX360" fmla="*/ 340334 w 603476"/>
                <a:gd name="csY360" fmla="*/ 207393 h 574725"/>
                <a:gd name="csX361" fmla="*/ 350718 w 603476"/>
                <a:gd name="csY361" fmla="*/ 207381 h 574725"/>
                <a:gd name="csX362" fmla="*/ 372231 w 603476"/>
                <a:gd name="csY362" fmla="*/ 185868 h 574725"/>
                <a:gd name="csX363" fmla="*/ 372243 w 603476"/>
                <a:gd name="csY363" fmla="*/ 175484 h 574725"/>
                <a:gd name="csX364" fmla="*/ 360528 w 603476"/>
                <a:gd name="csY364" fmla="*/ 160104 h 574725"/>
                <a:gd name="csX365" fmla="*/ 368542 w 603476"/>
                <a:gd name="csY365" fmla="*/ 140778 h 574725"/>
                <a:gd name="csX366" fmla="*/ 387709 w 603476"/>
                <a:gd name="csY366" fmla="*/ 138176 h 574725"/>
                <a:gd name="csX367" fmla="*/ 395039 w 603476"/>
                <a:gd name="csY367" fmla="*/ 130821 h 574725"/>
                <a:gd name="csX368" fmla="*/ 395308 w 603476"/>
                <a:gd name="csY368" fmla="*/ 128500 h 574725"/>
                <a:gd name="csX369" fmla="*/ 530957 w 603476"/>
                <a:gd name="csY369" fmla="*/ 303536 h 574725"/>
                <a:gd name="csX370" fmla="*/ 532094 w 603476"/>
                <a:gd name="csY370" fmla="*/ 308031 h 574725"/>
                <a:gd name="csX371" fmla="*/ 580079 w 603476"/>
                <a:gd name="csY371" fmla="*/ 391652 h 574725"/>
                <a:gd name="csX372" fmla="*/ 526560 w 603476"/>
                <a:gd name="csY372" fmla="*/ 391652 h 57472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 ang="0">
                  <a:pos x="csX322" y="csY322"/>
                </a:cxn>
                <a:cxn ang="0">
                  <a:pos x="csX323" y="csY323"/>
                </a:cxn>
                <a:cxn ang="0">
                  <a:pos x="csX324" y="csY324"/>
                </a:cxn>
                <a:cxn ang="0">
                  <a:pos x="csX325" y="csY325"/>
                </a:cxn>
                <a:cxn ang="0">
                  <a:pos x="csX326" y="csY326"/>
                </a:cxn>
                <a:cxn ang="0">
                  <a:pos x="csX327" y="csY327"/>
                </a:cxn>
                <a:cxn ang="0">
                  <a:pos x="csX328" y="csY328"/>
                </a:cxn>
                <a:cxn ang="0">
                  <a:pos x="csX329" y="csY329"/>
                </a:cxn>
                <a:cxn ang="0">
                  <a:pos x="csX330" y="csY330"/>
                </a:cxn>
                <a:cxn ang="0">
                  <a:pos x="csX331" y="csY331"/>
                </a:cxn>
                <a:cxn ang="0">
                  <a:pos x="csX332" y="csY332"/>
                </a:cxn>
                <a:cxn ang="0">
                  <a:pos x="csX333" y="csY333"/>
                </a:cxn>
                <a:cxn ang="0">
                  <a:pos x="csX334" y="csY334"/>
                </a:cxn>
                <a:cxn ang="0">
                  <a:pos x="csX335" y="csY335"/>
                </a:cxn>
                <a:cxn ang="0">
                  <a:pos x="csX336" y="csY336"/>
                </a:cxn>
                <a:cxn ang="0">
                  <a:pos x="csX337" y="csY337"/>
                </a:cxn>
                <a:cxn ang="0">
                  <a:pos x="csX338" y="csY338"/>
                </a:cxn>
                <a:cxn ang="0">
                  <a:pos x="csX339" y="csY339"/>
                </a:cxn>
                <a:cxn ang="0">
                  <a:pos x="csX340" y="csY340"/>
                </a:cxn>
                <a:cxn ang="0">
                  <a:pos x="csX341" y="csY341"/>
                </a:cxn>
                <a:cxn ang="0">
                  <a:pos x="csX342" y="csY342"/>
                </a:cxn>
                <a:cxn ang="0">
                  <a:pos x="csX343" y="csY343"/>
                </a:cxn>
                <a:cxn ang="0">
                  <a:pos x="csX344" y="csY344"/>
                </a:cxn>
                <a:cxn ang="0">
                  <a:pos x="csX345" y="csY345"/>
                </a:cxn>
                <a:cxn ang="0">
                  <a:pos x="csX346" y="csY346"/>
                </a:cxn>
                <a:cxn ang="0">
                  <a:pos x="csX347" y="csY347"/>
                </a:cxn>
                <a:cxn ang="0">
                  <a:pos x="csX348" y="csY348"/>
                </a:cxn>
                <a:cxn ang="0">
                  <a:pos x="csX349" y="csY349"/>
                </a:cxn>
                <a:cxn ang="0">
                  <a:pos x="csX350" y="csY350"/>
                </a:cxn>
                <a:cxn ang="0">
                  <a:pos x="csX351" y="csY351"/>
                </a:cxn>
                <a:cxn ang="0">
                  <a:pos x="csX352" y="csY352"/>
                </a:cxn>
                <a:cxn ang="0">
                  <a:pos x="csX353" y="csY353"/>
                </a:cxn>
                <a:cxn ang="0">
                  <a:pos x="csX354" y="csY354"/>
                </a:cxn>
                <a:cxn ang="0">
                  <a:pos x="csX355" y="csY355"/>
                </a:cxn>
                <a:cxn ang="0">
                  <a:pos x="csX356" y="csY356"/>
                </a:cxn>
                <a:cxn ang="0">
                  <a:pos x="csX357" y="csY357"/>
                </a:cxn>
                <a:cxn ang="0">
                  <a:pos x="csX358" y="csY358"/>
                </a:cxn>
                <a:cxn ang="0">
                  <a:pos x="csX359" y="csY359"/>
                </a:cxn>
                <a:cxn ang="0">
                  <a:pos x="csX360" y="csY360"/>
                </a:cxn>
                <a:cxn ang="0">
                  <a:pos x="csX361" y="csY361"/>
                </a:cxn>
                <a:cxn ang="0">
                  <a:pos x="csX362" y="csY362"/>
                </a:cxn>
                <a:cxn ang="0">
                  <a:pos x="csX363" y="csY363"/>
                </a:cxn>
                <a:cxn ang="0">
                  <a:pos x="csX364" y="csY364"/>
                </a:cxn>
                <a:cxn ang="0">
                  <a:pos x="csX365" y="csY365"/>
                </a:cxn>
                <a:cxn ang="0">
                  <a:pos x="csX366" y="csY366"/>
                </a:cxn>
                <a:cxn ang="0">
                  <a:pos x="csX367" y="csY367"/>
                </a:cxn>
                <a:cxn ang="0">
                  <a:pos x="csX368" y="csY368"/>
                </a:cxn>
                <a:cxn ang="0">
                  <a:pos x="csX369" y="csY369"/>
                </a:cxn>
                <a:cxn ang="0">
                  <a:pos x="csX370" y="csY370"/>
                </a:cxn>
                <a:cxn ang="0">
                  <a:pos x="csX371" y="csY371"/>
                </a:cxn>
                <a:cxn ang="0">
                  <a:pos x="csX372" y="csY372"/>
                </a:cxn>
              </a:cxnLst>
              <a:rect l="l" t="t" r="r" b="b"/>
              <a:pathLst>
                <a:path w="603476" h="574725">
                  <a:moveTo>
                    <a:pt x="479783" y="307567"/>
                  </a:moveTo>
                  <a:lnTo>
                    <a:pt x="460616" y="304965"/>
                  </a:lnTo>
                  <a:cubicBezTo>
                    <a:pt x="458698" y="298234"/>
                    <a:pt x="456010" y="291759"/>
                    <a:pt x="452602" y="285639"/>
                  </a:cubicBezTo>
                  <a:lnTo>
                    <a:pt x="464317" y="270258"/>
                  </a:lnTo>
                  <a:cubicBezTo>
                    <a:pt x="466651" y="267192"/>
                    <a:pt x="466651" y="262941"/>
                    <a:pt x="464305" y="259874"/>
                  </a:cubicBezTo>
                  <a:cubicBezTo>
                    <a:pt x="458112" y="251787"/>
                    <a:pt x="450867" y="244555"/>
                    <a:pt x="442792" y="238362"/>
                  </a:cubicBezTo>
                  <a:cubicBezTo>
                    <a:pt x="439726" y="236016"/>
                    <a:pt x="435475" y="236004"/>
                    <a:pt x="432408" y="238349"/>
                  </a:cubicBezTo>
                  <a:lnTo>
                    <a:pt x="417028" y="250065"/>
                  </a:lnTo>
                  <a:cubicBezTo>
                    <a:pt x="410908" y="246656"/>
                    <a:pt x="404433" y="243969"/>
                    <a:pt x="397702" y="242051"/>
                  </a:cubicBezTo>
                  <a:lnTo>
                    <a:pt x="395100" y="222884"/>
                  </a:lnTo>
                  <a:cubicBezTo>
                    <a:pt x="394587" y="219060"/>
                    <a:pt x="391569" y="216055"/>
                    <a:pt x="387746" y="215554"/>
                  </a:cubicBezTo>
                  <a:cubicBezTo>
                    <a:pt x="377655" y="214222"/>
                    <a:pt x="367418" y="214222"/>
                    <a:pt x="357327" y="215554"/>
                  </a:cubicBezTo>
                  <a:cubicBezTo>
                    <a:pt x="353503" y="216055"/>
                    <a:pt x="350486" y="219060"/>
                    <a:pt x="349973" y="222884"/>
                  </a:cubicBezTo>
                  <a:lnTo>
                    <a:pt x="347371" y="242051"/>
                  </a:lnTo>
                  <a:cubicBezTo>
                    <a:pt x="340640" y="243969"/>
                    <a:pt x="334165" y="246644"/>
                    <a:pt x="328045" y="250065"/>
                  </a:cubicBezTo>
                  <a:lnTo>
                    <a:pt x="312664" y="238349"/>
                  </a:lnTo>
                  <a:cubicBezTo>
                    <a:pt x="309598" y="236016"/>
                    <a:pt x="305347" y="236016"/>
                    <a:pt x="302280" y="238362"/>
                  </a:cubicBezTo>
                  <a:cubicBezTo>
                    <a:pt x="294193" y="244555"/>
                    <a:pt x="286961" y="251800"/>
                    <a:pt x="280767" y="259874"/>
                  </a:cubicBezTo>
                  <a:cubicBezTo>
                    <a:pt x="278422" y="262941"/>
                    <a:pt x="278410" y="267192"/>
                    <a:pt x="280755" y="270258"/>
                  </a:cubicBezTo>
                  <a:lnTo>
                    <a:pt x="292471" y="285639"/>
                  </a:lnTo>
                  <a:cubicBezTo>
                    <a:pt x="289050" y="291771"/>
                    <a:pt x="286375" y="298234"/>
                    <a:pt x="284457" y="304965"/>
                  </a:cubicBezTo>
                  <a:lnTo>
                    <a:pt x="265289" y="307567"/>
                  </a:lnTo>
                  <a:cubicBezTo>
                    <a:pt x="261466" y="308080"/>
                    <a:pt x="258460" y="311097"/>
                    <a:pt x="257960" y="314921"/>
                  </a:cubicBezTo>
                  <a:cubicBezTo>
                    <a:pt x="256628" y="325012"/>
                    <a:pt x="256628" y="335249"/>
                    <a:pt x="257960" y="345340"/>
                  </a:cubicBezTo>
                  <a:cubicBezTo>
                    <a:pt x="258460" y="349163"/>
                    <a:pt x="261466" y="352181"/>
                    <a:pt x="265289" y="352694"/>
                  </a:cubicBezTo>
                  <a:lnTo>
                    <a:pt x="284445" y="355296"/>
                  </a:lnTo>
                  <a:cubicBezTo>
                    <a:pt x="286363" y="362027"/>
                    <a:pt x="289050" y="368502"/>
                    <a:pt x="292458" y="374622"/>
                  </a:cubicBezTo>
                  <a:lnTo>
                    <a:pt x="280743" y="390003"/>
                  </a:lnTo>
                  <a:cubicBezTo>
                    <a:pt x="278410" y="393069"/>
                    <a:pt x="278410" y="397320"/>
                    <a:pt x="280755" y="400386"/>
                  </a:cubicBezTo>
                  <a:cubicBezTo>
                    <a:pt x="286949" y="408474"/>
                    <a:pt x="294193" y="415706"/>
                    <a:pt x="302268" y="421899"/>
                  </a:cubicBezTo>
                  <a:cubicBezTo>
                    <a:pt x="305322" y="424245"/>
                    <a:pt x="309586" y="424257"/>
                    <a:pt x="312652" y="421912"/>
                  </a:cubicBezTo>
                  <a:lnTo>
                    <a:pt x="328032" y="410196"/>
                  </a:lnTo>
                  <a:cubicBezTo>
                    <a:pt x="334165" y="413605"/>
                    <a:pt x="340627" y="416292"/>
                    <a:pt x="347359" y="418210"/>
                  </a:cubicBezTo>
                  <a:lnTo>
                    <a:pt x="349961" y="437377"/>
                  </a:lnTo>
                  <a:cubicBezTo>
                    <a:pt x="350474" y="441201"/>
                    <a:pt x="353491" y="444206"/>
                    <a:pt x="357315" y="444707"/>
                  </a:cubicBezTo>
                  <a:cubicBezTo>
                    <a:pt x="362360" y="445367"/>
                    <a:pt x="367442" y="445709"/>
                    <a:pt x="372524" y="445709"/>
                  </a:cubicBezTo>
                  <a:cubicBezTo>
                    <a:pt x="377606" y="445709"/>
                    <a:pt x="382688" y="445379"/>
                    <a:pt x="387733" y="444719"/>
                  </a:cubicBezTo>
                  <a:cubicBezTo>
                    <a:pt x="391557" y="444219"/>
                    <a:pt x="394575" y="441213"/>
                    <a:pt x="395088" y="437390"/>
                  </a:cubicBezTo>
                  <a:lnTo>
                    <a:pt x="397690" y="418235"/>
                  </a:lnTo>
                  <a:cubicBezTo>
                    <a:pt x="404421" y="416317"/>
                    <a:pt x="410896" y="413629"/>
                    <a:pt x="417016" y="410221"/>
                  </a:cubicBezTo>
                  <a:lnTo>
                    <a:pt x="432396" y="421936"/>
                  </a:lnTo>
                  <a:cubicBezTo>
                    <a:pt x="435463" y="424269"/>
                    <a:pt x="439714" y="424269"/>
                    <a:pt x="442780" y="421924"/>
                  </a:cubicBezTo>
                  <a:cubicBezTo>
                    <a:pt x="450867" y="415730"/>
                    <a:pt x="458099" y="408486"/>
                    <a:pt x="464293" y="400411"/>
                  </a:cubicBezTo>
                  <a:cubicBezTo>
                    <a:pt x="466639" y="397345"/>
                    <a:pt x="466651" y="393093"/>
                    <a:pt x="464305" y="390027"/>
                  </a:cubicBezTo>
                  <a:lnTo>
                    <a:pt x="452590" y="374647"/>
                  </a:lnTo>
                  <a:cubicBezTo>
                    <a:pt x="456010" y="368514"/>
                    <a:pt x="458686" y="362052"/>
                    <a:pt x="460604" y="355321"/>
                  </a:cubicBezTo>
                  <a:lnTo>
                    <a:pt x="479771" y="352718"/>
                  </a:lnTo>
                  <a:cubicBezTo>
                    <a:pt x="483595" y="352205"/>
                    <a:pt x="486600" y="349188"/>
                    <a:pt x="487101" y="345364"/>
                  </a:cubicBezTo>
                  <a:cubicBezTo>
                    <a:pt x="488432" y="335274"/>
                    <a:pt x="488432" y="325036"/>
                    <a:pt x="487101" y="314946"/>
                  </a:cubicBezTo>
                  <a:cubicBezTo>
                    <a:pt x="486600" y="311122"/>
                    <a:pt x="483595" y="308104"/>
                    <a:pt x="479771" y="307591"/>
                  </a:cubicBezTo>
                  <a:close/>
                  <a:moveTo>
                    <a:pt x="470792" y="336654"/>
                  </a:moveTo>
                  <a:lnTo>
                    <a:pt x="452578" y="339122"/>
                  </a:lnTo>
                  <a:cubicBezTo>
                    <a:pt x="448998" y="339610"/>
                    <a:pt x="446115" y="342286"/>
                    <a:pt x="445370" y="345804"/>
                  </a:cubicBezTo>
                  <a:cubicBezTo>
                    <a:pt x="443489" y="354624"/>
                    <a:pt x="440031" y="362943"/>
                    <a:pt x="435120" y="370542"/>
                  </a:cubicBezTo>
                  <a:cubicBezTo>
                    <a:pt x="433166" y="373572"/>
                    <a:pt x="433312" y="377505"/>
                    <a:pt x="435499" y="380364"/>
                  </a:cubicBezTo>
                  <a:lnTo>
                    <a:pt x="446628" y="394987"/>
                  </a:lnTo>
                  <a:cubicBezTo>
                    <a:pt x="443757" y="398261"/>
                    <a:pt x="440679" y="401339"/>
                    <a:pt x="437393" y="404222"/>
                  </a:cubicBezTo>
                  <a:lnTo>
                    <a:pt x="422770" y="393093"/>
                  </a:lnTo>
                  <a:cubicBezTo>
                    <a:pt x="419899" y="390907"/>
                    <a:pt x="415965" y="390760"/>
                    <a:pt x="412948" y="392715"/>
                  </a:cubicBezTo>
                  <a:cubicBezTo>
                    <a:pt x="405349" y="397638"/>
                    <a:pt x="397030" y="401083"/>
                    <a:pt x="388210" y="402976"/>
                  </a:cubicBezTo>
                  <a:cubicBezTo>
                    <a:pt x="384679" y="403734"/>
                    <a:pt x="382016" y="406617"/>
                    <a:pt x="381528" y="410184"/>
                  </a:cubicBezTo>
                  <a:lnTo>
                    <a:pt x="379060" y="428386"/>
                  </a:lnTo>
                  <a:cubicBezTo>
                    <a:pt x="374711" y="428667"/>
                    <a:pt x="370350" y="428667"/>
                    <a:pt x="366013" y="428386"/>
                  </a:cubicBezTo>
                  <a:lnTo>
                    <a:pt x="363545" y="410172"/>
                  </a:lnTo>
                  <a:cubicBezTo>
                    <a:pt x="363056" y="406605"/>
                    <a:pt x="360393" y="403709"/>
                    <a:pt x="356863" y="402964"/>
                  </a:cubicBezTo>
                  <a:cubicBezTo>
                    <a:pt x="348043" y="401071"/>
                    <a:pt x="339723" y="397626"/>
                    <a:pt x="332125" y="392715"/>
                  </a:cubicBezTo>
                  <a:cubicBezTo>
                    <a:pt x="329095" y="390760"/>
                    <a:pt x="325162" y="390907"/>
                    <a:pt x="322303" y="393093"/>
                  </a:cubicBezTo>
                  <a:lnTo>
                    <a:pt x="307680" y="404222"/>
                  </a:lnTo>
                  <a:cubicBezTo>
                    <a:pt x="304406" y="401352"/>
                    <a:pt x="301315" y="398273"/>
                    <a:pt x="298444" y="394987"/>
                  </a:cubicBezTo>
                  <a:lnTo>
                    <a:pt x="309573" y="380364"/>
                  </a:lnTo>
                  <a:cubicBezTo>
                    <a:pt x="311760" y="377493"/>
                    <a:pt x="311907" y="373559"/>
                    <a:pt x="309952" y="370542"/>
                  </a:cubicBezTo>
                  <a:cubicBezTo>
                    <a:pt x="305029" y="362943"/>
                    <a:pt x="301584" y="354624"/>
                    <a:pt x="299691" y="345804"/>
                  </a:cubicBezTo>
                  <a:cubicBezTo>
                    <a:pt x="298933" y="342274"/>
                    <a:pt x="296050" y="339610"/>
                    <a:pt x="292483" y="339122"/>
                  </a:cubicBezTo>
                  <a:lnTo>
                    <a:pt x="274281" y="336654"/>
                  </a:lnTo>
                  <a:cubicBezTo>
                    <a:pt x="274000" y="332305"/>
                    <a:pt x="274000" y="327956"/>
                    <a:pt x="274281" y="323607"/>
                  </a:cubicBezTo>
                  <a:lnTo>
                    <a:pt x="292495" y="321139"/>
                  </a:lnTo>
                  <a:cubicBezTo>
                    <a:pt x="296062" y="320651"/>
                    <a:pt x="298958" y="317987"/>
                    <a:pt x="299703" y="314457"/>
                  </a:cubicBezTo>
                  <a:cubicBezTo>
                    <a:pt x="301596" y="305637"/>
                    <a:pt x="305041" y="297317"/>
                    <a:pt x="309952" y="289719"/>
                  </a:cubicBezTo>
                  <a:cubicBezTo>
                    <a:pt x="311907" y="286689"/>
                    <a:pt x="311760" y="282756"/>
                    <a:pt x="309573" y="279897"/>
                  </a:cubicBezTo>
                  <a:lnTo>
                    <a:pt x="298444" y="265274"/>
                  </a:lnTo>
                  <a:cubicBezTo>
                    <a:pt x="301315" y="262000"/>
                    <a:pt x="304394" y="258909"/>
                    <a:pt x="307680" y="256039"/>
                  </a:cubicBezTo>
                  <a:lnTo>
                    <a:pt x="322303" y="267168"/>
                  </a:lnTo>
                  <a:cubicBezTo>
                    <a:pt x="325174" y="269354"/>
                    <a:pt x="329107" y="269501"/>
                    <a:pt x="332125" y="267546"/>
                  </a:cubicBezTo>
                  <a:cubicBezTo>
                    <a:pt x="339723" y="262635"/>
                    <a:pt x="348043" y="259178"/>
                    <a:pt x="356863" y="257297"/>
                  </a:cubicBezTo>
                  <a:cubicBezTo>
                    <a:pt x="360393" y="256539"/>
                    <a:pt x="363069" y="253656"/>
                    <a:pt x="363545" y="250089"/>
                  </a:cubicBezTo>
                  <a:lnTo>
                    <a:pt x="366013" y="231875"/>
                  </a:lnTo>
                  <a:cubicBezTo>
                    <a:pt x="370362" y="231594"/>
                    <a:pt x="374723" y="231594"/>
                    <a:pt x="379060" y="231875"/>
                  </a:cubicBezTo>
                  <a:lnTo>
                    <a:pt x="381528" y="250089"/>
                  </a:lnTo>
                  <a:cubicBezTo>
                    <a:pt x="382016" y="253656"/>
                    <a:pt x="384679" y="256552"/>
                    <a:pt x="388210" y="257297"/>
                  </a:cubicBezTo>
                  <a:cubicBezTo>
                    <a:pt x="397030" y="259190"/>
                    <a:pt x="405349" y="262635"/>
                    <a:pt x="412948" y="267546"/>
                  </a:cubicBezTo>
                  <a:cubicBezTo>
                    <a:pt x="415978" y="269501"/>
                    <a:pt x="419899" y="269354"/>
                    <a:pt x="422770" y="267168"/>
                  </a:cubicBezTo>
                  <a:lnTo>
                    <a:pt x="437393" y="256039"/>
                  </a:lnTo>
                  <a:cubicBezTo>
                    <a:pt x="440667" y="258909"/>
                    <a:pt x="443757" y="261988"/>
                    <a:pt x="446616" y="265274"/>
                  </a:cubicBezTo>
                  <a:lnTo>
                    <a:pt x="435487" y="279897"/>
                  </a:lnTo>
                  <a:cubicBezTo>
                    <a:pt x="433300" y="282768"/>
                    <a:pt x="433154" y="286702"/>
                    <a:pt x="435108" y="289719"/>
                  </a:cubicBezTo>
                  <a:cubicBezTo>
                    <a:pt x="440019" y="297317"/>
                    <a:pt x="443476" y="305637"/>
                    <a:pt x="445370" y="314457"/>
                  </a:cubicBezTo>
                  <a:cubicBezTo>
                    <a:pt x="446127" y="317987"/>
                    <a:pt x="449010" y="320651"/>
                    <a:pt x="452578" y="321139"/>
                  </a:cubicBezTo>
                  <a:lnTo>
                    <a:pt x="470792" y="323607"/>
                  </a:lnTo>
                  <a:cubicBezTo>
                    <a:pt x="471073" y="327956"/>
                    <a:pt x="471073" y="332317"/>
                    <a:pt x="470792" y="336654"/>
                  </a:cubicBezTo>
                  <a:close/>
                  <a:moveTo>
                    <a:pt x="372524" y="278565"/>
                  </a:moveTo>
                  <a:cubicBezTo>
                    <a:pt x="344097" y="278565"/>
                    <a:pt x="320959" y="301691"/>
                    <a:pt x="320959" y="330130"/>
                  </a:cubicBezTo>
                  <a:cubicBezTo>
                    <a:pt x="320959" y="358570"/>
                    <a:pt x="344085" y="381696"/>
                    <a:pt x="372524" y="381696"/>
                  </a:cubicBezTo>
                  <a:cubicBezTo>
                    <a:pt x="400964" y="381696"/>
                    <a:pt x="424089" y="358570"/>
                    <a:pt x="424089" y="330130"/>
                  </a:cubicBezTo>
                  <a:cubicBezTo>
                    <a:pt x="424089" y="301691"/>
                    <a:pt x="400964" y="278565"/>
                    <a:pt x="372524" y="278565"/>
                  </a:cubicBezTo>
                  <a:close/>
                  <a:moveTo>
                    <a:pt x="372524" y="295668"/>
                  </a:moveTo>
                  <a:cubicBezTo>
                    <a:pt x="391520" y="295668"/>
                    <a:pt x="406986" y="311122"/>
                    <a:pt x="406986" y="330130"/>
                  </a:cubicBezTo>
                  <a:cubicBezTo>
                    <a:pt x="406986" y="349139"/>
                    <a:pt x="391533" y="364593"/>
                    <a:pt x="372524" y="364593"/>
                  </a:cubicBezTo>
                  <a:cubicBezTo>
                    <a:pt x="353516" y="364593"/>
                    <a:pt x="338062" y="349139"/>
                    <a:pt x="338062" y="330130"/>
                  </a:cubicBezTo>
                  <a:cubicBezTo>
                    <a:pt x="338062" y="311122"/>
                    <a:pt x="353516" y="295668"/>
                    <a:pt x="372524" y="295668"/>
                  </a:cubicBezTo>
                  <a:close/>
                  <a:moveTo>
                    <a:pt x="280499" y="167140"/>
                  </a:moveTo>
                  <a:cubicBezTo>
                    <a:pt x="304492" y="167140"/>
                    <a:pt x="324697" y="150673"/>
                    <a:pt x="330439" y="128451"/>
                  </a:cubicBezTo>
                  <a:cubicBezTo>
                    <a:pt x="331502" y="124335"/>
                    <a:pt x="332064" y="120022"/>
                    <a:pt x="332064" y="115575"/>
                  </a:cubicBezTo>
                  <a:cubicBezTo>
                    <a:pt x="332064" y="87148"/>
                    <a:pt x="308938" y="64010"/>
                    <a:pt x="280499" y="64010"/>
                  </a:cubicBezTo>
                  <a:cubicBezTo>
                    <a:pt x="252059" y="64010"/>
                    <a:pt x="228934" y="87136"/>
                    <a:pt x="228934" y="115575"/>
                  </a:cubicBezTo>
                  <a:cubicBezTo>
                    <a:pt x="228934" y="120022"/>
                    <a:pt x="229496" y="124335"/>
                    <a:pt x="230558" y="128451"/>
                  </a:cubicBezTo>
                  <a:cubicBezTo>
                    <a:pt x="236288" y="150673"/>
                    <a:pt x="256506" y="167140"/>
                    <a:pt x="280499" y="167140"/>
                  </a:cubicBezTo>
                  <a:close/>
                  <a:moveTo>
                    <a:pt x="246085" y="113804"/>
                  </a:moveTo>
                  <a:cubicBezTo>
                    <a:pt x="247014" y="95626"/>
                    <a:pt x="262089" y="81113"/>
                    <a:pt x="280499" y="81113"/>
                  </a:cubicBezTo>
                  <a:cubicBezTo>
                    <a:pt x="298909" y="81113"/>
                    <a:pt x="313984" y="95614"/>
                    <a:pt x="314912" y="113804"/>
                  </a:cubicBezTo>
                  <a:cubicBezTo>
                    <a:pt x="314936" y="114390"/>
                    <a:pt x="314961" y="114977"/>
                    <a:pt x="314961" y="115575"/>
                  </a:cubicBezTo>
                  <a:cubicBezTo>
                    <a:pt x="314961" y="134572"/>
                    <a:pt x="299507" y="150038"/>
                    <a:pt x="280499" y="150038"/>
                  </a:cubicBezTo>
                  <a:cubicBezTo>
                    <a:pt x="261490" y="150038"/>
                    <a:pt x="246036" y="134584"/>
                    <a:pt x="246036" y="115575"/>
                  </a:cubicBezTo>
                  <a:cubicBezTo>
                    <a:pt x="246036" y="114977"/>
                    <a:pt x="246049" y="114390"/>
                    <a:pt x="246085" y="113804"/>
                  </a:cubicBezTo>
                  <a:close/>
                  <a:moveTo>
                    <a:pt x="117948" y="262587"/>
                  </a:moveTo>
                  <a:cubicBezTo>
                    <a:pt x="117069" y="262538"/>
                    <a:pt x="116189" y="262525"/>
                    <a:pt x="115310" y="262525"/>
                  </a:cubicBezTo>
                  <a:cubicBezTo>
                    <a:pt x="114430" y="262525"/>
                    <a:pt x="113538" y="262550"/>
                    <a:pt x="112671" y="262587"/>
                  </a:cubicBezTo>
                  <a:cubicBezTo>
                    <a:pt x="85514" y="263967"/>
                    <a:pt x="63855" y="286494"/>
                    <a:pt x="63855" y="313981"/>
                  </a:cubicBezTo>
                  <a:cubicBezTo>
                    <a:pt x="63855" y="341467"/>
                    <a:pt x="86943" y="365448"/>
                    <a:pt x="115322" y="365448"/>
                  </a:cubicBezTo>
                  <a:cubicBezTo>
                    <a:pt x="143700" y="365448"/>
                    <a:pt x="166789" y="342359"/>
                    <a:pt x="166789" y="313981"/>
                  </a:cubicBezTo>
                  <a:cubicBezTo>
                    <a:pt x="166789" y="285602"/>
                    <a:pt x="145118" y="263967"/>
                    <a:pt x="117973" y="262587"/>
                  </a:cubicBezTo>
                  <a:close/>
                  <a:moveTo>
                    <a:pt x="115310" y="279628"/>
                  </a:moveTo>
                  <a:cubicBezTo>
                    <a:pt x="116495" y="279628"/>
                    <a:pt x="117667" y="279689"/>
                    <a:pt x="118816" y="279812"/>
                  </a:cubicBezTo>
                  <a:cubicBezTo>
                    <a:pt x="119964" y="279934"/>
                    <a:pt x="121112" y="280105"/>
                    <a:pt x="122224" y="280337"/>
                  </a:cubicBezTo>
                  <a:cubicBezTo>
                    <a:pt x="122786" y="280447"/>
                    <a:pt x="123336" y="280581"/>
                    <a:pt x="123886" y="280716"/>
                  </a:cubicBezTo>
                  <a:cubicBezTo>
                    <a:pt x="138692" y="284539"/>
                    <a:pt x="149674" y="298002"/>
                    <a:pt x="149674" y="313993"/>
                  </a:cubicBezTo>
                  <a:cubicBezTo>
                    <a:pt x="149674" y="332940"/>
                    <a:pt x="134257" y="348357"/>
                    <a:pt x="115310" y="348357"/>
                  </a:cubicBezTo>
                  <a:cubicBezTo>
                    <a:pt x="96362" y="348357"/>
                    <a:pt x="80945" y="332940"/>
                    <a:pt x="80945" y="313993"/>
                  </a:cubicBezTo>
                  <a:cubicBezTo>
                    <a:pt x="80945" y="298002"/>
                    <a:pt x="91916" y="284539"/>
                    <a:pt x="106734" y="280716"/>
                  </a:cubicBezTo>
                  <a:cubicBezTo>
                    <a:pt x="107284" y="280569"/>
                    <a:pt x="107833" y="280447"/>
                    <a:pt x="108395" y="280337"/>
                  </a:cubicBezTo>
                  <a:cubicBezTo>
                    <a:pt x="109507" y="280105"/>
                    <a:pt x="110655" y="279934"/>
                    <a:pt x="111804" y="279812"/>
                  </a:cubicBezTo>
                  <a:cubicBezTo>
                    <a:pt x="112952" y="279689"/>
                    <a:pt x="114125" y="279628"/>
                    <a:pt x="115310" y="279628"/>
                  </a:cubicBezTo>
                  <a:close/>
                  <a:moveTo>
                    <a:pt x="602313" y="395903"/>
                  </a:moveTo>
                  <a:lnTo>
                    <a:pt x="548158" y="301532"/>
                  </a:lnTo>
                  <a:cubicBezTo>
                    <a:pt x="548818" y="256307"/>
                    <a:pt x="533450" y="212231"/>
                    <a:pt x="504753" y="177158"/>
                  </a:cubicBezTo>
                  <a:cubicBezTo>
                    <a:pt x="477022" y="143282"/>
                    <a:pt x="438614" y="120010"/>
                    <a:pt x="395992" y="111092"/>
                  </a:cubicBezTo>
                  <a:cubicBezTo>
                    <a:pt x="395857" y="107500"/>
                    <a:pt x="395564" y="103921"/>
                    <a:pt x="395088" y="100366"/>
                  </a:cubicBezTo>
                  <a:cubicBezTo>
                    <a:pt x="394587" y="96542"/>
                    <a:pt x="391582" y="93525"/>
                    <a:pt x="387758" y="93012"/>
                  </a:cubicBezTo>
                  <a:lnTo>
                    <a:pt x="368590" y="90410"/>
                  </a:lnTo>
                  <a:cubicBezTo>
                    <a:pt x="366673" y="83679"/>
                    <a:pt x="363985" y="77204"/>
                    <a:pt x="360577" y="71084"/>
                  </a:cubicBezTo>
                  <a:lnTo>
                    <a:pt x="372292" y="55703"/>
                  </a:lnTo>
                  <a:cubicBezTo>
                    <a:pt x="374625" y="52637"/>
                    <a:pt x="374625" y="48386"/>
                    <a:pt x="372280" y="45319"/>
                  </a:cubicBezTo>
                  <a:cubicBezTo>
                    <a:pt x="366086" y="37232"/>
                    <a:pt x="358842" y="30000"/>
                    <a:pt x="350767" y="23807"/>
                  </a:cubicBezTo>
                  <a:cubicBezTo>
                    <a:pt x="347701" y="21461"/>
                    <a:pt x="343449" y="21449"/>
                    <a:pt x="340383" y="23794"/>
                  </a:cubicBezTo>
                  <a:lnTo>
                    <a:pt x="325003" y="35510"/>
                  </a:lnTo>
                  <a:cubicBezTo>
                    <a:pt x="318870" y="32101"/>
                    <a:pt x="312408" y="29414"/>
                    <a:pt x="305676" y="27496"/>
                  </a:cubicBezTo>
                  <a:lnTo>
                    <a:pt x="303074" y="8328"/>
                  </a:lnTo>
                  <a:cubicBezTo>
                    <a:pt x="302561" y="4505"/>
                    <a:pt x="299544" y="1500"/>
                    <a:pt x="295720" y="999"/>
                  </a:cubicBezTo>
                  <a:cubicBezTo>
                    <a:pt x="285630" y="-333"/>
                    <a:pt x="275392" y="-333"/>
                    <a:pt x="265302" y="999"/>
                  </a:cubicBezTo>
                  <a:cubicBezTo>
                    <a:pt x="261478" y="1500"/>
                    <a:pt x="258460" y="4505"/>
                    <a:pt x="257947" y="8328"/>
                  </a:cubicBezTo>
                  <a:lnTo>
                    <a:pt x="255345" y="27496"/>
                  </a:lnTo>
                  <a:cubicBezTo>
                    <a:pt x="248614" y="29414"/>
                    <a:pt x="242139" y="32089"/>
                    <a:pt x="236019" y="35510"/>
                  </a:cubicBezTo>
                  <a:lnTo>
                    <a:pt x="220639" y="23794"/>
                  </a:lnTo>
                  <a:cubicBezTo>
                    <a:pt x="217572" y="21461"/>
                    <a:pt x="213321" y="21461"/>
                    <a:pt x="210255" y="23807"/>
                  </a:cubicBezTo>
                  <a:cubicBezTo>
                    <a:pt x="202168" y="30000"/>
                    <a:pt x="194936" y="37244"/>
                    <a:pt x="188742" y="45319"/>
                  </a:cubicBezTo>
                  <a:cubicBezTo>
                    <a:pt x="186396" y="48386"/>
                    <a:pt x="186384" y="52637"/>
                    <a:pt x="188730" y="55703"/>
                  </a:cubicBezTo>
                  <a:lnTo>
                    <a:pt x="200445" y="71084"/>
                  </a:lnTo>
                  <a:cubicBezTo>
                    <a:pt x="197025" y="77216"/>
                    <a:pt x="194349" y="83679"/>
                    <a:pt x="192431" y="90410"/>
                  </a:cubicBezTo>
                  <a:lnTo>
                    <a:pt x="173264" y="93012"/>
                  </a:lnTo>
                  <a:cubicBezTo>
                    <a:pt x="169440" y="93525"/>
                    <a:pt x="166435" y="96542"/>
                    <a:pt x="165934" y="100366"/>
                  </a:cubicBezTo>
                  <a:cubicBezTo>
                    <a:pt x="164603" y="110457"/>
                    <a:pt x="164603" y="120694"/>
                    <a:pt x="165934" y="130785"/>
                  </a:cubicBezTo>
                  <a:cubicBezTo>
                    <a:pt x="166435" y="134608"/>
                    <a:pt x="169440" y="137626"/>
                    <a:pt x="173264" y="138139"/>
                  </a:cubicBezTo>
                  <a:lnTo>
                    <a:pt x="192419" y="140741"/>
                  </a:lnTo>
                  <a:cubicBezTo>
                    <a:pt x="194337" y="147472"/>
                    <a:pt x="197025" y="153947"/>
                    <a:pt x="200433" y="160067"/>
                  </a:cubicBezTo>
                  <a:lnTo>
                    <a:pt x="188718" y="175448"/>
                  </a:lnTo>
                  <a:cubicBezTo>
                    <a:pt x="186384" y="178514"/>
                    <a:pt x="186384" y="182765"/>
                    <a:pt x="188742" y="185831"/>
                  </a:cubicBezTo>
                  <a:cubicBezTo>
                    <a:pt x="190978" y="188751"/>
                    <a:pt x="193360" y="191561"/>
                    <a:pt x="195864" y="194248"/>
                  </a:cubicBezTo>
                  <a:cubicBezTo>
                    <a:pt x="190367" y="202690"/>
                    <a:pt x="185554" y="211547"/>
                    <a:pt x="181461" y="220733"/>
                  </a:cubicBezTo>
                  <a:cubicBezTo>
                    <a:pt x="179250" y="220416"/>
                    <a:pt x="176929" y="220953"/>
                    <a:pt x="175060" y="222383"/>
                  </a:cubicBezTo>
                  <a:lnTo>
                    <a:pt x="159716" y="234061"/>
                  </a:lnTo>
                  <a:cubicBezTo>
                    <a:pt x="153608" y="230653"/>
                    <a:pt x="147158" y="227990"/>
                    <a:pt x="140451" y="226072"/>
                  </a:cubicBezTo>
                  <a:lnTo>
                    <a:pt x="137861" y="206966"/>
                  </a:lnTo>
                  <a:cubicBezTo>
                    <a:pt x="137348" y="203142"/>
                    <a:pt x="134331" y="200137"/>
                    <a:pt x="130507" y="199636"/>
                  </a:cubicBezTo>
                  <a:cubicBezTo>
                    <a:pt x="120428" y="198317"/>
                    <a:pt x="110228" y="198317"/>
                    <a:pt x="100149" y="199636"/>
                  </a:cubicBezTo>
                  <a:cubicBezTo>
                    <a:pt x="96326" y="200137"/>
                    <a:pt x="93308" y="203142"/>
                    <a:pt x="92795" y="206966"/>
                  </a:cubicBezTo>
                  <a:lnTo>
                    <a:pt x="90205" y="226072"/>
                  </a:lnTo>
                  <a:cubicBezTo>
                    <a:pt x="83498" y="227978"/>
                    <a:pt x="77048" y="230653"/>
                    <a:pt x="70940" y="234061"/>
                  </a:cubicBezTo>
                  <a:lnTo>
                    <a:pt x="55596" y="222383"/>
                  </a:lnTo>
                  <a:cubicBezTo>
                    <a:pt x="52530" y="220049"/>
                    <a:pt x="48279" y="220049"/>
                    <a:pt x="45213" y="222395"/>
                  </a:cubicBezTo>
                  <a:cubicBezTo>
                    <a:pt x="37150" y="228576"/>
                    <a:pt x="29918" y="235808"/>
                    <a:pt x="23749" y="243859"/>
                  </a:cubicBezTo>
                  <a:cubicBezTo>
                    <a:pt x="21403" y="246925"/>
                    <a:pt x="21391" y="251176"/>
                    <a:pt x="23736" y="254243"/>
                  </a:cubicBezTo>
                  <a:lnTo>
                    <a:pt x="35415" y="269586"/>
                  </a:lnTo>
                  <a:cubicBezTo>
                    <a:pt x="32007" y="275695"/>
                    <a:pt x="29344" y="282145"/>
                    <a:pt x="27426" y="288852"/>
                  </a:cubicBezTo>
                  <a:lnTo>
                    <a:pt x="8319" y="291441"/>
                  </a:lnTo>
                  <a:cubicBezTo>
                    <a:pt x="4496" y="291955"/>
                    <a:pt x="1490" y="294972"/>
                    <a:pt x="990" y="298796"/>
                  </a:cubicBezTo>
                  <a:cubicBezTo>
                    <a:pt x="-330" y="308874"/>
                    <a:pt x="-330" y="319075"/>
                    <a:pt x="990" y="329153"/>
                  </a:cubicBezTo>
                  <a:cubicBezTo>
                    <a:pt x="1490" y="332977"/>
                    <a:pt x="4496" y="335994"/>
                    <a:pt x="8319" y="336507"/>
                  </a:cubicBezTo>
                  <a:lnTo>
                    <a:pt x="27426" y="339097"/>
                  </a:lnTo>
                  <a:cubicBezTo>
                    <a:pt x="29344" y="345816"/>
                    <a:pt x="32007" y="352254"/>
                    <a:pt x="35415" y="358362"/>
                  </a:cubicBezTo>
                  <a:lnTo>
                    <a:pt x="23736" y="373706"/>
                  </a:lnTo>
                  <a:cubicBezTo>
                    <a:pt x="21403" y="376772"/>
                    <a:pt x="21403" y="381024"/>
                    <a:pt x="23749" y="384090"/>
                  </a:cubicBezTo>
                  <a:cubicBezTo>
                    <a:pt x="29930" y="392153"/>
                    <a:pt x="37162" y="399385"/>
                    <a:pt x="45225" y="405566"/>
                  </a:cubicBezTo>
                  <a:cubicBezTo>
                    <a:pt x="48291" y="407912"/>
                    <a:pt x="52542" y="407924"/>
                    <a:pt x="55609" y="405578"/>
                  </a:cubicBezTo>
                  <a:lnTo>
                    <a:pt x="70952" y="393900"/>
                  </a:lnTo>
                  <a:cubicBezTo>
                    <a:pt x="77060" y="397308"/>
                    <a:pt x="83511" y="399971"/>
                    <a:pt x="90217" y="401889"/>
                  </a:cubicBezTo>
                  <a:lnTo>
                    <a:pt x="92807" y="420995"/>
                  </a:lnTo>
                  <a:cubicBezTo>
                    <a:pt x="93320" y="424819"/>
                    <a:pt x="96338" y="427824"/>
                    <a:pt x="100162" y="428325"/>
                  </a:cubicBezTo>
                  <a:cubicBezTo>
                    <a:pt x="105195" y="428985"/>
                    <a:pt x="110264" y="429315"/>
                    <a:pt x="115334" y="429315"/>
                  </a:cubicBezTo>
                  <a:cubicBezTo>
                    <a:pt x="120404" y="429315"/>
                    <a:pt x="125474" y="428985"/>
                    <a:pt x="130507" y="428325"/>
                  </a:cubicBezTo>
                  <a:cubicBezTo>
                    <a:pt x="134331" y="427824"/>
                    <a:pt x="137348" y="424819"/>
                    <a:pt x="137861" y="420995"/>
                  </a:cubicBezTo>
                  <a:lnTo>
                    <a:pt x="140451" y="401889"/>
                  </a:lnTo>
                  <a:cubicBezTo>
                    <a:pt x="147170" y="399971"/>
                    <a:pt x="153608" y="397308"/>
                    <a:pt x="159716" y="393900"/>
                  </a:cubicBezTo>
                  <a:lnTo>
                    <a:pt x="175060" y="405578"/>
                  </a:lnTo>
                  <a:cubicBezTo>
                    <a:pt x="178126" y="407912"/>
                    <a:pt x="182377" y="407912"/>
                    <a:pt x="185444" y="405566"/>
                  </a:cubicBezTo>
                  <a:cubicBezTo>
                    <a:pt x="188156" y="403477"/>
                    <a:pt x="190770" y="401278"/>
                    <a:pt x="193286" y="398957"/>
                  </a:cubicBezTo>
                  <a:cubicBezTo>
                    <a:pt x="209998" y="426151"/>
                    <a:pt x="233112" y="448665"/>
                    <a:pt x="260830" y="464669"/>
                  </a:cubicBezTo>
                  <a:lnTo>
                    <a:pt x="260830" y="566174"/>
                  </a:lnTo>
                  <a:cubicBezTo>
                    <a:pt x="260830" y="570902"/>
                    <a:pt x="264654" y="574725"/>
                    <a:pt x="269382" y="574725"/>
                  </a:cubicBezTo>
                  <a:lnTo>
                    <a:pt x="461764" y="574725"/>
                  </a:lnTo>
                  <a:cubicBezTo>
                    <a:pt x="466492" y="574725"/>
                    <a:pt x="470316" y="570902"/>
                    <a:pt x="470316" y="566174"/>
                  </a:cubicBezTo>
                  <a:lnTo>
                    <a:pt x="470316" y="508452"/>
                  </a:lnTo>
                  <a:lnTo>
                    <a:pt x="479869" y="508452"/>
                  </a:lnTo>
                  <a:cubicBezTo>
                    <a:pt x="510373" y="508452"/>
                    <a:pt x="535184" y="483641"/>
                    <a:pt x="535184" y="453137"/>
                  </a:cubicBezTo>
                  <a:lnTo>
                    <a:pt x="535184" y="408706"/>
                  </a:lnTo>
                  <a:lnTo>
                    <a:pt x="594922" y="408706"/>
                  </a:lnTo>
                  <a:cubicBezTo>
                    <a:pt x="597976" y="408706"/>
                    <a:pt x="600798" y="407081"/>
                    <a:pt x="602325" y="404442"/>
                  </a:cubicBezTo>
                  <a:cubicBezTo>
                    <a:pt x="603852" y="401804"/>
                    <a:pt x="603864" y="398542"/>
                    <a:pt x="602337" y="395903"/>
                  </a:cubicBezTo>
                  <a:close/>
                  <a:moveTo>
                    <a:pt x="182231" y="122099"/>
                  </a:moveTo>
                  <a:cubicBezTo>
                    <a:pt x="181950" y="117750"/>
                    <a:pt x="181950" y="113389"/>
                    <a:pt x="182231" y="109052"/>
                  </a:cubicBezTo>
                  <a:lnTo>
                    <a:pt x="200445" y="106584"/>
                  </a:lnTo>
                  <a:cubicBezTo>
                    <a:pt x="204012" y="106096"/>
                    <a:pt x="206908" y="103432"/>
                    <a:pt x="207653" y="99902"/>
                  </a:cubicBezTo>
                  <a:cubicBezTo>
                    <a:pt x="209546" y="91082"/>
                    <a:pt x="212991" y="82762"/>
                    <a:pt x="217915" y="75164"/>
                  </a:cubicBezTo>
                  <a:cubicBezTo>
                    <a:pt x="219869" y="72134"/>
                    <a:pt x="219723" y="68201"/>
                    <a:pt x="217536" y="65342"/>
                  </a:cubicBezTo>
                  <a:lnTo>
                    <a:pt x="206407" y="50719"/>
                  </a:lnTo>
                  <a:cubicBezTo>
                    <a:pt x="209278" y="47445"/>
                    <a:pt x="212356" y="44354"/>
                    <a:pt x="215642" y="41484"/>
                  </a:cubicBezTo>
                  <a:lnTo>
                    <a:pt x="230265" y="52613"/>
                  </a:lnTo>
                  <a:cubicBezTo>
                    <a:pt x="233136" y="54799"/>
                    <a:pt x="237070" y="54946"/>
                    <a:pt x="240087" y="52991"/>
                  </a:cubicBezTo>
                  <a:cubicBezTo>
                    <a:pt x="247686" y="48080"/>
                    <a:pt x="256005" y="44623"/>
                    <a:pt x="264825" y="42742"/>
                  </a:cubicBezTo>
                  <a:cubicBezTo>
                    <a:pt x="268356" y="41984"/>
                    <a:pt x="271031" y="39101"/>
                    <a:pt x="271507" y="35534"/>
                  </a:cubicBezTo>
                  <a:lnTo>
                    <a:pt x="273975" y="17320"/>
                  </a:lnTo>
                  <a:cubicBezTo>
                    <a:pt x="278324" y="17039"/>
                    <a:pt x="282685" y="17039"/>
                    <a:pt x="287022" y="17320"/>
                  </a:cubicBezTo>
                  <a:lnTo>
                    <a:pt x="289490" y="35534"/>
                  </a:lnTo>
                  <a:cubicBezTo>
                    <a:pt x="289979" y="39101"/>
                    <a:pt x="292642" y="41997"/>
                    <a:pt x="296172" y="42742"/>
                  </a:cubicBezTo>
                  <a:cubicBezTo>
                    <a:pt x="304992" y="44635"/>
                    <a:pt x="313312" y="48080"/>
                    <a:pt x="320910" y="52991"/>
                  </a:cubicBezTo>
                  <a:cubicBezTo>
                    <a:pt x="323940" y="54946"/>
                    <a:pt x="327861" y="54799"/>
                    <a:pt x="330732" y="52613"/>
                  </a:cubicBezTo>
                  <a:lnTo>
                    <a:pt x="345355" y="41484"/>
                  </a:lnTo>
                  <a:cubicBezTo>
                    <a:pt x="348629" y="44354"/>
                    <a:pt x="351720" y="47433"/>
                    <a:pt x="354591" y="50719"/>
                  </a:cubicBezTo>
                  <a:lnTo>
                    <a:pt x="343462" y="65342"/>
                  </a:lnTo>
                  <a:cubicBezTo>
                    <a:pt x="341275" y="68213"/>
                    <a:pt x="341128" y="72146"/>
                    <a:pt x="343083" y="75164"/>
                  </a:cubicBezTo>
                  <a:cubicBezTo>
                    <a:pt x="347994" y="82762"/>
                    <a:pt x="351451" y="91082"/>
                    <a:pt x="353345" y="99902"/>
                  </a:cubicBezTo>
                  <a:cubicBezTo>
                    <a:pt x="354102" y="103432"/>
                    <a:pt x="356985" y="106096"/>
                    <a:pt x="360552" y="106584"/>
                  </a:cubicBezTo>
                  <a:lnTo>
                    <a:pt x="378767" y="109052"/>
                  </a:lnTo>
                  <a:cubicBezTo>
                    <a:pt x="379048" y="113401"/>
                    <a:pt x="379048" y="117762"/>
                    <a:pt x="378767" y="122099"/>
                  </a:cubicBezTo>
                  <a:lnTo>
                    <a:pt x="360552" y="124567"/>
                  </a:lnTo>
                  <a:cubicBezTo>
                    <a:pt x="356973" y="125055"/>
                    <a:pt x="354090" y="127731"/>
                    <a:pt x="353345" y="131249"/>
                  </a:cubicBezTo>
                  <a:cubicBezTo>
                    <a:pt x="351463" y="140069"/>
                    <a:pt x="348006" y="148388"/>
                    <a:pt x="343095" y="155987"/>
                  </a:cubicBezTo>
                  <a:cubicBezTo>
                    <a:pt x="341140" y="159017"/>
                    <a:pt x="341287" y="162950"/>
                    <a:pt x="343474" y="165809"/>
                  </a:cubicBezTo>
                  <a:lnTo>
                    <a:pt x="354603" y="180432"/>
                  </a:lnTo>
                  <a:cubicBezTo>
                    <a:pt x="351732" y="183706"/>
                    <a:pt x="348653" y="186797"/>
                    <a:pt x="345367" y="189667"/>
                  </a:cubicBezTo>
                  <a:lnTo>
                    <a:pt x="330744" y="178538"/>
                  </a:lnTo>
                  <a:cubicBezTo>
                    <a:pt x="327874" y="176352"/>
                    <a:pt x="323940" y="176205"/>
                    <a:pt x="320922" y="178160"/>
                  </a:cubicBezTo>
                  <a:cubicBezTo>
                    <a:pt x="313324" y="183083"/>
                    <a:pt x="305005" y="186528"/>
                    <a:pt x="296184" y="188421"/>
                  </a:cubicBezTo>
                  <a:cubicBezTo>
                    <a:pt x="292654" y="189179"/>
                    <a:pt x="289991" y="192062"/>
                    <a:pt x="289502" y="195629"/>
                  </a:cubicBezTo>
                  <a:lnTo>
                    <a:pt x="287034" y="213831"/>
                  </a:lnTo>
                  <a:cubicBezTo>
                    <a:pt x="282685" y="214112"/>
                    <a:pt x="278324" y="214112"/>
                    <a:pt x="273987" y="213831"/>
                  </a:cubicBezTo>
                  <a:lnTo>
                    <a:pt x="271520" y="195617"/>
                  </a:lnTo>
                  <a:cubicBezTo>
                    <a:pt x="271031" y="192050"/>
                    <a:pt x="268368" y="189154"/>
                    <a:pt x="264837" y="188409"/>
                  </a:cubicBezTo>
                  <a:cubicBezTo>
                    <a:pt x="256017" y="186516"/>
                    <a:pt x="247698" y="183071"/>
                    <a:pt x="240099" y="178160"/>
                  </a:cubicBezTo>
                  <a:cubicBezTo>
                    <a:pt x="237070" y="176205"/>
                    <a:pt x="233136" y="176352"/>
                    <a:pt x="230277" y="178538"/>
                  </a:cubicBezTo>
                  <a:lnTo>
                    <a:pt x="215655" y="189667"/>
                  </a:lnTo>
                  <a:cubicBezTo>
                    <a:pt x="212381" y="186797"/>
                    <a:pt x="209290" y="183718"/>
                    <a:pt x="206419" y="180432"/>
                  </a:cubicBezTo>
                  <a:lnTo>
                    <a:pt x="217548" y="165809"/>
                  </a:lnTo>
                  <a:cubicBezTo>
                    <a:pt x="219735" y="162938"/>
                    <a:pt x="219881" y="159004"/>
                    <a:pt x="217927" y="155987"/>
                  </a:cubicBezTo>
                  <a:cubicBezTo>
                    <a:pt x="213004" y="148388"/>
                    <a:pt x="209559" y="140069"/>
                    <a:pt x="207665" y="131249"/>
                  </a:cubicBezTo>
                  <a:cubicBezTo>
                    <a:pt x="206908" y="127718"/>
                    <a:pt x="204025" y="125055"/>
                    <a:pt x="200457" y="124567"/>
                  </a:cubicBezTo>
                  <a:lnTo>
                    <a:pt x="182255" y="122099"/>
                  </a:lnTo>
                  <a:close/>
                  <a:moveTo>
                    <a:pt x="180020" y="387889"/>
                  </a:moveTo>
                  <a:lnTo>
                    <a:pt x="165445" y="376797"/>
                  </a:lnTo>
                  <a:cubicBezTo>
                    <a:pt x="162575" y="374610"/>
                    <a:pt x="158641" y="374463"/>
                    <a:pt x="155624" y="376418"/>
                  </a:cubicBezTo>
                  <a:cubicBezTo>
                    <a:pt x="148049" y="381329"/>
                    <a:pt x="139742" y="384762"/>
                    <a:pt x="130947" y="386655"/>
                  </a:cubicBezTo>
                  <a:cubicBezTo>
                    <a:pt x="127416" y="387413"/>
                    <a:pt x="124753" y="390296"/>
                    <a:pt x="124264" y="393863"/>
                  </a:cubicBezTo>
                  <a:lnTo>
                    <a:pt x="121809" y="412016"/>
                  </a:lnTo>
                  <a:cubicBezTo>
                    <a:pt x="117484" y="412297"/>
                    <a:pt x="113147" y="412297"/>
                    <a:pt x="108823" y="412016"/>
                  </a:cubicBezTo>
                  <a:lnTo>
                    <a:pt x="106367" y="393863"/>
                  </a:lnTo>
                  <a:cubicBezTo>
                    <a:pt x="105879" y="390296"/>
                    <a:pt x="103216" y="387401"/>
                    <a:pt x="99685" y="386655"/>
                  </a:cubicBezTo>
                  <a:cubicBezTo>
                    <a:pt x="90889" y="384774"/>
                    <a:pt x="82582" y="381329"/>
                    <a:pt x="75008" y="376430"/>
                  </a:cubicBezTo>
                  <a:cubicBezTo>
                    <a:pt x="71978" y="374476"/>
                    <a:pt x="68045" y="374622"/>
                    <a:pt x="65186" y="376809"/>
                  </a:cubicBezTo>
                  <a:lnTo>
                    <a:pt x="50612" y="387914"/>
                  </a:lnTo>
                  <a:cubicBezTo>
                    <a:pt x="47350" y="385055"/>
                    <a:pt x="44284" y="381989"/>
                    <a:pt x="41426" y="378727"/>
                  </a:cubicBezTo>
                  <a:lnTo>
                    <a:pt x="52518" y="364153"/>
                  </a:lnTo>
                  <a:cubicBezTo>
                    <a:pt x="54705" y="361282"/>
                    <a:pt x="54851" y="357348"/>
                    <a:pt x="52897" y="354331"/>
                  </a:cubicBezTo>
                  <a:cubicBezTo>
                    <a:pt x="47986" y="346757"/>
                    <a:pt x="44553" y="338450"/>
                    <a:pt x="42659" y="329654"/>
                  </a:cubicBezTo>
                  <a:cubicBezTo>
                    <a:pt x="41902" y="326124"/>
                    <a:pt x="39019" y="323460"/>
                    <a:pt x="35452" y="322972"/>
                  </a:cubicBezTo>
                  <a:lnTo>
                    <a:pt x="17298" y="320516"/>
                  </a:lnTo>
                  <a:cubicBezTo>
                    <a:pt x="17017" y="316192"/>
                    <a:pt x="17017" y="311855"/>
                    <a:pt x="17298" y="307530"/>
                  </a:cubicBezTo>
                  <a:lnTo>
                    <a:pt x="35452" y="305075"/>
                  </a:lnTo>
                  <a:cubicBezTo>
                    <a:pt x="39019" y="304586"/>
                    <a:pt x="41914" y="301923"/>
                    <a:pt x="42659" y="298393"/>
                  </a:cubicBezTo>
                  <a:cubicBezTo>
                    <a:pt x="44541" y="289597"/>
                    <a:pt x="47986" y="281290"/>
                    <a:pt x="52884" y="273716"/>
                  </a:cubicBezTo>
                  <a:cubicBezTo>
                    <a:pt x="54839" y="270686"/>
                    <a:pt x="54692" y="266764"/>
                    <a:pt x="52506" y="263894"/>
                  </a:cubicBezTo>
                  <a:lnTo>
                    <a:pt x="41401" y="249320"/>
                  </a:lnTo>
                  <a:cubicBezTo>
                    <a:pt x="44260" y="246058"/>
                    <a:pt x="47326" y="242992"/>
                    <a:pt x="50588" y="240133"/>
                  </a:cubicBezTo>
                  <a:lnTo>
                    <a:pt x="65162" y="251238"/>
                  </a:lnTo>
                  <a:cubicBezTo>
                    <a:pt x="68033" y="253424"/>
                    <a:pt x="71966" y="253571"/>
                    <a:pt x="74984" y="251616"/>
                  </a:cubicBezTo>
                  <a:cubicBezTo>
                    <a:pt x="82558" y="246705"/>
                    <a:pt x="90865" y="243273"/>
                    <a:pt x="99661" y="241391"/>
                  </a:cubicBezTo>
                  <a:cubicBezTo>
                    <a:pt x="103191" y="240634"/>
                    <a:pt x="105867" y="237751"/>
                    <a:pt x="106343" y="234184"/>
                  </a:cubicBezTo>
                  <a:lnTo>
                    <a:pt x="108798" y="216030"/>
                  </a:lnTo>
                  <a:cubicBezTo>
                    <a:pt x="113123" y="215749"/>
                    <a:pt x="117460" y="215749"/>
                    <a:pt x="121784" y="216030"/>
                  </a:cubicBezTo>
                  <a:lnTo>
                    <a:pt x="124240" y="234184"/>
                  </a:lnTo>
                  <a:cubicBezTo>
                    <a:pt x="124729" y="237751"/>
                    <a:pt x="127392" y="240646"/>
                    <a:pt x="130922" y="241391"/>
                  </a:cubicBezTo>
                  <a:cubicBezTo>
                    <a:pt x="139718" y="243273"/>
                    <a:pt x="148025" y="246718"/>
                    <a:pt x="155599" y="251616"/>
                  </a:cubicBezTo>
                  <a:cubicBezTo>
                    <a:pt x="158629" y="253571"/>
                    <a:pt x="162562" y="253424"/>
                    <a:pt x="165421" y="251238"/>
                  </a:cubicBezTo>
                  <a:lnTo>
                    <a:pt x="179995" y="240133"/>
                  </a:lnTo>
                  <a:cubicBezTo>
                    <a:pt x="183257" y="242992"/>
                    <a:pt x="186323" y="246058"/>
                    <a:pt x="189182" y="249320"/>
                  </a:cubicBezTo>
                  <a:lnTo>
                    <a:pt x="178077" y="263894"/>
                  </a:lnTo>
                  <a:cubicBezTo>
                    <a:pt x="175890" y="266764"/>
                    <a:pt x="175744" y="270698"/>
                    <a:pt x="177698" y="273716"/>
                  </a:cubicBezTo>
                  <a:cubicBezTo>
                    <a:pt x="182597" y="281290"/>
                    <a:pt x="186042" y="289597"/>
                    <a:pt x="187936" y="298393"/>
                  </a:cubicBezTo>
                  <a:cubicBezTo>
                    <a:pt x="188693" y="301923"/>
                    <a:pt x="191576" y="304586"/>
                    <a:pt x="195143" y="305075"/>
                  </a:cubicBezTo>
                  <a:lnTo>
                    <a:pt x="213297" y="307530"/>
                  </a:lnTo>
                  <a:cubicBezTo>
                    <a:pt x="213578" y="311855"/>
                    <a:pt x="213578" y="316192"/>
                    <a:pt x="213297" y="320516"/>
                  </a:cubicBezTo>
                  <a:lnTo>
                    <a:pt x="195143" y="322972"/>
                  </a:lnTo>
                  <a:cubicBezTo>
                    <a:pt x="191576" y="323460"/>
                    <a:pt x="188681" y="326136"/>
                    <a:pt x="187936" y="329654"/>
                  </a:cubicBezTo>
                  <a:cubicBezTo>
                    <a:pt x="186054" y="338450"/>
                    <a:pt x="182609" y="346757"/>
                    <a:pt x="177711" y="354331"/>
                  </a:cubicBezTo>
                  <a:cubicBezTo>
                    <a:pt x="175756" y="357361"/>
                    <a:pt x="175903" y="361282"/>
                    <a:pt x="178089" y="364153"/>
                  </a:cubicBezTo>
                  <a:lnTo>
                    <a:pt x="189182" y="378727"/>
                  </a:lnTo>
                  <a:cubicBezTo>
                    <a:pt x="186323" y="381989"/>
                    <a:pt x="183257" y="385055"/>
                    <a:pt x="179995" y="387914"/>
                  </a:cubicBezTo>
                  <a:close/>
                  <a:moveTo>
                    <a:pt x="526608" y="391603"/>
                  </a:moveTo>
                  <a:cubicBezTo>
                    <a:pt x="521881" y="391603"/>
                    <a:pt x="518057" y="395427"/>
                    <a:pt x="518057" y="400154"/>
                  </a:cubicBezTo>
                  <a:lnTo>
                    <a:pt x="518057" y="453137"/>
                  </a:lnTo>
                  <a:cubicBezTo>
                    <a:pt x="518057" y="474210"/>
                    <a:pt x="500918" y="491349"/>
                    <a:pt x="479844" y="491349"/>
                  </a:cubicBezTo>
                  <a:lnTo>
                    <a:pt x="461740" y="491349"/>
                  </a:lnTo>
                  <a:cubicBezTo>
                    <a:pt x="457012" y="491349"/>
                    <a:pt x="453188" y="495173"/>
                    <a:pt x="453188" y="499901"/>
                  </a:cubicBezTo>
                  <a:lnTo>
                    <a:pt x="453188" y="557623"/>
                  </a:lnTo>
                  <a:lnTo>
                    <a:pt x="277921" y="557623"/>
                  </a:lnTo>
                  <a:lnTo>
                    <a:pt x="277921" y="459660"/>
                  </a:lnTo>
                  <a:cubicBezTo>
                    <a:pt x="277921" y="456520"/>
                    <a:pt x="276199" y="453637"/>
                    <a:pt x="273450" y="452147"/>
                  </a:cubicBezTo>
                  <a:cubicBezTo>
                    <a:pt x="244986" y="436706"/>
                    <a:pt x="221579" y="413898"/>
                    <a:pt x="205417" y="385971"/>
                  </a:cubicBezTo>
                  <a:cubicBezTo>
                    <a:pt x="205918" y="385348"/>
                    <a:pt x="206419" y="384737"/>
                    <a:pt x="206895" y="384102"/>
                  </a:cubicBezTo>
                  <a:cubicBezTo>
                    <a:pt x="209241" y="381036"/>
                    <a:pt x="209253" y="376785"/>
                    <a:pt x="206908" y="373718"/>
                  </a:cubicBezTo>
                  <a:lnTo>
                    <a:pt x="195229" y="358375"/>
                  </a:lnTo>
                  <a:cubicBezTo>
                    <a:pt x="198637" y="352266"/>
                    <a:pt x="201300" y="345816"/>
                    <a:pt x="203218" y="339109"/>
                  </a:cubicBezTo>
                  <a:lnTo>
                    <a:pt x="222325" y="336520"/>
                  </a:lnTo>
                  <a:cubicBezTo>
                    <a:pt x="226148" y="336007"/>
                    <a:pt x="229154" y="332989"/>
                    <a:pt x="229654" y="329165"/>
                  </a:cubicBezTo>
                  <a:cubicBezTo>
                    <a:pt x="230974" y="319087"/>
                    <a:pt x="230974" y="308886"/>
                    <a:pt x="229654" y="298808"/>
                  </a:cubicBezTo>
                  <a:cubicBezTo>
                    <a:pt x="229154" y="294984"/>
                    <a:pt x="226148" y="291967"/>
                    <a:pt x="222325" y="291454"/>
                  </a:cubicBezTo>
                  <a:lnTo>
                    <a:pt x="203218" y="288864"/>
                  </a:lnTo>
                  <a:cubicBezTo>
                    <a:pt x="201300" y="282145"/>
                    <a:pt x="198637" y="275707"/>
                    <a:pt x="195229" y="269599"/>
                  </a:cubicBezTo>
                  <a:lnTo>
                    <a:pt x="206908" y="254255"/>
                  </a:lnTo>
                  <a:cubicBezTo>
                    <a:pt x="209241" y="251189"/>
                    <a:pt x="209241" y="246937"/>
                    <a:pt x="206895" y="243871"/>
                  </a:cubicBezTo>
                  <a:cubicBezTo>
                    <a:pt x="203438" y="239351"/>
                    <a:pt x="199639" y="235112"/>
                    <a:pt x="195559" y="231166"/>
                  </a:cubicBezTo>
                  <a:cubicBezTo>
                    <a:pt x="199211" y="222468"/>
                    <a:pt x="203585" y="214063"/>
                    <a:pt x="208606" y="206062"/>
                  </a:cubicBezTo>
                  <a:cubicBezTo>
                    <a:pt x="209155" y="206501"/>
                    <a:pt x="209693" y="206941"/>
                    <a:pt x="210243" y="207357"/>
                  </a:cubicBezTo>
                  <a:cubicBezTo>
                    <a:pt x="213297" y="209702"/>
                    <a:pt x="217560" y="209714"/>
                    <a:pt x="220627" y="207369"/>
                  </a:cubicBezTo>
                  <a:lnTo>
                    <a:pt x="236007" y="195653"/>
                  </a:lnTo>
                  <a:cubicBezTo>
                    <a:pt x="242139" y="199062"/>
                    <a:pt x="248602" y="201749"/>
                    <a:pt x="255333" y="203667"/>
                  </a:cubicBezTo>
                  <a:lnTo>
                    <a:pt x="257923" y="222835"/>
                  </a:lnTo>
                  <a:cubicBezTo>
                    <a:pt x="258436" y="226658"/>
                    <a:pt x="261453" y="229664"/>
                    <a:pt x="265277" y="230164"/>
                  </a:cubicBezTo>
                  <a:cubicBezTo>
                    <a:pt x="270322" y="230824"/>
                    <a:pt x="275404" y="231166"/>
                    <a:pt x="280486" y="231166"/>
                  </a:cubicBezTo>
                  <a:cubicBezTo>
                    <a:pt x="285568" y="231166"/>
                    <a:pt x="290650" y="230836"/>
                    <a:pt x="295684" y="230177"/>
                  </a:cubicBezTo>
                  <a:cubicBezTo>
                    <a:pt x="299507" y="229676"/>
                    <a:pt x="302525" y="226671"/>
                    <a:pt x="303038" y="222847"/>
                  </a:cubicBezTo>
                  <a:lnTo>
                    <a:pt x="305628" y="203692"/>
                  </a:lnTo>
                  <a:cubicBezTo>
                    <a:pt x="312359" y="201774"/>
                    <a:pt x="318833" y="199086"/>
                    <a:pt x="324954" y="195678"/>
                  </a:cubicBezTo>
                  <a:lnTo>
                    <a:pt x="340334" y="207393"/>
                  </a:lnTo>
                  <a:cubicBezTo>
                    <a:pt x="343400" y="209727"/>
                    <a:pt x="347652" y="209727"/>
                    <a:pt x="350718" y="207381"/>
                  </a:cubicBezTo>
                  <a:cubicBezTo>
                    <a:pt x="358805" y="201187"/>
                    <a:pt x="366037" y="193943"/>
                    <a:pt x="372231" y="185868"/>
                  </a:cubicBezTo>
                  <a:cubicBezTo>
                    <a:pt x="374576" y="182802"/>
                    <a:pt x="374589" y="178551"/>
                    <a:pt x="372243" y="175484"/>
                  </a:cubicBezTo>
                  <a:lnTo>
                    <a:pt x="360528" y="160104"/>
                  </a:lnTo>
                  <a:cubicBezTo>
                    <a:pt x="363936" y="153971"/>
                    <a:pt x="366624" y="147509"/>
                    <a:pt x="368542" y="140778"/>
                  </a:cubicBezTo>
                  <a:lnTo>
                    <a:pt x="387709" y="138176"/>
                  </a:lnTo>
                  <a:cubicBezTo>
                    <a:pt x="391533" y="137663"/>
                    <a:pt x="394538" y="134645"/>
                    <a:pt x="395039" y="130821"/>
                  </a:cubicBezTo>
                  <a:cubicBezTo>
                    <a:pt x="395137" y="130052"/>
                    <a:pt x="395222" y="129282"/>
                    <a:pt x="395308" y="128500"/>
                  </a:cubicBezTo>
                  <a:cubicBezTo>
                    <a:pt x="475508" y="146739"/>
                    <a:pt x="533230" y="220343"/>
                    <a:pt x="530957" y="303536"/>
                  </a:cubicBezTo>
                  <a:cubicBezTo>
                    <a:pt x="530909" y="305111"/>
                    <a:pt x="531312" y="306663"/>
                    <a:pt x="532094" y="308031"/>
                  </a:cubicBezTo>
                  <a:lnTo>
                    <a:pt x="580079" y="391652"/>
                  </a:lnTo>
                  <a:lnTo>
                    <a:pt x="526560" y="391652"/>
                  </a:lnTo>
                  <a:close/>
                </a:path>
              </a:pathLst>
            </a:custGeom>
            <a:solidFill>
              <a:schemeClr val="bg1"/>
            </a:solidFill>
            <a:ln w="1209"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70" name="Group 69">
            <a:extLst>
              <a:ext uri="{FF2B5EF4-FFF2-40B4-BE49-F238E27FC236}">
                <a16:creationId xmlns:a16="http://schemas.microsoft.com/office/drawing/2014/main" id="{DA962D88-304B-ACA6-245A-C9B01C350C45}"/>
              </a:ext>
            </a:extLst>
          </p:cNvPr>
          <p:cNvGrpSpPr/>
          <p:nvPr/>
        </p:nvGrpSpPr>
        <p:grpSpPr>
          <a:xfrm>
            <a:off x="6234917" y="2935740"/>
            <a:ext cx="717426" cy="764395"/>
            <a:chOff x="6234917" y="2935740"/>
            <a:chExt cx="717426" cy="764395"/>
          </a:xfrm>
        </p:grpSpPr>
        <p:sp>
          <p:nvSpPr>
            <p:cNvPr id="33" name="Shape 5">
              <a:extLst>
                <a:ext uri="{FF2B5EF4-FFF2-40B4-BE49-F238E27FC236}">
                  <a16:creationId xmlns:a16="http://schemas.microsoft.com/office/drawing/2014/main" id="{AB2F2D84-EECB-8824-FA40-3A06F2C0944A}"/>
                </a:ext>
              </a:extLst>
            </p:cNvPr>
            <p:cNvSpPr/>
            <p:nvPr/>
          </p:nvSpPr>
          <p:spPr>
            <a:xfrm rot="5400000">
              <a:off x="6211432" y="2959225"/>
              <a:ext cx="764395" cy="717426"/>
            </a:xfrm>
            <a:prstGeom prst="chevron">
              <a:avLst>
                <a:gd name="adj" fmla="val 9474"/>
              </a:avLst>
            </a:prstGeom>
            <a:solidFill>
              <a:schemeClr val="accent1"/>
            </a:solidFill>
            <a:ln/>
          </p:spPr>
          <p:txBody>
            <a:bodyPr vert="vert270" anchor="ctr"/>
            <a:lstStyle/>
            <a:p>
              <a:pPr algn="ctr"/>
              <a:endParaRPr lang="en-IN" sz="1500">
                <a:solidFill>
                  <a:schemeClr val="bg1"/>
                </a:solidFill>
                <a:latin typeface="Moderat" pitchFamily="2" charset="77"/>
              </a:endParaRPr>
            </a:p>
          </p:txBody>
        </p:sp>
        <p:sp>
          <p:nvSpPr>
            <p:cNvPr id="55" name="Pic">
              <a:extLst>
                <a:ext uri="{FF2B5EF4-FFF2-40B4-BE49-F238E27FC236}">
                  <a16:creationId xmlns:a16="http://schemas.microsoft.com/office/drawing/2014/main" id="{3F94CF44-F1C7-7DA3-D529-78286A12E5BA}"/>
                </a:ext>
              </a:extLst>
            </p:cNvPr>
            <p:cNvSpPr>
              <a:spLocks noChangeAspect="1"/>
            </p:cNvSpPr>
            <p:nvPr/>
          </p:nvSpPr>
          <p:spPr>
            <a:xfrm>
              <a:off x="6392206" y="3126314"/>
              <a:ext cx="402847" cy="383247"/>
            </a:xfrm>
            <a:custGeom>
              <a:avLst/>
              <a:gdLst>
                <a:gd name="csX0" fmla="*/ 170783 w 589809"/>
                <a:gd name="csY0" fmla="*/ 356430 h 561112"/>
                <a:gd name="csX1" fmla="*/ 382419 w 589809"/>
                <a:gd name="csY1" fmla="*/ 356430 h 561112"/>
                <a:gd name="csX2" fmla="*/ 382419 w 589809"/>
                <a:gd name="csY2" fmla="*/ 340464 h 561112"/>
                <a:gd name="csX3" fmla="*/ 366452 w 589809"/>
                <a:gd name="csY3" fmla="*/ 324459 h 561112"/>
                <a:gd name="csX4" fmla="*/ 186788 w 589809"/>
                <a:gd name="csY4" fmla="*/ 324459 h 561112"/>
                <a:gd name="csX5" fmla="*/ 170783 w 589809"/>
                <a:gd name="csY5" fmla="*/ 340464 h 561112"/>
                <a:gd name="csX6" fmla="*/ 391318 w 589809"/>
                <a:gd name="csY6" fmla="*/ 374228 h 561112"/>
                <a:gd name="csX7" fmla="*/ 161884 w 589809"/>
                <a:gd name="csY7" fmla="*/ 374228 h 561112"/>
                <a:gd name="csX8" fmla="*/ 152985 w 589809"/>
                <a:gd name="csY8" fmla="*/ 365329 h 561112"/>
                <a:gd name="csX9" fmla="*/ 152985 w 589809"/>
                <a:gd name="csY9" fmla="*/ 340464 h 561112"/>
                <a:gd name="csX10" fmla="*/ 181131 w 589809"/>
                <a:gd name="csY10" fmla="*/ 307132 h 561112"/>
                <a:gd name="csX11" fmla="*/ 181131 w 589809"/>
                <a:gd name="csY11" fmla="*/ 290669 h 561112"/>
                <a:gd name="csX12" fmla="*/ 210001 w 589809"/>
                <a:gd name="csY12" fmla="*/ 257261 h 561112"/>
                <a:gd name="csX13" fmla="*/ 210001 w 589809"/>
                <a:gd name="csY13" fmla="*/ 247205 h 561112"/>
                <a:gd name="csX14" fmla="*/ 212454 w 589809"/>
                <a:gd name="csY14" fmla="*/ 241078 h 561112"/>
                <a:gd name="csX15" fmla="*/ 227162 w 589809"/>
                <a:gd name="csY15" fmla="*/ 213581 h 561112"/>
                <a:gd name="csX16" fmla="*/ 230112 w 589809"/>
                <a:gd name="csY16" fmla="*/ 204937 h 561112"/>
                <a:gd name="csX17" fmla="*/ 227264 w 589809"/>
                <a:gd name="csY17" fmla="*/ 194055 h 561112"/>
                <a:gd name="csX18" fmla="*/ 227264 w 589809"/>
                <a:gd name="csY18" fmla="*/ 182525 h 561112"/>
                <a:gd name="csX19" fmla="*/ 214221 w 589809"/>
                <a:gd name="csY19" fmla="*/ 130340 h 561112"/>
                <a:gd name="csX20" fmla="*/ 226298 w 589809"/>
                <a:gd name="csY20" fmla="*/ 122776 h 561112"/>
                <a:gd name="csX21" fmla="*/ 232603 w 589809"/>
                <a:gd name="csY21" fmla="*/ 42167 h 561112"/>
                <a:gd name="csX22" fmla="*/ 320675 w 589809"/>
                <a:gd name="csY22" fmla="*/ 42167 h 561112"/>
                <a:gd name="csX23" fmla="*/ 327743 w 589809"/>
                <a:gd name="csY23" fmla="*/ 50595 h 561112"/>
                <a:gd name="csX24" fmla="*/ 333870 w 589809"/>
                <a:gd name="csY24" fmla="*/ 51854 h 561112"/>
                <a:gd name="csX25" fmla="*/ 369834 w 589809"/>
                <a:gd name="csY25" fmla="*/ 36930 h 561112"/>
                <a:gd name="csX26" fmla="*/ 373291 w 589809"/>
                <a:gd name="csY26" fmla="*/ 32391 h 561112"/>
                <a:gd name="csX27" fmla="*/ 373330 w 589809"/>
                <a:gd name="csY27" fmla="*/ 32391 h 561112"/>
                <a:gd name="csX28" fmla="*/ 373330 w 589809"/>
                <a:gd name="csY28" fmla="*/ 32353 h 561112"/>
                <a:gd name="csX29" fmla="*/ 279169 w 589809"/>
                <a:gd name="csY29" fmla="*/ 17797 h 561112"/>
                <a:gd name="csX30" fmla="*/ 279169 w 589809"/>
                <a:gd name="csY30" fmla="*/ 17759 h 561112"/>
                <a:gd name="csX31" fmla="*/ 121370 w 589809"/>
                <a:gd name="csY31" fmla="*/ 66766 h 561112"/>
                <a:gd name="csX32" fmla="*/ 79978 w 589809"/>
                <a:gd name="csY32" fmla="*/ 172329 h 561112"/>
                <a:gd name="csX33" fmla="*/ 79978 w 589809"/>
                <a:gd name="csY33" fmla="*/ 262994 h 561112"/>
                <a:gd name="csX34" fmla="*/ 79940 w 589809"/>
                <a:gd name="csY34" fmla="*/ 262994 h 561112"/>
                <a:gd name="csX35" fmla="*/ 77995 w 589809"/>
                <a:gd name="csY35" fmla="*/ 268550 h 561112"/>
                <a:gd name="csX36" fmla="*/ 21959 w 589809"/>
                <a:gd name="csY36" fmla="*/ 338099 h 561112"/>
                <a:gd name="csX37" fmla="*/ 20014 w 589809"/>
                <a:gd name="csY37" fmla="*/ 351574 h 561112"/>
                <a:gd name="csX38" fmla="*/ 54286 w 589809"/>
                <a:gd name="csY38" fmla="*/ 364833 h 561112"/>
                <a:gd name="csX39" fmla="*/ 81389 w 589809"/>
                <a:gd name="csY39" fmla="*/ 380215 h 561112"/>
                <a:gd name="csX40" fmla="*/ 87478 w 589809"/>
                <a:gd name="csY40" fmla="*/ 435959 h 561112"/>
                <a:gd name="csX41" fmla="*/ 87478 w 589809"/>
                <a:gd name="csY41" fmla="*/ 451748 h 561112"/>
                <a:gd name="csX42" fmla="*/ 121497 w 589809"/>
                <a:gd name="csY42" fmla="*/ 482779 h 561112"/>
                <a:gd name="csX43" fmla="*/ 121497 w 589809"/>
                <a:gd name="csY43" fmla="*/ 482817 h 561112"/>
                <a:gd name="csX44" fmla="*/ 172270 w 589809"/>
                <a:gd name="csY44" fmla="*/ 482893 h 561112"/>
                <a:gd name="csX45" fmla="*/ 201382 w 589809"/>
                <a:gd name="csY45" fmla="*/ 501492 h 561112"/>
                <a:gd name="csX46" fmla="*/ 208691 w 589809"/>
                <a:gd name="csY46" fmla="*/ 539146 h 561112"/>
                <a:gd name="csX47" fmla="*/ 220399 w 589809"/>
                <a:gd name="csY47" fmla="*/ 543328 h 561112"/>
                <a:gd name="csX48" fmla="*/ 419526 w 589809"/>
                <a:gd name="csY48" fmla="*/ 543328 h 561112"/>
                <a:gd name="csX49" fmla="*/ 419526 w 589809"/>
                <a:gd name="csY49" fmla="*/ 458498 h 561112"/>
                <a:gd name="csX50" fmla="*/ 419565 w 589809"/>
                <a:gd name="csY50" fmla="*/ 458498 h 561112"/>
                <a:gd name="csX51" fmla="*/ 419641 w 589809"/>
                <a:gd name="csY51" fmla="*/ 457380 h 561112"/>
                <a:gd name="csX52" fmla="*/ 462164 w 589809"/>
                <a:gd name="csY52" fmla="*/ 320772 h 561112"/>
                <a:gd name="csX53" fmla="*/ 447239 w 589809"/>
                <a:gd name="csY53" fmla="*/ 325641 h 561112"/>
                <a:gd name="csX54" fmla="*/ 443782 w 589809"/>
                <a:gd name="csY54" fmla="*/ 330141 h 561112"/>
                <a:gd name="csX55" fmla="*/ 437184 w 589809"/>
                <a:gd name="csY55" fmla="*/ 355973 h 561112"/>
                <a:gd name="csX56" fmla="*/ 421293 w 589809"/>
                <a:gd name="csY56" fmla="*/ 362570 h 561112"/>
                <a:gd name="csX57" fmla="*/ 400216 w 589809"/>
                <a:gd name="csY57" fmla="*/ 362570 h 561112"/>
                <a:gd name="csX58" fmla="*/ 400216 w 589809"/>
                <a:gd name="csY58" fmla="*/ 365342 h 561112"/>
                <a:gd name="csX59" fmla="*/ 391318 w 589809"/>
                <a:gd name="csY59" fmla="*/ 374228 h 561112"/>
                <a:gd name="csX60" fmla="*/ 372084 w 589809"/>
                <a:gd name="csY60" fmla="*/ 307132 h 561112"/>
                <a:gd name="csX61" fmla="*/ 400229 w 589809"/>
                <a:gd name="csY61" fmla="*/ 340464 h 561112"/>
                <a:gd name="csX62" fmla="*/ 400229 w 589809"/>
                <a:gd name="csY62" fmla="*/ 344748 h 561112"/>
                <a:gd name="csX63" fmla="*/ 421306 w 589809"/>
                <a:gd name="csY63" fmla="*/ 344748 h 561112"/>
                <a:gd name="csX64" fmla="*/ 425997 w 589809"/>
                <a:gd name="csY64" fmla="*/ 340057 h 561112"/>
                <a:gd name="csX65" fmla="*/ 430612 w 589809"/>
                <a:gd name="csY65" fmla="*/ 316450 h 561112"/>
                <a:gd name="csX66" fmla="*/ 442650 w 589809"/>
                <a:gd name="csY66" fmla="*/ 308416 h 561112"/>
                <a:gd name="csX67" fmla="*/ 474330 w 589809"/>
                <a:gd name="csY67" fmla="*/ 295296 h 561112"/>
                <a:gd name="csX68" fmla="*/ 501458 w 589809"/>
                <a:gd name="csY68" fmla="*/ 298869 h 561112"/>
                <a:gd name="csX69" fmla="*/ 508488 w 589809"/>
                <a:gd name="csY69" fmla="*/ 305899 h 561112"/>
                <a:gd name="csX70" fmla="*/ 515124 w 589809"/>
                <a:gd name="csY70" fmla="*/ 305899 h 561112"/>
                <a:gd name="csX71" fmla="*/ 533175 w 589809"/>
                <a:gd name="csY71" fmla="*/ 287809 h 561112"/>
                <a:gd name="csX72" fmla="*/ 533213 w 589809"/>
                <a:gd name="csY72" fmla="*/ 287847 h 561112"/>
                <a:gd name="csX73" fmla="*/ 533175 w 589809"/>
                <a:gd name="csY73" fmla="*/ 281211 h 561112"/>
                <a:gd name="csX74" fmla="*/ 519738 w 589809"/>
                <a:gd name="csY74" fmla="*/ 261214 h 561112"/>
                <a:gd name="csX75" fmla="*/ 522624 w 589809"/>
                <a:gd name="csY75" fmla="*/ 247053 h 561112"/>
                <a:gd name="csX76" fmla="*/ 535743 w 589809"/>
                <a:gd name="csY76" fmla="*/ 215374 h 561112"/>
                <a:gd name="csX77" fmla="*/ 557431 w 589809"/>
                <a:gd name="csY77" fmla="*/ 198720 h 561112"/>
                <a:gd name="csX78" fmla="*/ 557431 w 589809"/>
                <a:gd name="csY78" fmla="*/ 198758 h 561112"/>
                <a:gd name="csX79" fmla="*/ 567346 w 589809"/>
                <a:gd name="csY79" fmla="*/ 198758 h 561112"/>
                <a:gd name="csX80" fmla="*/ 567346 w 589809"/>
                <a:gd name="csY80" fmla="*/ 198720 h 561112"/>
                <a:gd name="csX81" fmla="*/ 572037 w 589809"/>
                <a:gd name="csY81" fmla="*/ 194042 h 561112"/>
                <a:gd name="csX82" fmla="*/ 572037 w 589809"/>
                <a:gd name="csY82" fmla="*/ 168490 h 561112"/>
                <a:gd name="csX83" fmla="*/ 567346 w 589809"/>
                <a:gd name="csY83" fmla="*/ 163799 h 561112"/>
                <a:gd name="csX84" fmla="*/ 543739 w 589809"/>
                <a:gd name="csY84" fmla="*/ 159185 h 561112"/>
                <a:gd name="csX85" fmla="*/ 535743 w 589809"/>
                <a:gd name="csY85" fmla="*/ 147108 h 561112"/>
                <a:gd name="csX86" fmla="*/ 522624 w 589809"/>
                <a:gd name="csY86" fmla="*/ 115467 h 561112"/>
                <a:gd name="csX87" fmla="*/ 526158 w 589809"/>
                <a:gd name="csY87" fmla="*/ 88338 h 561112"/>
                <a:gd name="csX88" fmla="*/ 533188 w 589809"/>
                <a:gd name="csY88" fmla="*/ 81309 h 561112"/>
                <a:gd name="csX89" fmla="*/ 533188 w 589809"/>
                <a:gd name="csY89" fmla="*/ 74673 h 561112"/>
                <a:gd name="csX90" fmla="*/ 515136 w 589809"/>
                <a:gd name="csY90" fmla="*/ 56621 h 561112"/>
                <a:gd name="csX91" fmla="*/ 508501 w 589809"/>
                <a:gd name="csY91" fmla="*/ 56621 h 561112"/>
                <a:gd name="csX92" fmla="*/ 488504 w 589809"/>
                <a:gd name="csY92" fmla="*/ 70058 h 561112"/>
                <a:gd name="csX93" fmla="*/ 474342 w 589809"/>
                <a:gd name="csY93" fmla="*/ 67172 h 561112"/>
                <a:gd name="csX94" fmla="*/ 442663 w 589809"/>
                <a:gd name="csY94" fmla="*/ 54053 h 561112"/>
                <a:gd name="csX95" fmla="*/ 426010 w 589809"/>
                <a:gd name="csY95" fmla="*/ 32366 h 561112"/>
                <a:gd name="csX96" fmla="*/ 426010 w 589809"/>
                <a:gd name="csY96" fmla="*/ 22450 h 561112"/>
                <a:gd name="csX97" fmla="*/ 421319 w 589809"/>
                <a:gd name="csY97" fmla="*/ 17759 h 561112"/>
                <a:gd name="csX98" fmla="*/ 395767 w 589809"/>
                <a:gd name="csY98" fmla="*/ 17759 h 561112"/>
                <a:gd name="csX99" fmla="*/ 391076 w 589809"/>
                <a:gd name="csY99" fmla="*/ 22450 h 561112"/>
                <a:gd name="csX100" fmla="*/ 391038 w 589809"/>
                <a:gd name="csY100" fmla="*/ 22450 h 561112"/>
                <a:gd name="csX101" fmla="*/ 391038 w 589809"/>
                <a:gd name="csY101" fmla="*/ 32366 h 561112"/>
                <a:gd name="csX102" fmla="*/ 391076 w 589809"/>
                <a:gd name="csY102" fmla="*/ 32366 h 561112"/>
                <a:gd name="csX103" fmla="*/ 374423 w 589809"/>
                <a:gd name="csY103" fmla="*/ 54053 h 561112"/>
                <a:gd name="csX104" fmla="*/ 342744 w 589809"/>
                <a:gd name="csY104" fmla="*/ 67172 h 561112"/>
                <a:gd name="csX105" fmla="*/ 336654 w 589809"/>
                <a:gd name="csY105" fmla="*/ 69626 h 561112"/>
                <a:gd name="csX106" fmla="*/ 334277 w 589809"/>
                <a:gd name="csY106" fmla="*/ 109619 h 561112"/>
                <a:gd name="csX107" fmla="*/ 481512 w 589809"/>
                <a:gd name="csY107" fmla="*/ 108246 h 561112"/>
                <a:gd name="csX108" fmla="*/ 481512 w 589809"/>
                <a:gd name="csY108" fmla="*/ 254184 h 561112"/>
                <a:gd name="csX109" fmla="*/ 369007 w 589809"/>
                <a:gd name="csY109" fmla="*/ 276558 h 561112"/>
                <a:gd name="csX110" fmla="*/ 372071 w 589809"/>
                <a:gd name="csY110" fmla="*/ 290618 h 561112"/>
                <a:gd name="csX111" fmla="*/ 372071 w 589809"/>
                <a:gd name="csY111" fmla="*/ 307132 h 561112"/>
                <a:gd name="csX112" fmla="*/ 249053 w 589809"/>
                <a:gd name="csY112" fmla="*/ 121124 h 561112"/>
                <a:gd name="csX113" fmla="*/ 304187 w 589809"/>
                <a:gd name="csY113" fmla="*/ 121124 h 561112"/>
                <a:gd name="csX114" fmla="*/ 316073 w 589809"/>
                <a:gd name="csY114" fmla="*/ 106784 h 561112"/>
                <a:gd name="csX115" fmla="*/ 276614 w 589809"/>
                <a:gd name="csY115" fmla="*/ 41735 h 561112"/>
                <a:gd name="csX116" fmla="*/ 237116 w 589809"/>
                <a:gd name="csY116" fmla="*/ 106784 h 561112"/>
                <a:gd name="csX117" fmla="*/ 249053 w 589809"/>
                <a:gd name="csY117" fmla="*/ 121124 h 561112"/>
                <a:gd name="csX118" fmla="*/ 339540 w 589809"/>
                <a:gd name="csY118" fmla="*/ 130887 h 561112"/>
                <a:gd name="csX119" fmla="*/ 323141 w 589809"/>
                <a:gd name="csY119" fmla="*/ 183249 h 561112"/>
                <a:gd name="csX120" fmla="*/ 408543 w 589809"/>
                <a:gd name="csY120" fmla="*/ 266668 h 561112"/>
                <a:gd name="csX121" fmla="*/ 493907 w 589809"/>
                <a:gd name="csY121" fmla="*/ 181266 h 561112"/>
                <a:gd name="csX122" fmla="*/ 408543 w 589809"/>
                <a:gd name="csY122" fmla="*/ 95864 h 561112"/>
                <a:gd name="csX123" fmla="*/ 339540 w 589809"/>
                <a:gd name="csY123" fmla="*/ 130887 h 561112"/>
                <a:gd name="csX124" fmla="*/ 299941 w 589809"/>
                <a:gd name="csY124" fmla="*/ 183898 h 561112"/>
                <a:gd name="csX125" fmla="*/ 253312 w 589809"/>
                <a:gd name="csY125" fmla="*/ 183898 h 561112"/>
                <a:gd name="csX126" fmla="*/ 243765 w 589809"/>
                <a:gd name="csY126" fmla="*/ 219785 h 561112"/>
                <a:gd name="csX127" fmla="*/ 227798 w 589809"/>
                <a:gd name="csY127" fmla="*/ 250231 h 561112"/>
                <a:gd name="csX128" fmla="*/ 227798 w 589809"/>
                <a:gd name="csY128" fmla="*/ 256892 h 561112"/>
                <a:gd name="csX129" fmla="*/ 325455 w 589809"/>
                <a:gd name="csY129" fmla="*/ 256892 h 561112"/>
                <a:gd name="csX130" fmla="*/ 325455 w 589809"/>
                <a:gd name="csY130" fmla="*/ 250231 h 561112"/>
                <a:gd name="csX131" fmla="*/ 309450 w 589809"/>
                <a:gd name="csY131" fmla="*/ 219785 h 561112"/>
                <a:gd name="csX132" fmla="*/ 299941 w 589809"/>
                <a:gd name="csY132" fmla="*/ 183898 h 561112"/>
                <a:gd name="csX133" fmla="*/ 316836 w 589809"/>
                <a:gd name="csY133" fmla="*/ 138921 h 561112"/>
                <a:gd name="csX134" fmla="*/ 236366 w 589809"/>
                <a:gd name="csY134" fmla="*/ 138921 h 561112"/>
                <a:gd name="csX135" fmla="*/ 226781 w 589809"/>
                <a:gd name="csY135" fmla="*/ 162096 h 561112"/>
                <a:gd name="csX136" fmla="*/ 236366 w 589809"/>
                <a:gd name="csY136" fmla="*/ 166100 h 561112"/>
                <a:gd name="csX137" fmla="*/ 316836 w 589809"/>
                <a:gd name="csY137" fmla="*/ 166100 h 561112"/>
                <a:gd name="csX138" fmla="*/ 326421 w 589809"/>
                <a:gd name="csY138" fmla="*/ 142926 h 561112"/>
                <a:gd name="csX139" fmla="*/ 316836 w 589809"/>
                <a:gd name="csY139" fmla="*/ 138921 h 561112"/>
                <a:gd name="csX140" fmla="*/ 338320 w 589809"/>
                <a:gd name="csY140" fmla="*/ 274702 h 561112"/>
                <a:gd name="csX141" fmla="*/ 214933 w 589809"/>
                <a:gd name="csY141" fmla="*/ 274702 h 561112"/>
                <a:gd name="csX142" fmla="*/ 198928 w 589809"/>
                <a:gd name="csY142" fmla="*/ 290669 h 561112"/>
                <a:gd name="csX143" fmla="*/ 198928 w 589809"/>
                <a:gd name="csY143" fmla="*/ 306674 h 561112"/>
                <a:gd name="csX144" fmla="*/ 354274 w 589809"/>
                <a:gd name="csY144" fmla="*/ 306674 h 561112"/>
                <a:gd name="csX145" fmla="*/ 354274 w 589809"/>
                <a:gd name="csY145" fmla="*/ 290669 h 561112"/>
                <a:gd name="csX146" fmla="*/ 338320 w 589809"/>
                <a:gd name="csY146" fmla="*/ 274702 h 561112"/>
                <a:gd name="csX147" fmla="*/ 374855 w 589809"/>
                <a:gd name="csY147" fmla="*/ 14200 h 561112"/>
                <a:gd name="csX148" fmla="*/ 395754 w 589809"/>
                <a:gd name="csY148" fmla="*/ 0 h 561112"/>
                <a:gd name="csX149" fmla="*/ 421306 w 589809"/>
                <a:gd name="csY149" fmla="*/ 0 h 561112"/>
                <a:gd name="csX150" fmla="*/ 443794 w 589809"/>
                <a:gd name="csY150" fmla="*/ 22488 h 561112"/>
                <a:gd name="csX151" fmla="*/ 443794 w 589809"/>
                <a:gd name="csY151" fmla="*/ 32404 h 561112"/>
                <a:gd name="csX152" fmla="*/ 447252 w 589809"/>
                <a:gd name="csY152" fmla="*/ 36942 h 561112"/>
                <a:gd name="csX153" fmla="*/ 483216 w 589809"/>
                <a:gd name="csY153" fmla="*/ 51867 h 561112"/>
                <a:gd name="csX154" fmla="*/ 488873 w 589809"/>
                <a:gd name="csY154" fmla="*/ 51104 h 561112"/>
                <a:gd name="csX155" fmla="*/ 511793 w 589809"/>
                <a:gd name="csY155" fmla="*/ 37476 h 561112"/>
                <a:gd name="csX156" fmla="*/ 527684 w 589809"/>
                <a:gd name="csY156" fmla="*/ 44074 h 561112"/>
                <a:gd name="csX157" fmla="*/ 545735 w 589809"/>
                <a:gd name="csY157" fmla="*/ 62126 h 561112"/>
                <a:gd name="csX158" fmla="*/ 545735 w 589809"/>
                <a:gd name="csY158" fmla="*/ 93907 h 561112"/>
                <a:gd name="csX159" fmla="*/ 538705 w 589809"/>
                <a:gd name="csY159" fmla="*/ 100936 h 561112"/>
                <a:gd name="csX160" fmla="*/ 537942 w 589809"/>
                <a:gd name="csY160" fmla="*/ 106594 h 561112"/>
                <a:gd name="csX161" fmla="*/ 552867 w 589809"/>
                <a:gd name="csY161" fmla="*/ 142557 h 561112"/>
                <a:gd name="csX162" fmla="*/ 557405 w 589809"/>
                <a:gd name="csY162" fmla="*/ 146015 h 561112"/>
                <a:gd name="csX163" fmla="*/ 583211 w 589809"/>
                <a:gd name="csY163" fmla="*/ 152612 h 561112"/>
                <a:gd name="csX164" fmla="*/ 589809 w 589809"/>
                <a:gd name="csY164" fmla="*/ 168503 h 561112"/>
                <a:gd name="csX165" fmla="*/ 589809 w 589809"/>
                <a:gd name="csY165" fmla="*/ 194055 h 561112"/>
                <a:gd name="csX166" fmla="*/ 567321 w 589809"/>
                <a:gd name="csY166" fmla="*/ 216543 h 561112"/>
                <a:gd name="csX167" fmla="*/ 567321 w 589809"/>
                <a:gd name="csY167" fmla="*/ 216505 h 561112"/>
                <a:gd name="csX168" fmla="*/ 557405 w 589809"/>
                <a:gd name="csY168" fmla="*/ 216505 h 561112"/>
                <a:gd name="csX169" fmla="*/ 557405 w 589809"/>
                <a:gd name="csY169" fmla="*/ 216543 h 561112"/>
                <a:gd name="csX170" fmla="*/ 552867 w 589809"/>
                <a:gd name="csY170" fmla="*/ 220001 h 561112"/>
                <a:gd name="csX171" fmla="*/ 537942 w 589809"/>
                <a:gd name="csY171" fmla="*/ 255964 h 561112"/>
                <a:gd name="csX172" fmla="*/ 538705 w 589809"/>
                <a:gd name="csY172" fmla="*/ 261621 h 561112"/>
                <a:gd name="csX173" fmla="*/ 552333 w 589809"/>
                <a:gd name="csY173" fmla="*/ 284542 h 561112"/>
                <a:gd name="csX174" fmla="*/ 545735 w 589809"/>
                <a:gd name="csY174" fmla="*/ 300394 h 561112"/>
                <a:gd name="csX175" fmla="*/ 545735 w 589809"/>
                <a:gd name="csY175" fmla="*/ 300432 h 561112"/>
                <a:gd name="csX176" fmla="*/ 527684 w 589809"/>
                <a:gd name="csY176" fmla="*/ 318484 h 561112"/>
                <a:gd name="csX177" fmla="*/ 495903 w 589809"/>
                <a:gd name="csY177" fmla="*/ 318484 h 561112"/>
                <a:gd name="csX178" fmla="*/ 487652 w 589809"/>
                <a:gd name="csY178" fmla="*/ 310526 h 561112"/>
                <a:gd name="csX179" fmla="*/ 455439 w 589809"/>
                <a:gd name="csY179" fmla="*/ 382237 h 561112"/>
                <a:gd name="csX180" fmla="*/ 437349 w 589809"/>
                <a:gd name="csY180" fmla="*/ 458778 h 561112"/>
                <a:gd name="csX181" fmla="*/ 437349 w 589809"/>
                <a:gd name="csY181" fmla="*/ 552214 h 561112"/>
                <a:gd name="csX182" fmla="*/ 428451 w 589809"/>
                <a:gd name="csY182" fmla="*/ 561113 h 561112"/>
                <a:gd name="csX183" fmla="*/ 220412 w 589809"/>
                <a:gd name="csY183" fmla="*/ 561113 h 561112"/>
                <a:gd name="csX184" fmla="*/ 191224 w 589809"/>
                <a:gd name="csY184" fmla="*/ 542476 h 561112"/>
                <a:gd name="csX185" fmla="*/ 183940 w 589809"/>
                <a:gd name="csY185" fmla="*/ 504822 h 561112"/>
                <a:gd name="csX186" fmla="*/ 172270 w 589809"/>
                <a:gd name="csY186" fmla="*/ 500602 h 561112"/>
                <a:gd name="csX187" fmla="*/ 121497 w 589809"/>
                <a:gd name="csY187" fmla="*/ 500525 h 561112"/>
                <a:gd name="csX188" fmla="*/ 121497 w 589809"/>
                <a:gd name="csY188" fmla="*/ 500564 h 561112"/>
                <a:gd name="csX189" fmla="*/ 69681 w 589809"/>
                <a:gd name="csY189" fmla="*/ 451735 h 561112"/>
                <a:gd name="csX190" fmla="*/ 69757 w 589809"/>
                <a:gd name="csY190" fmla="*/ 435946 h 561112"/>
                <a:gd name="csX191" fmla="*/ 66516 w 589809"/>
                <a:gd name="csY191" fmla="*/ 389851 h 561112"/>
                <a:gd name="csX192" fmla="*/ 48858 w 589809"/>
                <a:gd name="csY192" fmla="*/ 381703 h 561112"/>
                <a:gd name="csX193" fmla="*/ 16607 w 589809"/>
                <a:gd name="csY193" fmla="*/ 369880 h 561112"/>
                <a:gd name="csX194" fmla="*/ 8140 w 589809"/>
                <a:gd name="csY194" fmla="*/ 326925 h 561112"/>
                <a:gd name="csX195" fmla="*/ 62181 w 589809"/>
                <a:gd name="csY195" fmla="*/ 259854 h 561112"/>
                <a:gd name="csX196" fmla="*/ 62257 w 589809"/>
                <a:gd name="csY196" fmla="*/ 169482 h 561112"/>
                <a:gd name="csX197" fmla="*/ 109026 w 589809"/>
                <a:gd name="csY197" fmla="*/ 53990 h 561112"/>
                <a:gd name="csX198" fmla="*/ 279143 w 589809"/>
                <a:gd name="csY198" fmla="*/ 51 h 561112"/>
                <a:gd name="csX199" fmla="*/ 279143 w 589809"/>
                <a:gd name="csY199" fmla="*/ 13 h 561112"/>
                <a:gd name="csX200" fmla="*/ 374855 w 589809"/>
                <a:gd name="csY200" fmla="*/ 14200 h 56111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Lst>
              <a:rect l="l" t="t" r="r" b="b"/>
              <a:pathLst>
                <a:path w="589809" h="561112">
                  <a:moveTo>
                    <a:pt x="170783" y="356430"/>
                  </a:moveTo>
                  <a:lnTo>
                    <a:pt x="382419" y="356430"/>
                  </a:lnTo>
                  <a:lnTo>
                    <a:pt x="382419" y="340464"/>
                  </a:lnTo>
                  <a:cubicBezTo>
                    <a:pt x="382419" y="331667"/>
                    <a:pt x="375211" y="324459"/>
                    <a:pt x="366452" y="324459"/>
                  </a:cubicBezTo>
                  <a:lnTo>
                    <a:pt x="186788" y="324459"/>
                  </a:lnTo>
                  <a:cubicBezTo>
                    <a:pt x="177991" y="324459"/>
                    <a:pt x="170783" y="331667"/>
                    <a:pt x="170783" y="340464"/>
                  </a:cubicBezTo>
                  <a:close/>
                  <a:moveTo>
                    <a:pt x="391318" y="374228"/>
                  </a:moveTo>
                  <a:lnTo>
                    <a:pt x="161884" y="374228"/>
                  </a:lnTo>
                  <a:cubicBezTo>
                    <a:pt x="156990" y="374228"/>
                    <a:pt x="152985" y="370261"/>
                    <a:pt x="152985" y="365329"/>
                  </a:cubicBezTo>
                  <a:lnTo>
                    <a:pt x="152985" y="340464"/>
                  </a:lnTo>
                  <a:cubicBezTo>
                    <a:pt x="152985" y="323887"/>
                    <a:pt x="165088" y="309865"/>
                    <a:pt x="181131" y="307132"/>
                  </a:cubicBezTo>
                  <a:lnTo>
                    <a:pt x="181131" y="290669"/>
                  </a:lnTo>
                  <a:cubicBezTo>
                    <a:pt x="181131" y="273876"/>
                    <a:pt x="193602" y="259676"/>
                    <a:pt x="210001" y="257261"/>
                  </a:cubicBezTo>
                  <a:lnTo>
                    <a:pt x="210001" y="247205"/>
                  </a:lnTo>
                  <a:cubicBezTo>
                    <a:pt x="210001" y="244828"/>
                    <a:pt x="210941" y="242705"/>
                    <a:pt x="212454" y="241078"/>
                  </a:cubicBezTo>
                  <a:cubicBezTo>
                    <a:pt x="218035" y="234086"/>
                    <a:pt x="223018" y="224755"/>
                    <a:pt x="227162" y="213581"/>
                  </a:cubicBezTo>
                  <a:cubicBezTo>
                    <a:pt x="228205" y="210810"/>
                    <a:pt x="229184" y="207924"/>
                    <a:pt x="230112" y="204937"/>
                  </a:cubicBezTo>
                  <a:cubicBezTo>
                    <a:pt x="228268" y="201657"/>
                    <a:pt x="227264" y="197907"/>
                    <a:pt x="227264" y="194055"/>
                  </a:cubicBezTo>
                  <a:lnTo>
                    <a:pt x="227264" y="182525"/>
                  </a:lnTo>
                  <a:cubicBezTo>
                    <a:pt x="204890" y="175711"/>
                    <a:pt x="197314" y="147248"/>
                    <a:pt x="214221" y="130340"/>
                  </a:cubicBezTo>
                  <a:cubicBezTo>
                    <a:pt x="217577" y="126959"/>
                    <a:pt x="221683" y="124353"/>
                    <a:pt x="226298" y="122776"/>
                  </a:cubicBezTo>
                  <a:cubicBezTo>
                    <a:pt x="208246" y="97987"/>
                    <a:pt x="210916" y="63854"/>
                    <a:pt x="232603" y="42167"/>
                  </a:cubicBezTo>
                  <a:cubicBezTo>
                    <a:pt x="256922" y="17848"/>
                    <a:pt x="296356" y="17848"/>
                    <a:pt x="320675" y="42167"/>
                  </a:cubicBezTo>
                  <a:cubicBezTo>
                    <a:pt x="323268" y="44760"/>
                    <a:pt x="325607" y="47608"/>
                    <a:pt x="327743" y="50595"/>
                  </a:cubicBezTo>
                  <a:cubicBezTo>
                    <a:pt x="329332" y="52502"/>
                    <a:pt x="331709" y="53112"/>
                    <a:pt x="333870" y="51854"/>
                  </a:cubicBezTo>
                  <a:cubicBezTo>
                    <a:pt x="345146" y="45332"/>
                    <a:pt x="357223" y="40286"/>
                    <a:pt x="369834" y="36930"/>
                  </a:cubicBezTo>
                  <a:cubicBezTo>
                    <a:pt x="371995" y="36357"/>
                    <a:pt x="373291" y="34629"/>
                    <a:pt x="373291" y="32391"/>
                  </a:cubicBezTo>
                  <a:lnTo>
                    <a:pt x="373330" y="32391"/>
                  </a:lnTo>
                  <a:lnTo>
                    <a:pt x="373330" y="32353"/>
                  </a:lnTo>
                  <a:cubicBezTo>
                    <a:pt x="342845" y="22120"/>
                    <a:pt x="312183" y="17797"/>
                    <a:pt x="279169" y="17797"/>
                  </a:cubicBezTo>
                  <a:lnTo>
                    <a:pt x="279169" y="17759"/>
                  </a:lnTo>
                  <a:cubicBezTo>
                    <a:pt x="201331" y="17759"/>
                    <a:pt x="151600" y="37692"/>
                    <a:pt x="121370" y="66766"/>
                  </a:cubicBezTo>
                  <a:cubicBezTo>
                    <a:pt x="90784" y="96144"/>
                    <a:pt x="79978" y="134853"/>
                    <a:pt x="79978" y="172329"/>
                  </a:cubicBezTo>
                  <a:lnTo>
                    <a:pt x="79978" y="262994"/>
                  </a:lnTo>
                  <a:lnTo>
                    <a:pt x="79940" y="262994"/>
                  </a:lnTo>
                  <a:cubicBezTo>
                    <a:pt x="79940" y="264939"/>
                    <a:pt x="79330" y="266884"/>
                    <a:pt x="77995" y="268550"/>
                  </a:cubicBezTo>
                  <a:lnTo>
                    <a:pt x="21959" y="338099"/>
                  </a:lnTo>
                  <a:cubicBezTo>
                    <a:pt x="18717" y="342129"/>
                    <a:pt x="15399" y="347824"/>
                    <a:pt x="20014" y="351574"/>
                  </a:cubicBezTo>
                  <a:cubicBezTo>
                    <a:pt x="24692" y="355324"/>
                    <a:pt x="52443" y="364223"/>
                    <a:pt x="54286" y="364833"/>
                  </a:cubicBezTo>
                  <a:cubicBezTo>
                    <a:pt x="68156" y="369295"/>
                    <a:pt x="75948" y="371825"/>
                    <a:pt x="81389" y="380215"/>
                  </a:cubicBezTo>
                  <a:cubicBezTo>
                    <a:pt x="87618" y="389800"/>
                    <a:pt x="87593" y="403886"/>
                    <a:pt x="87478" y="435959"/>
                  </a:cubicBezTo>
                  <a:lnTo>
                    <a:pt x="87478" y="451748"/>
                  </a:lnTo>
                  <a:cubicBezTo>
                    <a:pt x="87478" y="469482"/>
                    <a:pt x="103483" y="482779"/>
                    <a:pt x="121497" y="482779"/>
                  </a:cubicBezTo>
                  <a:lnTo>
                    <a:pt x="121497" y="482817"/>
                  </a:lnTo>
                  <a:lnTo>
                    <a:pt x="172270" y="482893"/>
                  </a:lnTo>
                  <a:cubicBezTo>
                    <a:pt x="184487" y="482893"/>
                    <a:pt x="198788" y="488042"/>
                    <a:pt x="201382" y="501492"/>
                  </a:cubicBezTo>
                  <a:lnTo>
                    <a:pt x="208691" y="539146"/>
                  </a:lnTo>
                  <a:cubicBezTo>
                    <a:pt x="209263" y="542133"/>
                    <a:pt x="216942" y="543328"/>
                    <a:pt x="220399" y="543328"/>
                  </a:cubicBezTo>
                  <a:lnTo>
                    <a:pt x="419526" y="543328"/>
                  </a:lnTo>
                  <a:lnTo>
                    <a:pt x="419526" y="458498"/>
                  </a:lnTo>
                  <a:lnTo>
                    <a:pt x="419565" y="458498"/>
                  </a:lnTo>
                  <a:cubicBezTo>
                    <a:pt x="419565" y="458142"/>
                    <a:pt x="419603" y="457774"/>
                    <a:pt x="419641" y="457380"/>
                  </a:cubicBezTo>
                  <a:cubicBezTo>
                    <a:pt x="425692" y="409670"/>
                    <a:pt x="440324" y="364299"/>
                    <a:pt x="462164" y="320772"/>
                  </a:cubicBezTo>
                  <a:cubicBezTo>
                    <a:pt x="457257" y="322641"/>
                    <a:pt x="452286" y="324268"/>
                    <a:pt x="447239" y="325641"/>
                  </a:cubicBezTo>
                  <a:cubicBezTo>
                    <a:pt x="445078" y="326213"/>
                    <a:pt x="443782" y="327942"/>
                    <a:pt x="443782" y="330141"/>
                  </a:cubicBezTo>
                  <a:cubicBezTo>
                    <a:pt x="443782" y="340120"/>
                    <a:pt x="444939" y="348231"/>
                    <a:pt x="437184" y="355973"/>
                  </a:cubicBezTo>
                  <a:cubicBezTo>
                    <a:pt x="433116" y="360041"/>
                    <a:pt x="427484" y="362570"/>
                    <a:pt x="421293" y="362570"/>
                  </a:cubicBezTo>
                  <a:lnTo>
                    <a:pt x="400216" y="362570"/>
                  </a:lnTo>
                  <a:lnTo>
                    <a:pt x="400216" y="365342"/>
                  </a:lnTo>
                  <a:cubicBezTo>
                    <a:pt x="400229" y="370274"/>
                    <a:pt x="396263" y="374228"/>
                    <a:pt x="391318" y="374228"/>
                  </a:cubicBezTo>
                  <a:close/>
                  <a:moveTo>
                    <a:pt x="372084" y="307132"/>
                  </a:moveTo>
                  <a:cubicBezTo>
                    <a:pt x="388152" y="309865"/>
                    <a:pt x="400229" y="323887"/>
                    <a:pt x="400229" y="340464"/>
                  </a:cubicBezTo>
                  <a:lnTo>
                    <a:pt x="400229" y="344748"/>
                  </a:lnTo>
                  <a:lnTo>
                    <a:pt x="421306" y="344748"/>
                  </a:lnTo>
                  <a:cubicBezTo>
                    <a:pt x="423861" y="344748"/>
                    <a:pt x="425997" y="342625"/>
                    <a:pt x="425997" y="340057"/>
                  </a:cubicBezTo>
                  <a:cubicBezTo>
                    <a:pt x="425997" y="331374"/>
                    <a:pt x="424955" y="323810"/>
                    <a:pt x="430612" y="316450"/>
                  </a:cubicBezTo>
                  <a:cubicBezTo>
                    <a:pt x="433561" y="312598"/>
                    <a:pt x="437705" y="309750"/>
                    <a:pt x="442650" y="308416"/>
                  </a:cubicBezTo>
                  <a:cubicBezTo>
                    <a:pt x="453786" y="305466"/>
                    <a:pt x="464452" y="301030"/>
                    <a:pt x="474330" y="295296"/>
                  </a:cubicBezTo>
                  <a:cubicBezTo>
                    <a:pt x="483190" y="290173"/>
                    <a:pt x="494263" y="291661"/>
                    <a:pt x="501458" y="298869"/>
                  </a:cubicBezTo>
                  <a:lnTo>
                    <a:pt x="508488" y="305899"/>
                  </a:lnTo>
                  <a:cubicBezTo>
                    <a:pt x="510293" y="307704"/>
                    <a:pt x="513280" y="307704"/>
                    <a:pt x="515124" y="305899"/>
                  </a:cubicBezTo>
                  <a:lnTo>
                    <a:pt x="533175" y="287809"/>
                  </a:lnTo>
                  <a:lnTo>
                    <a:pt x="533213" y="287847"/>
                  </a:lnTo>
                  <a:cubicBezTo>
                    <a:pt x="534981" y="286042"/>
                    <a:pt x="535019" y="283016"/>
                    <a:pt x="533175" y="281211"/>
                  </a:cubicBezTo>
                  <a:cubicBezTo>
                    <a:pt x="527010" y="275046"/>
                    <a:pt x="520959" y="270431"/>
                    <a:pt x="519738" y="261214"/>
                  </a:cubicBezTo>
                  <a:cubicBezTo>
                    <a:pt x="519128" y="256460"/>
                    <a:pt x="520069" y="251489"/>
                    <a:pt x="522624" y="247053"/>
                  </a:cubicBezTo>
                  <a:cubicBezTo>
                    <a:pt x="528319" y="237175"/>
                    <a:pt x="532756" y="226510"/>
                    <a:pt x="535743" y="215374"/>
                  </a:cubicBezTo>
                  <a:cubicBezTo>
                    <a:pt x="538375" y="205496"/>
                    <a:pt x="547197" y="198720"/>
                    <a:pt x="557431" y="198720"/>
                  </a:cubicBezTo>
                  <a:lnTo>
                    <a:pt x="557431" y="198758"/>
                  </a:lnTo>
                  <a:lnTo>
                    <a:pt x="567346" y="198758"/>
                  </a:lnTo>
                  <a:lnTo>
                    <a:pt x="567346" y="198720"/>
                  </a:lnTo>
                  <a:cubicBezTo>
                    <a:pt x="569901" y="198720"/>
                    <a:pt x="572037" y="196597"/>
                    <a:pt x="572037" y="194042"/>
                  </a:cubicBezTo>
                  <a:lnTo>
                    <a:pt x="572037" y="168490"/>
                  </a:lnTo>
                  <a:cubicBezTo>
                    <a:pt x="572037" y="165935"/>
                    <a:pt x="569914" y="163799"/>
                    <a:pt x="567346" y="163799"/>
                  </a:cubicBezTo>
                  <a:cubicBezTo>
                    <a:pt x="558664" y="163799"/>
                    <a:pt x="551100" y="164804"/>
                    <a:pt x="543739" y="159185"/>
                  </a:cubicBezTo>
                  <a:cubicBezTo>
                    <a:pt x="539926" y="156235"/>
                    <a:pt x="537040" y="152091"/>
                    <a:pt x="535743" y="147108"/>
                  </a:cubicBezTo>
                  <a:cubicBezTo>
                    <a:pt x="532756" y="135972"/>
                    <a:pt x="528319" y="125344"/>
                    <a:pt x="522624" y="115467"/>
                  </a:cubicBezTo>
                  <a:cubicBezTo>
                    <a:pt x="517475" y="106568"/>
                    <a:pt x="518950" y="95534"/>
                    <a:pt x="526158" y="88338"/>
                  </a:cubicBezTo>
                  <a:lnTo>
                    <a:pt x="533188" y="81309"/>
                  </a:lnTo>
                  <a:cubicBezTo>
                    <a:pt x="534993" y="79503"/>
                    <a:pt x="534993" y="76516"/>
                    <a:pt x="533188" y="74673"/>
                  </a:cubicBezTo>
                  <a:lnTo>
                    <a:pt x="515136" y="56621"/>
                  </a:lnTo>
                  <a:cubicBezTo>
                    <a:pt x="513293" y="54816"/>
                    <a:pt x="510306" y="54816"/>
                    <a:pt x="508501" y="56621"/>
                  </a:cubicBezTo>
                  <a:cubicBezTo>
                    <a:pt x="502335" y="62787"/>
                    <a:pt x="497720" y="68838"/>
                    <a:pt x="488504" y="70058"/>
                  </a:cubicBezTo>
                  <a:cubicBezTo>
                    <a:pt x="483749" y="70668"/>
                    <a:pt x="478779" y="69728"/>
                    <a:pt x="474342" y="67172"/>
                  </a:cubicBezTo>
                  <a:cubicBezTo>
                    <a:pt x="464363" y="61401"/>
                    <a:pt x="453837" y="57041"/>
                    <a:pt x="442663" y="54053"/>
                  </a:cubicBezTo>
                  <a:cubicBezTo>
                    <a:pt x="432785" y="51422"/>
                    <a:pt x="426010" y="42599"/>
                    <a:pt x="426010" y="32366"/>
                  </a:cubicBezTo>
                  <a:lnTo>
                    <a:pt x="426010" y="22450"/>
                  </a:lnTo>
                  <a:cubicBezTo>
                    <a:pt x="426010" y="19895"/>
                    <a:pt x="423887" y="17759"/>
                    <a:pt x="421319" y="17759"/>
                  </a:cubicBezTo>
                  <a:lnTo>
                    <a:pt x="395767" y="17759"/>
                  </a:lnTo>
                  <a:cubicBezTo>
                    <a:pt x="393212" y="17759"/>
                    <a:pt x="391076" y="19882"/>
                    <a:pt x="391076" y="22450"/>
                  </a:cubicBezTo>
                  <a:lnTo>
                    <a:pt x="391038" y="22450"/>
                  </a:lnTo>
                  <a:lnTo>
                    <a:pt x="391038" y="32366"/>
                  </a:lnTo>
                  <a:lnTo>
                    <a:pt x="391076" y="32366"/>
                  </a:lnTo>
                  <a:cubicBezTo>
                    <a:pt x="391076" y="42599"/>
                    <a:pt x="384300" y="51434"/>
                    <a:pt x="374423" y="54053"/>
                  </a:cubicBezTo>
                  <a:cubicBezTo>
                    <a:pt x="363287" y="57041"/>
                    <a:pt x="352621" y="61477"/>
                    <a:pt x="342744" y="67172"/>
                  </a:cubicBezTo>
                  <a:cubicBezTo>
                    <a:pt x="340799" y="68291"/>
                    <a:pt x="338739" y="69117"/>
                    <a:pt x="336654" y="69626"/>
                  </a:cubicBezTo>
                  <a:cubicBezTo>
                    <a:pt x="340290" y="82885"/>
                    <a:pt x="339426" y="96970"/>
                    <a:pt x="334277" y="109619"/>
                  </a:cubicBezTo>
                  <a:cubicBezTo>
                    <a:pt x="374207" y="68215"/>
                    <a:pt x="440540" y="67312"/>
                    <a:pt x="481512" y="108246"/>
                  </a:cubicBezTo>
                  <a:cubicBezTo>
                    <a:pt x="521798" y="148570"/>
                    <a:pt x="521798" y="213899"/>
                    <a:pt x="481512" y="254184"/>
                  </a:cubicBezTo>
                  <a:cubicBezTo>
                    <a:pt x="452185" y="283512"/>
                    <a:pt x="407780" y="292665"/>
                    <a:pt x="369007" y="276558"/>
                  </a:cubicBezTo>
                  <a:cubicBezTo>
                    <a:pt x="370991" y="280842"/>
                    <a:pt x="372071" y="285597"/>
                    <a:pt x="372071" y="290618"/>
                  </a:cubicBezTo>
                  <a:lnTo>
                    <a:pt x="372071" y="307132"/>
                  </a:lnTo>
                  <a:close/>
                  <a:moveTo>
                    <a:pt x="249053" y="121124"/>
                  </a:moveTo>
                  <a:lnTo>
                    <a:pt x="304187" y="121124"/>
                  </a:lnTo>
                  <a:cubicBezTo>
                    <a:pt x="309094" y="117234"/>
                    <a:pt x="313200" y="112327"/>
                    <a:pt x="316073" y="106784"/>
                  </a:cubicBezTo>
                  <a:cubicBezTo>
                    <a:pt x="331315" y="77597"/>
                    <a:pt x="310276" y="41735"/>
                    <a:pt x="276614" y="41735"/>
                  </a:cubicBezTo>
                  <a:cubicBezTo>
                    <a:pt x="242926" y="41735"/>
                    <a:pt x="221874" y="77584"/>
                    <a:pt x="237116" y="106784"/>
                  </a:cubicBezTo>
                  <a:cubicBezTo>
                    <a:pt x="240053" y="112327"/>
                    <a:pt x="244121" y="117234"/>
                    <a:pt x="249053" y="121124"/>
                  </a:cubicBezTo>
                  <a:close/>
                  <a:moveTo>
                    <a:pt x="339540" y="130887"/>
                  </a:moveTo>
                  <a:cubicBezTo>
                    <a:pt x="356727" y="148900"/>
                    <a:pt x="346964" y="178342"/>
                    <a:pt x="323141" y="183249"/>
                  </a:cubicBezTo>
                  <a:cubicBezTo>
                    <a:pt x="324222" y="229522"/>
                    <a:pt x="362028" y="266668"/>
                    <a:pt x="408543" y="266668"/>
                  </a:cubicBezTo>
                  <a:cubicBezTo>
                    <a:pt x="455681" y="266668"/>
                    <a:pt x="493907" y="228429"/>
                    <a:pt x="493907" y="181266"/>
                  </a:cubicBezTo>
                  <a:cubicBezTo>
                    <a:pt x="493907" y="134090"/>
                    <a:pt x="455668" y="95864"/>
                    <a:pt x="408543" y="95864"/>
                  </a:cubicBezTo>
                  <a:cubicBezTo>
                    <a:pt x="380868" y="95864"/>
                    <a:pt x="355545" y="109047"/>
                    <a:pt x="339540" y="130887"/>
                  </a:cubicBezTo>
                  <a:close/>
                  <a:moveTo>
                    <a:pt x="299941" y="183898"/>
                  </a:moveTo>
                  <a:lnTo>
                    <a:pt x="253312" y="183898"/>
                  </a:lnTo>
                  <a:cubicBezTo>
                    <a:pt x="251151" y="196191"/>
                    <a:pt x="248049" y="208293"/>
                    <a:pt x="243765" y="219785"/>
                  </a:cubicBezTo>
                  <a:cubicBezTo>
                    <a:pt x="239328" y="231747"/>
                    <a:pt x="233925" y="242057"/>
                    <a:pt x="227798" y="250231"/>
                  </a:cubicBezTo>
                  <a:lnTo>
                    <a:pt x="227798" y="256892"/>
                  </a:lnTo>
                  <a:lnTo>
                    <a:pt x="325455" y="256892"/>
                  </a:lnTo>
                  <a:lnTo>
                    <a:pt x="325455" y="250231"/>
                  </a:lnTo>
                  <a:cubicBezTo>
                    <a:pt x="319289" y="242057"/>
                    <a:pt x="313886" y="231747"/>
                    <a:pt x="309450" y="219785"/>
                  </a:cubicBezTo>
                  <a:cubicBezTo>
                    <a:pt x="305445" y="209017"/>
                    <a:pt x="302204" y="196941"/>
                    <a:pt x="299941" y="183898"/>
                  </a:cubicBezTo>
                  <a:close/>
                  <a:moveTo>
                    <a:pt x="316836" y="138921"/>
                  </a:moveTo>
                  <a:lnTo>
                    <a:pt x="236366" y="138921"/>
                  </a:lnTo>
                  <a:cubicBezTo>
                    <a:pt x="224505" y="138921"/>
                    <a:pt x="218137" y="153439"/>
                    <a:pt x="226781" y="162096"/>
                  </a:cubicBezTo>
                  <a:cubicBezTo>
                    <a:pt x="229273" y="164587"/>
                    <a:pt x="232654" y="166100"/>
                    <a:pt x="236366" y="166100"/>
                  </a:cubicBezTo>
                  <a:lnTo>
                    <a:pt x="316836" y="166100"/>
                  </a:lnTo>
                  <a:cubicBezTo>
                    <a:pt x="328722" y="166100"/>
                    <a:pt x="335065" y="151583"/>
                    <a:pt x="326421" y="142926"/>
                  </a:cubicBezTo>
                  <a:cubicBezTo>
                    <a:pt x="323967" y="140434"/>
                    <a:pt x="320548" y="138921"/>
                    <a:pt x="316836" y="138921"/>
                  </a:cubicBezTo>
                  <a:close/>
                  <a:moveTo>
                    <a:pt x="338320" y="274702"/>
                  </a:moveTo>
                  <a:lnTo>
                    <a:pt x="214933" y="274702"/>
                  </a:lnTo>
                  <a:cubicBezTo>
                    <a:pt x="206136" y="274702"/>
                    <a:pt x="198928" y="281910"/>
                    <a:pt x="198928" y="290669"/>
                  </a:cubicBezTo>
                  <a:lnTo>
                    <a:pt x="198928" y="306674"/>
                  </a:lnTo>
                  <a:lnTo>
                    <a:pt x="354274" y="306674"/>
                  </a:lnTo>
                  <a:lnTo>
                    <a:pt x="354274" y="290669"/>
                  </a:lnTo>
                  <a:cubicBezTo>
                    <a:pt x="354274" y="281910"/>
                    <a:pt x="347066" y="274702"/>
                    <a:pt x="338320" y="274702"/>
                  </a:cubicBezTo>
                  <a:close/>
                  <a:moveTo>
                    <a:pt x="374855" y="14200"/>
                  </a:moveTo>
                  <a:cubicBezTo>
                    <a:pt x="378211" y="5771"/>
                    <a:pt x="386423" y="0"/>
                    <a:pt x="395754" y="0"/>
                  </a:cubicBezTo>
                  <a:lnTo>
                    <a:pt x="421306" y="0"/>
                  </a:lnTo>
                  <a:cubicBezTo>
                    <a:pt x="433701" y="0"/>
                    <a:pt x="443794" y="10094"/>
                    <a:pt x="443794" y="22488"/>
                  </a:cubicBezTo>
                  <a:lnTo>
                    <a:pt x="443794" y="32404"/>
                  </a:lnTo>
                  <a:cubicBezTo>
                    <a:pt x="443794" y="34641"/>
                    <a:pt x="445091" y="36370"/>
                    <a:pt x="447252" y="36942"/>
                  </a:cubicBezTo>
                  <a:cubicBezTo>
                    <a:pt x="459787" y="40298"/>
                    <a:pt x="472003" y="45371"/>
                    <a:pt x="483216" y="51867"/>
                  </a:cubicBezTo>
                  <a:cubicBezTo>
                    <a:pt x="485161" y="52985"/>
                    <a:pt x="487284" y="52693"/>
                    <a:pt x="488873" y="51104"/>
                  </a:cubicBezTo>
                  <a:cubicBezTo>
                    <a:pt x="495941" y="44036"/>
                    <a:pt x="500835" y="37476"/>
                    <a:pt x="511793" y="37476"/>
                  </a:cubicBezTo>
                  <a:cubicBezTo>
                    <a:pt x="517526" y="37476"/>
                    <a:pt x="523285" y="39675"/>
                    <a:pt x="527684" y="44074"/>
                  </a:cubicBezTo>
                  <a:lnTo>
                    <a:pt x="545735" y="62126"/>
                  </a:lnTo>
                  <a:cubicBezTo>
                    <a:pt x="554494" y="70884"/>
                    <a:pt x="554494" y="85148"/>
                    <a:pt x="545735" y="93907"/>
                  </a:cubicBezTo>
                  <a:lnTo>
                    <a:pt x="538705" y="100936"/>
                  </a:lnTo>
                  <a:cubicBezTo>
                    <a:pt x="537116" y="102526"/>
                    <a:pt x="536837" y="104648"/>
                    <a:pt x="537942" y="106594"/>
                  </a:cubicBezTo>
                  <a:cubicBezTo>
                    <a:pt x="544464" y="117869"/>
                    <a:pt x="549473" y="129946"/>
                    <a:pt x="552867" y="142557"/>
                  </a:cubicBezTo>
                  <a:cubicBezTo>
                    <a:pt x="553439" y="144718"/>
                    <a:pt x="555168" y="146015"/>
                    <a:pt x="557405" y="146015"/>
                  </a:cubicBezTo>
                  <a:cubicBezTo>
                    <a:pt x="567384" y="146015"/>
                    <a:pt x="575457" y="144858"/>
                    <a:pt x="583211" y="152612"/>
                  </a:cubicBezTo>
                  <a:cubicBezTo>
                    <a:pt x="587279" y="156680"/>
                    <a:pt x="589809" y="162312"/>
                    <a:pt x="589809" y="168503"/>
                  </a:cubicBezTo>
                  <a:lnTo>
                    <a:pt x="589809" y="194055"/>
                  </a:lnTo>
                  <a:cubicBezTo>
                    <a:pt x="589809" y="206449"/>
                    <a:pt x="579715" y="216543"/>
                    <a:pt x="567321" y="216543"/>
                  </a:cubicBezTo>
                  <a:lnTo>
                    <a:pt x="567321" y="216505"/>
                  </a:lnTo>
                  <a:lnTo>
                    <a:pt x="557405" y="216505"/>
                  </a:lnTo>
                  <a:lnTo>
                    <a:pt x="557405" y="216543"/>
                  </a:lnTo>
                  <a:cubicBezTo>
                    <a:pt x="555168" y="216543"/>
                    <a:pt x="553439" y="217840"/>
                    <a:pt x="552867" y="220001"/>
                  </a:cubicBezTo>
                  <a:cubicBezTo>
                    <a:pt x="549485" y="232612"/>
                    <a:pt x="544477" y="244688"/>
                    <a:pt x="537942" y="255964"/>
                  </a:cubicBezTo>
                  <a:cubicBezTo>
                    <a:pt x="536824" y="257871"/>
                    <a:pt x="537116" y="259994"/>
                    <a:pt x="538705" y="261621"/>
                  </a:cubicBezTo>
                  <a:cubicBezTo>
                    <a:pt x="545773" y="268651"/>
                    <a:pt x="552333" y="273584"/>
                    <a:pt x="552333" y="284542"/>
                  </a:cubicBezTo>
                  <a:cubicBezTo>
                    <a:pt x="552333" y="290199"/>
                    <a:pt x="550096" y="296110"/>
                    <a:pt x="545735" y="300394"/>
                  </a:cubicBezTo>
                  <a:lnTo>
                    <a:pt x="545735" y="300432"/>
                  </a:lnTo>
                  <a:lnTo>
                    <a:pt x="527684" y="318484"/>
                  </a:lnTo>
                  <a:cubicBezTo>
                    <a:pt x="518925" y="327243"/>
                    <a:pt x="504661" y="327243"/>
                    <a:pt x="495903" y="318484"/>
                  </a:cubicBezTo>
                  <a:cubicBezTo>
                    <a:pt x="494491" y="317073"/>
                    <a:pt x="488911" y="311200"/>
                    <a:pt x="487652" y="310526"/>
                  </a:cubicBezTo>
                  <a:cubicBezTo>
                    <a:pt x="474495" y="334196"/>
                    <a:pt x="463766" y="358096"/>
                    <a:pt x="455439" y="382237"/>
                  </a:cubicBezTo>
                  <a:cubicBezTo>
                    <a:pt x="446680" y="407636"/>
                    <a:pt x="440667" y="433150"/>
                    <a:pt x="437349" y="458778"/>
                  </a:cubicBezTo>
                  <a:lnTo>
                    <a:pt x="437349" y="552214"/>
                  </a:lnTo>
                  <a:cubicBezTo>
                    <a:pt x="437349" y="557146"/>
                    <a:pt x="433383" y="561113"/>
                    <a:pt x="428451" y="561113"/>
                  </a:cubicBezTo>
                  <a:lnTo>
                    <a:pt x="220412" y="561113"/>
                  </a:lnTo>
                  <a:cubicBezTo>
                    <a:pt x="208272" y="561113"/>
                    <a:pt x="193856" y="555926"/>
                    <a:pt x="191224" y="542476"/>
                  </a:cubicBezTo>
                  <a:lnTo>
                    <a:pt x="183940" y="504822"/>
                  </a:lnTo>
                  <a:cubicBezTo>
                    <a:pt x="183368" y="501835"/>
                    <a:pt x="175652" y="500602"/>
                    <a:pt x="172270" y="500602"/>
                  </a:cubicBezTo>
                  <a:lnTo>
                    <a:pt x="121497" y="500525"/>
                  </a:lnTo>
                  <a:lnTo>
                    <a:pt x="121497" y="500564"/>
                  </a:lnTo>
                  <a:cubicBezTo>
                    <a:pt x="93746" y="500564"/>
                    <a:pt x="69681" y="479308"/>
                    <a:pt x="69681" y="451735"/>
                  </a:cubicBezTo>
                  <a:cubicBezTo>
                    <a:pt x="69681" y="447489"/>
                    <a:pt x="69719" y="445684"/>
                    <a:pt x="69757" y="435946"/>
                  </a:cubicBezTo>
                  <a:cubicBezTo>
                    <a:pt x="69872" y="407509"/>
                    <a:pt x="69897" y="395051"/>
                    <a:pt x="66516" y="389851"/>
                  </a:cubicBezTo>
                  <a:cubicBezTo>
                    <a:pt x="64494" y="386749"/>
                    <a:pt x="58876" y="384919"/>
                    <a:pt x="48858" y="381703"/>
                  </a:cubicBezTo>
                  <a:cubicBezTo>
                    <a:pt x="40710" y="379071"/>
                    <a:pt x="30196" y="375651"/>
                    <a:pt x="16607" y="369880"/>
                  </a:cubicBezTo>
                  <a:cubicBezTo>
                    <a:pt x="-2462" y="361808"/>
                    <a:pt x="-4864" y="343146"/>
                    <a:pt x="8140" y="326925"/>
                  </a:cubicBezTo>
                  <a:lnTo>
                    <a:pt x="62181" y="259854"/>
                  </a:lnTo>
                  <a:lnTo>
                    <a:pt x="62257" y="169482"/>
                  </a:lnTo>
                  <a:cubicBezTo>
                    <a:pt x="62804" y="128866"/>
                    <a:pt x="75300" y="86419"/>
                    <a:pt x="109026" y="53990"/>
                  </a:cubicBezTo>
                  <a:cubicBezTo>
                    <a:pt x="142320" y="21992"/>
                    <a:pt x="196093" y="51"/>
                    <a:pt x="279143" y="51"/>
                  </a:cubicBezTo>
                  <a:lnTo>
                    <a:pt x="279143" y="13"/>
                  </a:lnTo>
                  <a:cubicBezTo>
                    <a:pt x="312196" y="13"/>
                    <a:pt x="343862" y="4297"/>
                    <a:pt x="374855" y="14200"/>
                  </a:cubicBezTo>
                  <a:close/>
                </a:path>
              </a:pathLst>
            </a:custGeom>
            <a:solidFill>
              <a:schemeClr val="bg1"/>
            </a:solidFill>
            <a:ln w="126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69" name="Group 68">
            <a:extLst>
              <a:ext uri="{FF2B5EF4-FFF2-40B4-BE49-F238E27FC236}">
                <a16:creationId xmlns:a16="http://schemas.microsoft.com/office/drawing/2014/main" id="{3E07C0F2-E338-1129-C817-EA43612706CA}"/>
              </a:ext>
            </a:extLst>
          </p:cNvPr>
          <p:cNvGrpSpPr/>
          <p:nvPr/>
        </p:nvGrpSpPr>
        <p:grpSpPr>
          <a:xfrm>
            <a:off x="6234917" y="3697169"/>
            <a:ext cx="717426" cy="764395"/>
            <a:chOff x="6234917" y="3697169"/>
            <a:chExt cx="717426" cy="764395"/>
          </a:xfrm>
        </p:grpSpPr>
        <p:sp>
          <p:nvSpPr>
            <p:cNvPr id="38" name="Shape 5">
              <a:extLst>
                <a:ext uri="{FF2B5EF4-FFF2-40B4-BE49-F238E27FC236}">
                  <a16:creationId xmlns:a16="http://schemas.microsoft.com/office/drawing/2014/main" id="{2FA09F6D-72D5-0A6C-77E1-3CF46C7B1710}"/>
                </a:ext>
              </a:extLst>
            </p:cNvPr>
            <p:cNvSpPr/>
            <p:nvPr/>
          </p:nvSpPr>
          <p:spPr>
            <a:xfrm rot="5400000">
              <a:off x="6211432" y="3720654"/>
              <a:ext cx="764395" cy="717426"/>
            </a:xfrm>
            <a:prstGeom prst="chevron">
              <a:avLst>
                <a:gd name="adj" fmla="val 9474"/>
              </a:avLst>
            </a:prstGeom>
            <a:solidFill>
              <a:schemeClr val="accent1"/>
            </a:solidFill>
            <a:ln/>
          </p:spPr>
          <p:txBody>
            <a:bodyPr vert="vert270" anchor="ctr"/>
            <a:lstStyle/>
            <a:p>
              <a:pPr algn="ctr"/>
              <a:endParaRPr lang="en-IN" sz="1500">
                <a:solidFill>
                  <a:schemeClr val="bg1"/>
                </a:solidFill>
                <a:latin typeface="Moderat" pitchFamily="2" charset="77"/>
              </a:endParaRPr>
            </a:p>
          </p:txBody>
        </p:sp>
        <p:grpSp>
          <p:nvGrpSpPr>
            <p:cNvPr id="56" name="Pic">
              <a:extLst>
                <a:ext uri="{FF2B5EF4-FFF2-40B4-BE49-F238E27FC236}">
                  <a16:creationId xmlns:a16="http://schemas.microsoft.com/office/drawing/2014/main" id="{B72A355E-16FA-3B24-1493-C951B37D8362}"/>
                </a:ext>
              </a:extLst>
            </p:cNvPr>
            <p:cNvGrpSpPr>
              <a:grpSpLocks noChangeAspect="1"/>
            </p:cNvGrpSpPr>
            <p:nvPr/>
          </p:nvGrpSpPr>
          <p:grpSpPr>
            <a:xfrm>
              <a:off x="6364487" y="3850579"/>
              <a:ext cx="458286" cy="457575"/>
              <a:chOff x="7281299" y="4624383"/>
              <a:chExt cx="670977" cy="669934"/>
            </a:xfrm>
            <a:solidFill>
              <a:schemeClr val="bg1"/>
            </a:solidFill>
          </p:grpSpPr>
          <p:sp>
            <p:nvSpPr>
              <p:cNvPr id="59" name="Freeform: Shape 58">
                <a:extLst>
                  <a:ext uri="{FF2B5EF4-FFF2-40B4-BE49-F238E27FC236}">
                    <a16:creationId xmlns:a16="http://schemas.microsoft.com/office/drawing/2014/main" id="{C4599D1B-2FE3-C043-4E61-7C9A3D680084}"/>
                  </a:ext>
                </a:extLst>
              </p:cNvPr>
              <p:cNvSpPr/>
              <p:nvPr/>
            </p:nvSpPr>
            <p:spPr>
              <a:xfrm>
                <a:off x="7475803" y="4786451"/>
                <a:ext cx="281996" cy="140274"/>
              </a:xfrm>
              <a:custGeom>
                <a:avLst/>
                <a:gdLst>
                  <a:gd name="csX0" fmla="*/ 4710 w 281996"/>
                  <a:gd name="csY0" fmla="*/ 140274 h 140274"/>
                  <a:gd name="csX1" fmla="*/ 277201 w 281996"/>
                  <a:gd name="csY1" fmla="*/ 140274 h 140274"/>
                  <a:gd name="csX2" fmla="*/ 281164 w 281996"/>
                  <a:gd name="csY2" fmla="*/ 109763 h 140274"/>
                  <a:gd name="csX3" fmla="*/ 262936 w 281996"/>
                  <a:gd name="csY3" fmla="*/ 35795 h 140274"/>
                  <a:gd name="csX4" fmla="*/ 195969 w 281996"/>
                  <a:gd name="csY4" fmla="*/ 132 h 140274"/>
                  <a:gd name="csX5" fmla="*/ 168759 w 281996"/>
                  <a:gd name="csY5" fmla="*/ 132 h 140274"/>
                  <a:gd name="csX6" fmla="*/ 141022 w 281996"/>
                  <a:gd name="csY6" fmla="*/ 44381 h 140274"/>
                  <a:gd name="csX7" fmla="*/ 113416 w 281996"/>
                  <a:gd name="csY7" fmla="*/ 0 h 140274"/>
                  <a:gd name="csX8" fmla="*/ 86206 w 281996"/>
                  <a:gd name="csY8" fmla="*/ 0 h 140274"/>
                  <a:gd name="csX9" fmla="*/ 19107 w 281996"/>
                  <a:gd name="csY9" fmla="*/ 35663 h 140274"/>
                  <a:gd name="csX10" fmla="*/ 879 w 281996"/>
                  <a:gd name="csY10" fmla="*/ 109763 h 140274"/>
                  <a:gd name="csX11" fmla="*/ 36675 w 281996"/>
                  <a:gd name="csY11" fmla="*/ 48475 h 140274"/>
                  <a:gd name="csX12" fmla="*/ 86338 w 281996"/>
                  <a:gd name="csY12" fmla="*/ 21662 h 140274"/>
                  <a:gd name="csX13" fmla="*/ 101396 w 281996"/>
                  <a:gd name="csY13" fmla="*/ 21662 h 140274"/>
                  <a:gd name="csX14" fmla="*/ 141022 w 281996"/>
                  <a:gd name="csY14" fmla="*/ 85327 h 140274"/>
                  <a:gd name="csX15" fmla="*/ 180647 w 281996"/>
                  <a:gd name="csY15" fmla="*/ 21662 h 140274"/>
                  <a:gd name="csX16" fmla="*/ 195837 w 281996"/>
                  <a:gd name="csY16" fmla="*/ 21662 h 140274"/>
                  <a:gd name="csX17" fmla="*/ 245369 w 281996"/>
                  <a:gd name="csY17" fmla="*/ 48475 h 140274"/>
                  <a:gd name="csX18" fmla="*/ 259766 w 281996"/>
                  <a:gd name="csY18" fmla="*/ 107121 h 140274"/>
                  <a:gd name="csX19" fmla="*/ 258313 w 281996"/>
                  <a:gd name="csY19" fmla="*/ 118744 h 140274"/>
                  <a:gd name="csX20" fmla="*/ 23730 w 281996"/>
                  <a:gd name="csY20" fmla="*/ 118744 h 140274"/>
                  <a:gd name="csX21" fmla="*/ 22277 w 281996"/>
                  <a:gd name="csY21" fmla="*/ 107121 h 140274"/>
                  <a:gd name="csX22" fmla="*/ 36675 w 281996"/>
                  <a:gd name="csY22" fmla="*/ 48475 h 14027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281996" h="140274">
                    <a:moveTo>
                      <a:pt x="4710" y="140274"/>
                    </a:moveTo>
                    <a:lnTo>
                      <a:pt x="277201" y="140274"/>
                    </a:lnTo>
                    <a:lnTo>
                      <a:pt x="281164" y="109763"/>
                    </a:lnTo>
                    <a:cubicBezTo>
                      <a:pt x="284466" y="83478"/>
                      <a:pt x="277862" y="56532"/>
                      <a:pt x="262936" y="35795"/>
                    </a:cubicBezTo>
                    <a:cubicBezTo>
                      <a:pt x="246558" y="13076"/>
                      <a:pt x="222122" y="132"/>
                      <a:pt x="195969" y="132"/>
                    </a:cubicBezTo>
                    <a:lnTo>
                      <a:pt x="168759" y="132"/>
                    </a:lnTo>
                    <a:lnTo>
                      <a:pt x="141022" y="44381"/>
                    </a:lnTo>
                    <a:lnTo>
                      <a:pt x="113416" y="0"/>
                    </a:lnTo>
                    <a:lnTo>
                      <a:pt x="86206" y="0"/>
                    </a:lnTo>
                    <a:cubicBezTo>
                      <a:pt x="60054" y="0"/>
                      <a:pt x="35618" y="12944"/>
                      <a:pt x="19107" y="35663"/>
                    </a:cubicBezTo>
                    <a:cubicBezTo>
                      <a:pt x="4182" y="56400"/>
                      <a:pt x="-2555" y="83346"/>
                      <a:pt x="879" y="109763"/>
                    </a:cubicBezTo>
                    <a:close/>
                    <a:moveTo>
                      <a:pt x="36675" y="48475"/>
                    </a:moveTo>
                    <a:cubicBezTo>
                      <a:pt x="49090" y="31436"/>
                      <a:pt x="67186" y="21662"/>
                      <a:pt x="86338" y="21662"/>
                    </a:cubicBezTo>
                    <a:lnTo>
                      <a:pt x="101396" y="21662"/>
                    </a:lnTo>
                    <a:lnTo>
                      <a:pt x="141022" y="85327"/>
                    </a:lnTo>
                    <a:lnTo>
                      <a:pt x="180647" y="21662"/>
                    </a:lnTo>
                    <a:lnTo>
                      <a:pt x="195837" y="21662"/>
                    </a:lnTo>
                    <a:cubicBezTo>
                      <a:pt x="214989" y="21662"/>
                      <a:pt x="233085" y="31436"/>
                      <a:pt x="245369" y="48475"/>
                    </a:cubicBezTo>
                    <a:cubicBezTo>
                      <a:pt x="257124" y="64854"/>
                      <a:pt x="262408" y="86251"/>
                      <a:pt x="259766" y="107121"/>
                    </a:cubicBezTo>
                    <a:lnTo>
                      <a:pt x="258313" y="118744"/>
                    </a:lnTo>
                    <a:lnTo>
                      <a:pt x="23730" y="118744"/>
                    </a:lnTo>
                    <a:lnTo>
                      <a:pt x="22277" y="107121"/>
                    </a:lnTo>
                    <a:cubicBezTo>
                      <a:pt x="19636" y="86119"/>
                      <a:pt x="24919" y="64722"/>
                      <a:pt x="36675" y="48475"/>
                    </a:cubicBezTo>
                    <a:close/>
                  </a:path>
                </a:pathLst>
              </a:custGeom>
              <a:grpFill/>
              <a:ln w="1321" cap="flat">
                <a:noFill/>
                <a:prstDash val="solid"/>
                <a:miter/>
              </a:ln>
            </p:spPr>
            <p:txBody>
              <a:bodyPr/>
              <a:lstStyle/>
              <a:p>
                <a:endParaRPr lang="en-IN"/>
              </a:p>
            </p:txBody>
          </p:sp>
          <p:sp>
            <p:nvSpPr>
              <p:cNvPr id="60" name="Freeform: Shape 59">
                <a:extLst>
                  <a:ext uri="{FF2B5EF4-FFF2-40B4-BE49-F238E27FC236}">
                    <a16:creationId xmlns:a16="http://schemas.microsoft.com/office/drawing/2014/main" id="{1B0A6E56-4344-55E9-1E8E-563E5CF6EB9B}"/>
                  </a:ext>
                </a:extLst>
              </p:cNvPr>
              <p:cNvSpPr/>
              <p:nvPr/>
            </p:nvSpPr>
            <p:spPr>
              <a:xfrm>
                <a:off x="7551971" y="4624383"/>
                <a:ext cx="129707" cy="151369"/>
              </a:xfrm>
              <a:custGeom>
                <a:avLst/>
                <a:gdLst>
                  <a:gd name="csX0" fmla="*/ 64854 w 129707"/>
                  <a:gd name="csY0" fmla="*/ 151369 h 151369"/>
                  <a:gd name="csX1" fmla="*/ 129707 w 129707"/>
                  <a:gd name="csY1" fmla="*/ 64854 h 151369"/>
                  <a:gd name="csX2" fmla="*/ 64854 w 129707"/>
                  <a:gd name="csY2" fmla="*/ 0 h 151369"/>
                  <a:gd name="csX3" fmla="*/ 0 w 129707"/>
                  <a:gd name="csY3" fmla="*/ 64854 h 151369"/>
                  <a:gd name="csX4" fmla="*/ 64854 w 129707"/>
                  <a:gd name="csY4" fmla="*/ 151369 h 151369"/>
                  <a:gd name="csX5" fmla="*/ 64854 w 129707"/>
                  <a:gd name="csY5" fmla="*/ 21662 h 151369"/>
                  <a:gd name="csX6" fmla="*/ 108046 w 129707"/>
                  <a:gd name="csY6" fmla="*/ 64854 h 151369"/>
                  <a:gd name="csX7" fmla="*/ 64854 w 129707"/>
                  <a:gd name="csY7" fmla="*/ 129707 h 151369"/>
                  <a:gd name="csX8" fmla="*/ 21662 w 129707"/>
                  <a:gd name="csY8" fmla="*/ 64854 h 151369"/>
                  <a:gd name="csX9" fmla="*/ 64854 w 129707"/>
                  <a:gd name="csY9" fmla="*/ 21662 h 15136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29707" h="151369">
                    <a:moveTo>
                      <a:pt x="64854" y="151369"/>
                    </a:moveTo>
                    <a:cubicBezTo>
                      <a:pt x="102498" y="151369"/>
                      <a:pt x="129707" y="99724"/>
                      <a:pt x="129707" y="64854"/>
                    </a:cubicBezTo>
                    <a:cubicBezTo>
                      <a:pt x="129707" y="29059"/>
                      <a:pt x="100649" y="0"/>
                      <a:pt x="64854" y="0"/>
                    </a:cubicBezTo>
                    <a:cubicBezTo>
                      <a:pt x="29059" y="0"/>
                      <a:pt x="0" y="29059"/>
                      <a:pt x="0" y="64854"/>
                    </a:cubicBezTo>
                    <a:cubicBezTo>
                      <a:pt x="0" y="99724"/>
                      <a:pt x="27210" y="151369"/>
                      <a:pt x="64854" y="151369"/>
                    </a:cubicBezTo>
                    <a:close/>
                    <a:moveTo>
                      <a:pt x="64854" y="21662"/>
                    </a:moveTo>
                    <a:cubicBezTo>
                      <a:pt x="88629" y="21662"/>
                      <a:pt x="108046" y="41078"/>
                      <a:pt x="108046" y="64854"/>
                    </a:cubicBezTo>
                    <a:cubicBezTo>
                      <a:pt x="108046" y="91667"/>
                      <a:pt x="85723" y="129707"/>
                      <a:pt x="64854" y="129707"/>
                    </a:cubicBezTo>
                    <a:cubicBezTo>
                      <a:pt x="43984" y="129707"/>
                      <a:pt x="21662" y="91667"/>
                      <a:pt x="21662" y="64854"/>
                    </a:cubicBezTo>
                    <a:cubicBezTo>
                      <a:pt x="21662" y="41078"/>
                      <a:pt x="41078" y="21662"/>
                      <a:pt x="64854" y="21662"/>
                    </a:cubicBezTo>
                    <a:close/>
                  </a:path>
                </a:pathLst>
              </a:custGeom>
              <a:grpFill/>
              <a:ln w="1321" cap="flat">
                <a:noFill/>
                <a:prstDash val="solid"/>
                <a:miter/>
              </a:ln>
            </p:spPr>
            <p:txBody>
              <a:bodyPr/>
              <a:lstStyle/>
              <a:p>
                <a:endParaRPr lang="en-IN"/>
              </a:p>
            </p:txBody>
          </p:sp>
          <p:sp>
            <p:nvSpPr>
              <p:cNvPr id="61" name="Freeform: Shape 60">
                <a:extLst>
                  <a:ext uri="{FF2B5EF4-FFF2-40B4-BE49-F238E27FC236}">
                    <a16:creationId xmlns:a16="http://schemas.microsoft.com/office/drawing/2014/main" id="{C8D8F5D3-2D38-791E-5045-5165C9B69406}"/>
                  </a:ext>
                </a:extLst>
              </p:cNvPr>
              <p:cNvSpPr/>
              <p:nvPr/>
            </p:nvSpPr>
            <p:spPr>
              <a:xfrm>
                <a:off x="7281299" y="5154043"/>
                <a:ext cx="281940" cy="140274"/>
              </a:xfrm>
              <a:custGeom>
                <a:avLst/>
                <a:gdLst>
                  <a:gd name="csX0" fmla="*/ 195913 w 281940"/>
                  <a:gd name="csY0" fmla="*/ 0 h 140274"/>
                  <a:gd name="csX1" fmla="*/ 168703 w 281940"/>
                  <a:gd name="csY1" fmla="*/ 0 h 140274"/>
                  <a:gd name="csX2" fmla="*/ 141097 w 281940"/>
                  <a:gd name="csY2" fmla="*/ 44381 h 140274"/>
                  <a:gd name="csX3" fmla="*/ 113492 w 281940"/>
                  <a:gd name="csY3" fmla="*/ 0 h 140274"/>
                  <a:gd name="csX4" fmla="*/ 86282 w 281940"/>
                  <a:gd name="csY4" fmla="*/ 0 h 140274"/>
                  <a:gd name="csX5" fmla="*/ 19183 w 281940"/>
                  <a:gd name="csY5" fmla="*/ 35663 h 140274"/>
                  <a:gd name="csX6" fmla="*/ 823 w 281940"/>
                  <a:gd name="csY6" fmla="*/ 109763 h 140274"/>
                  <a:gd name="csX7" fmla="*/ 4654 w 281940"/>
                  <a:gd name="csY7" fmla="*/ 140274 h 140274"/>
                  <a:gd name="csX8" fmla="*/ 277145 w 281940"/>
                  <a:gd name="csY8" fmla="*/ 140274 h 140274"/>
                  <a:gd name="csX9" fmla="*/ 281107 w 281940"/>
                  <a:gd name="csY9" fmla="*/ 109763 h 140274"/>
                  <a:gd name="csX10" fmla="*/ 262880 w 281940"/>
                  <a:gd name="csY10" fmla="*/ 35795 h 140274"/>
                  <a:gd name="csX11" fmla="*/ 195913 w 281940"/>
                  <a:gd name="csY11" fmla="*/ 0 h 140274"/>
                  <a:gd name="csX12" fmla="*/ 259710 w 281940"/>
                  <a:gd name="csY12" fmla="*/ 106989 h 140274"/>
                  <a:gd name="csX13" fmla="*/ 258257 w 281940"/>
                  <a:gd name="csY13" fmla="*/ 118612 h 140274"/>
                  <a:gd name="csX14" fmla="*/ 23806 w 281940"/>
                  <a:gd name="csY14" fmla="*/ 118612 h 140274"/>
                  <a:gd name="csX15" fmla="*/ 22353 w 281940"/>
                  <a:gd name="csY15" fmla="*/ 106989 h 140274"/>
                  <a:gd name="csX16" fmla="*/ 36750 w 281940"/>
                  <a:gd name="csY16" fmla="*/ 48343 h 140274"/>
                  <a:gd name="csX17" fmla="*/ 86414 w 281940"/>
                  <a:gd name="csY17" fmla="*/ 21530 h 140274"/>
                  <a:gd name="csX18" fmla="*/ 101604 w 281940"/>
                  <a:gd name="csY18" fmla="*/ 21530 h 140274"/>
                  <a:gd name="csX19" fmla="*/ 141229 w 281940"/>
                  <a:gd name="csY19" fmla="*/ 85195 h 140274"/>
                  <a:gd name="csX20" fmla="*/ 180855 w 281940"/>
                  <a:gd name="csY20" fmla="*/ 21530 h 140274"/>
                  <a:gd name="csX21" fmla="*/ 196045 w 281940"/>
                  <a:gd name="csY21" fmla="*/ 21530 h 140274"/>
                  <a:gd name="csX22" fmla="*/ 245577 w 281940"/>
                  <a:gd name="csY22" fmla="*/ 48343 h 140274"/>
                  <a:gd name="csX23" fmla="*/ 259710 w 281940"/>
                  <a:gd name="csY23" fmla="*/ 106989 h 14027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Lst>
                <a:rect l="l" t="t" r="r" b="b"/>
                <a:pathLst>
                  <a:path w="281940" h="140274">
                    <a:moveTo>
                      <a:pt x="195913" y="0"/>
                    </a:moveTo>
                    <a:lnTo>
                      <a:pt x="168703" y="0"/>
                    </a:lnTo>
                    <a:lnTo>
                      <a:pt x="141097" y="44381"/>
                    </a:lnTo>
                    <a:lnTo>
                      <a:pt x="113492" y="0"/>
                    </a:lnTo>
                    <a:lnTo>
                      <a:pt x="86282" y="0"/>
                    </a:lnTo>
                    <a:cubicBezTo>
                      <a:pt x="60129" y="0"/>
                      <a:pt x="35694" y="12944"/>
                      <a:pt x="19183" y="35663"/>
                    </a:cubicBezTo>
                    <a:cubicBezTo>
                      <a:pt x="4257" y="56400"/>
                      <a:pt x="-2479" y="83478"/>
                      <a:pt x="823" y="109763"/>
                    </a:cubicBezTo>
                    <a:lnTo>
                      <a:pt x="4654" y="140274"/>
                    </a:lnTo>
                    <a:lnTo>
                      <a:pt x="277145" y="140274"/>
                    </a:lnTo>
                    <a:lnTo>
                      <a:pt x="281107" y="109763"/>
                    </a:lnTo>
                    <a:cubicBezTo>
                      <a:pt x="284410" y="83478"/>
                      <a:pt x="277805" y="56532"/>
                      <a:pt x="262880" y="35795"/>
                    </a:cubicBezTo>
                    <a:cubicBezTo>
                      <a:pt x="246501" y="12944"/>
                      <a:pt x="222065" y="0"/>
                      <a:pt x="195913" y="0"/>
                    </a:cubicBezTo>
                    <a:close/>
                    <a:moveTo>
                      <a:pt x="259710" y="106989"/>
                    </a:moveTo>
                    <a:lnTo>
                      <a:pt x="258257" y="118612"/>
                    </a:lnTo>
                    <a:lnTo>
                      <a:pt x="23806" y="118612"/>
                    </a:lnTo>
                    <a:lnTo>
                      <a:pt x="22353" y="106989"/>
                    </a:lnTo>
                    <a:cubicBezTo>
                      <a:pt x="19711" y="86119"/>
                      <a:pt x="24863" y="64722"/>
                      <a:pt x="36750" y="48343"/>
                    </a:cubicBezTo>
                    <a:cubicBezTo>
                      <a:pt x="49166" y="31304"/>
                      <a:pt x="67262" y="21530"/>
                      <a:pt x="86414" y="21530"/>
                    </a:cubicBezTo>
                    <a:lnTo>
                      <a:pt x="101604" y="21530"/>
                    </a:lnTo>
                    <a:lnTo>
                      <a:pt x="141229" y="85195"/>
                    </a:lnTo>
                    <a:lnTo>
                      <a:pt x="180855" y="21530"/>
                    </a:lnTo>
                    <a:lnTo>
                      <a:pt x="196045" y="21530"/>
                    </a:lnTo>
                    <a:cubicBezTo>
                      <a:pt x="215197" y="21530"/>
                      <a:pt x="233293" y="31304"/>
                      <a:pt x="245577" y="48343"/>
                    </a:cubicBezTo>
                    <a:cubicBezTo>
                      <a:pt x="257068" y="64722"/>
                      <a:pt x="262351" y="86119"/>
                      <a:pt x="259710" y="106989"/>
                    </a:cubicBezTo>
                    <a:close/>
                  </a:path>
                </a:pathLst>
              </a:custGeom>
              <a:grpFill/>
              <a:ln w="1321" cap="flat">
                <a:noFill/>
                <a:prstDash val="solid"/>
                <a:miter/>
              </a:ln>
            </p:spPr>
            <p:txBody>
              <a:bodyPr/>
              <a:lstStyle/>
              <a:p>
                <a:endParaRPr lang="en-IN"/>
              </a:p>
            </p:txBody>
          </p:sp>
          <p:sp>
            <p:nvSpPr>
              <p:cNvPr id="62" name="Freeform: Shape 61">
                <a:extLst>
                  <a:ext uri="{FF2B5EF4-FFF2-40B4-BE49-F238E27FC236}">
                    <a16:creationId xmlns:a16="http://schemas.microsoft.com/office/drawing/2014/main" id="{568AE3CC-6AC3-FD97-834B-BAFF2936D147}"/>
                  </a:ext>
                </a:extLst>
              </p:cNvPr>
              <p:cNvSpPr/>
              <p:nvPr/>
            </p:nvSpPr>
            <p:spPr>
              <a:xfrm>
                <a:off x="7357542" y="4991843"/>
                <a:ext cx="129707" cy="151369"/>
              </a:xfrm>
              <a:custGeom>
                <a:avLst/>
                <a:gdLst>
                  <a:gd name="csX0" fmla="*/ 64854 w 129707"/>
                  <a:gd name="csY0" fmla="*/ 151369 h 151369"/>
                  <a:gd name="csX1" fmla="*/ 129707 w 129707"/>
                  <a:gd name="csY1" fmla="*/ 64854 h 151369"/>
                  <a:gd name="csX2" fmla="*/ 64854 w 129707"/>
                  <a:gd name="csY2" fmla="*/ 0 h 151369"/>
                  <a:gd name="csX3" fmla="*/ 0 w 129707"/>
                  <a:gd name="csY3" fmla="*/ 64854 h 151369"/>
                  <a:gd name="csX4" fmla="*/ 64854 w 129707"/>
                  <a:gd name="csY4" fmla="*/ 151369 h 151369"/>
                  <a:gd name="csX5" fmla="*/ 64854 w 129707"/>
                  <a:gd name="csY5" fmla="*/ 21662 h 151369"/>
                  <a:gd name="csX6" fmla="*/ 108046 w 129707"/>
                  <a:gd name="csY6" fmla="*/ 64854 h 151369"/>
                  <a:gd name="csX7" fmla="*/ 64854 w 129707"/>
                  <a:gd name="csY7" fmla="*/ 129707 h 151369"/>
                  <a:gd name="csX8" fmla="*/ 21530 w 129707"/>
                  <a:gd name="csY8" fmla="*/ 64854 h 151369"/>
                  <a:gd name="csX9" fmla="*/ 64854 w 129707"/>
                  <a:gd name="csY9" fmla="*/ 21662 h 15136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29707" h="151369">
                    <a:moveTo>
                      <a:pt x="64854" y="151369"/>
                    </a:moveTo>
                    <a:cubicBezTo>
                      <a:pt x="102498" y="151369"/>
                      <a:pt x="129707" y="99724"/>
                      <a:pt x="129707" y="64854"/>
                    </a:cubicBezTo>
                    <a:cubicBezTo>
                      <a:pt x="129707" y="29059"/>
                      <a:pt x="100649" y="0"/>
                      <a:pt x="64854" y="0"/>
                    </a:cubicBezTo>
                    <a:cubicBezTo>
                      <a:pt x="29059" y="0"/>
                      <a:pt x="0" y="29059"/>
                      <a:pt x="0" y="64854"/>
                    </a:cubicBezTo>
                    <a:cubicBezTo>
                      <a:pt x="0" y="99724"/>
                      <a:pt x="27210" y="151369"/>
                      <a:pt x="64854" y="151369"/>
                    </a:cubicBezTo>
                    <a:close/>
                    <a:moveTo>
                      <a:pt x="64854" y="21662"/>
                    </a:moveTo>
                    <a:cubicBezTo>
                      <a:pt x="88629" y="21662"/>
                      <a:pt x="108046" y="41078"/>
                      <a:pt x="108046" y="64854"/>
                    </a:cubicBezTo>
                    <a:cubicBezTo>
                      <a:pt x="108046" y="91667"/>
                      <a:pt x="85723" y="129707"/>
                      <a:pt x="64854" y="129707"/>
                    </a:cubicBezTo>
                    <a:cubicBezTo>
                      <a:pt x="43984" y="129707"/>
                      <a:pt x="21530" y="91667"/>
                      <a:pt x="21530" y="64854"/>
                    </a:cubicBezTo>
                    <a:cubicBezTo>
                      <a:pt x="21530" y="41078"/>
                      <a:pt x="40946" y="21662"/>
                      <a:pt x="64854" y="21662"/>
                    </a:cubicBezTo>
                    <a:close/>
                  </a:path>
                </a:pathLst>
              </a:custGeom>
              <a:grpFill/>
              <a:ln w="1321" cap="flat">
                <a:noFill/>
                <a:prstDash val="solid"/>
                <a:miter/>
              </a:ln>
            </p:spPr>
            <p:txBody>
              <a:bodyPr/>
              <a:lstStyle/>
              <a:p>
                <a:endParaRPr lang="en-IN"/>
              </a:p>
            </p:txBody>
          </p:sp>
          <p:sp>
            <p:nvSpPr>
              <p:cNvPr id="63" name="Freeform: Shape 62">
                <a:extLst>
                  <a:ext uri="{FF2B5EF4-FFF2-40B4-BE49-F238E27FC236}">
                    <a16:creationId xmlns:a16="http://schemas.microsoft.com/office/drawing/2014/main" id="{E2DD820D-3D42-2A6A-B206-1B6EC874ABF5}"/>
                  </a:ext>
                </a:extLst>
              </p:cNvPr>
              <p:cNvSpPr/>
              <p:nvPr/>
            </p:nvSpPr>
            <p:spPr>
              <a:xfrm>
                <a:off x="7670365" y="5154043"/>
                <a:ext cx="281911" cy="140274"/>
              </a:xfrm>
              <a:custGeom>
                <a:avLst/>
                <a:gdLst>
                  <a:gd name="csX0" fmla="*/ 262804 w 281911"/>
                  <a:gd name="csY0" fmla="*/ 35663 h 140274"/>
                  <a:gd name="csX1" fmla="*/ 195837 w 281911"/>
                  <a:gd name="csY1" fmla="*/ 0 h 140274"/>
                  <a:gd name="csX2" fmla="*/ 168627 w 281911"/>
                  <a:gd name="csY2" fmla="*/ 0 h 140274"/>
                  <a:gd name="csX3" fmla="*/ 141022 w 281911"/>
                  <a:gd name="csY3" fmla="*/ 44381 h 140274"/>
                  <a:gd name="csX4" fmla="*/ 113416 w 281911"/>
                  <a:gd name="csY4" fmla="*/ 0 h 140274"/>
                  <a:gd name="csX5" fmla="*/ 86206 w 281911"/>
                  <a:gd name="csY5" fmla="*/ 0 h 140274"/>
                  <a:gd name="csX6" fmla="*/ 19107 w 281911"/>
                  <a:gd name="csY6" fmla="*/ 35663 h 140274"/>
                  <a:gd name="csX7" fmla="*/ 879 w 281911"/>
                  <a:gd name="csY7" fmla="*/ 109763 h 140274"/>
                  <a:gd name="csX8" fmla="*/ 4710 w 281911"/>
                  <a:gd name="csY8" fmla="*/ 140274 h 140274"/>
                  <a:gd name="csX9" fmla="*/ 277201 w 281911"/>
                  <a:gd name="csY9" fmla="*/ 140274 h 140274"/>
                  <a:gd name="csX10" fmla="*/ 281032 w 281911"/>
                  <a:gd name="csY10" fmla="*/ 109763 h 140274"/>
                  <a:gd name="csX11" fmla="*/ 262804 w 281911"/>
                  <a:gd name="csY11" fmla="*/ 35663 h 140274"/>
                  <a:gd name="csX12" fmla="*/ 259634 w 281911"/>
                  <a:gd name="csY12" fmla="*/ 106989 h 140274"/>
                  <a:gd name="csX13" fmla="*/ 258181 w 281911"/>
                  <a:gd name="csY13" fmla="*/ 118612 h 140274"/>
                  <a:gd name="csX14" fmla="*/ 23730 w 281911"/>
                  <a:gd name="csY14" fmla="*/ 118612 h 140274"/>
                  <a:gd name="csX15" fmla="*/ 22277 w 281911"/>
                  <a:gd name="csY15" fmla="*/ 106989 h 140274"/>
                  <a:gd name="csX16" fmla="*/ 36674 w 281911"/>
                  <a:gd name="csY16" fmla="*/ 48343 h 140274"/>
                  <a:gd name="csX17" fmla="*/ 86338 w 281911"/>
                  <a:gd name="csY17" fmla="*/ 21530 h 140274"/>
                  <a:gd name="csX18" fmla="*/ 101528 w 281911"/>
                  <a:gd name="csY18" fmla="*/ 21530 h 140274"/>
                  <a:gd name="csX19" fmla="*/ 141154 w 281911"/>
                  <a:gd name="csY19" fmla="*/ 85195 h 140274"/>
                  <a:gd name="csX20" fmla="*/ 180779 w 281911"/>
                  <a:gd name="csY20" fmla="*/ 21530 h 140274"/>
                  <a:gd name="csX21" fmla="*/ 195969 w 281911"/>
                  <a:gd name="csY21" fmla="*/ 21530 h 140274"/>
                  <a:gd name="csX22" fmla="*/ 245501 w 281911"/>
                  <a:gd name="csY22" fmla="*/ 48343 h 140274"/>
                  <a:gd name="csX23" fmla="*/ 259634 w 281911"/>
                  <a:gd name="csY23" fmla="*/ 106989 h 14027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Lst>
                <a:rect l="l" t="t" r="r" b="b"/>
                <a:pathLst>
                  <a:path w="281911" h="140274">
                    <a:moveTo>
                      <a:pt x="262804" y="35663"/>
                    </a:moveTo>
                    <a:cubicBezTo>
                      <a:pt x="246425" y="12944"/>
                      <a:pt x="221990" y="0"/>
                      <a:pt x="195837" y="0"/>
                    </a:cubicBezTo>
                    <a:lnTo>
                      <a:pt x="168627" y="0"/>
                    </a:lnTo>
                    <a:lnTo>
                      <a:pt x="141022" y="44381"/>
                    </a:lnTo>
                    <a:lnTo>
                      <a:pt x="113416" y="0"/>
                    </a:lnTo>
                    <a:lnTo>
                      <a:pt x="86206" y="0"/>
                    </a:lnTo>
                    <a:cubicBezTo>
                      <a:pt x="60054" y="0"/>
                      <a:pt x="35618" y="12944"/>
                      <a:pt x="19107" y="35663"/>
                    </a:cubicBezTo>
                    <a:cubicBezTo>
                      <a:pt x="4182" y="56400"/>
                      <a:pt x="-2555" y="83346"/>
                      <a:pt x="879" y="109763"/>
                    </a:cubicBezTo>
                    <a:lnTo>
                      <a:pt x="4710" y="140274"/>
                    </a:lnTo>
                    <a:lnTo>
                      <a:pt x="277201" y="140274"/>
                    </a:lnTo>
                    <a:lnTo>
                      <a:pt x="281032" y="109763"/>
                    </a:lnTo>
                    <a:cubicBezTo>
                      <a:pt x="284466" y="83478"/>
                      <a:pt x="277730" y="56400"/>
                      <a:pt x="262804" y="35663"/>
                    </a:cubicBezTo>
                    <a:close/>
                    <a:moveTo>
                      <a:pt x="259634" y="106989"/>
                    </a:moveTo>
                    <a:lnTo>
                      <a:pt x="258181" y="118612"/>
                    </a:lnTo>
                    <a:lnTo>
                      <a:pt x="23730" y="118612"/>
                    </a:lnTo>
                    <a:lnTo>
                      <a:pt x="22277" y="106989"/>
                    </a:lnTo>
                    <a:cubicBezTo>
                      <a:pt x="19636" y="86119"/>
                      <a:pt x="24787" y="64722"/>
                      <a:pt x="36674" y="48343"/>
                    </a:cubicBezTo>
                    <a:cubicBezTo>
                      <a:pt x="49090" y="31304"/>
                      <a:pt x="67186" y="21530"/>
                      <a:pt x="86338" y="21530"/>
                    </a:cubicBezTo>
                    <a:lnTo>
                      <a:pt x="101528" y="21530"/>
                    </a:lnTo>
                    <a:lnTo>
                      <a:pt x="141154" y="85195"/>
                    </a:lnTo>
                    <a:lnTo>
                      <a:pt x="180779" y="21530"/>
                    </a:lnTo>
                    <a:lnTo>
                      <a:pt x="195969" y="21530"/>
                    </a:lnTo>
                    <a:cubicBezTo>
                      <a:pt x="215121" y="21530"/>
                      <a:pt x="233217" y="31304"/>
                      <a:pt x="245501" y="48343"/>
                    </a:cubicBezTo>
                    <a:cubicBezTo>
                      <a:pt x="257124" y="64722"/>
                      <a:pt x="262276" y="86119"/>
                      <a:pt x="259634" y="106989"/>
                    </a:cubicBezTo>
                    <a:close/>
                  </a:path>
                </a:pathLst>
              </a:custGeom>
              <a:grpFill/>
              <a:ln w="1321" cap="flat">
                <a:noFill/>
                <a:prstDash val="solid"/>
                <a:miter/>
              </a:ln>
            </p:spPr>
            <p:txBody>
              <a:bodyPr/>
              <a:lstStyle/>
              <a:p>
                <a:endParaRPr lang="en-IN"/>
              </a:p>
            </p:txBody>
          </p:sp>
          <p:sp>
            <p:nvSpPr>
              <p:cNvPr id="64" name="Freeform: Shape 63">
                <a:extLst>
                  <a:ext uri="{FF2B5EF4-FFF2-40B4-BE49-F238E27FC236}">
                    <a16:creationId xmlns:a16="http://schemas.microsoft.com/office/drawing/2014/main" id="{E727B7D0-920B-10F6-1F10-32BC08CE0BC8}"/>
                  </a:ext>
                </a:extLst>
              </p:cNvPr>
              <p:cNvSpPr/>
              <p:nvPr/>
            </p:nvSpPr>
            <p:spPr>
              <a:xfrm>
                <a:off x="7746532" y="4991843"/>
                <a:ext cx="129707" cy="151369"/>
              </a:xfrm>
              <a:custGeom>
                <a:avLst/>
                <a:gdLst>
                  <a:gd name="csX0" fmla="*/ 64854 w 129707"/>
                  <a:gd name="csY0" fmla="*/ 151369 h 151369"/>
                  <a:gd name="csX1" fmla="*/ 129707 w 129707"/>
                  <a:gd name="csY1" fmla="*/ 64854 h 151369"/>
                  <a:gd name="csX2" fmla="*/ 64854 w 129707"/>
                  <a:gd name="csY2" fmla="*/ 0 h 151369"/>
                  <a:gd name="csX3" fmla="*/ 0 w 129707"/>
                  <a:gd name="csY3" fmla="*/ 64854 h 151369"/>
                  <a:gd name="csX4" fmla="*/ 64854 w 129707"/>
                  <a:gd name="csY4" fmla="*/ 151369 h 151369"/>
                  <a:gd name="csX5" fmla="*/ 64854 w 129707"/>
                  <a:gd name="csY5" fmla="*/ 21662 h 151369"/>
                  <a:gd name="csX6" fmla="*/ 108045 w 129707"/>
                  <a:gd name="csY6" fmla="*/ 64854 h 151369"/>
                  <a:gd name="csX7" fmla="*/ 64854 w 129707"/>
                  <a:gd name="csY7" fmla="*/ 129707 h 151369"/>
                  <a:gd name="csX8" fmla="*/ 21662 w 129707"/>
                  <a:gd name="csY8" fmla="*/ 64854 h 151369"/>
                  <a:gd name="csX9" fmla="*/ 64854 w 129707"/>
                  <a:gd name="csY9" fmla="*/ 21662 h 15136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29707" h="151369">
                    <a:moveTo>
                      <a:pt x="64854" y="151369"/>
                    </a:moveTo>
                    <a:cubicBezTo>
                      <a:pt x="102498" y="151369"/>
                      <a:pt x="129707" y="99724"/>
                      <a:pt x="129707" y="64854"/>
                    </a:cubicBezTo>
                    <a:cubicBezTo>
                      <a:pt x="129707" y="29059"/>
                      <a:pt x="100649" y="0"/>
                      <a:pt x="64854" y="0"/>
                    </a:cubicBezTo>
                    <a:cubicBezTo>
                      <a:pt x="29059" y="0"/>
                      <a:pt x="0" y="29059"/>
                      <a:pt x="0" y="64854"/>
                    </a:cubicBezTo>
                    <a:cubicBezTo>
                      <a:pt x="0" y="99724"/>
                      <a:pt x="27209" y="151369"/>
                      <a:pt x="64854" y="151369"/>
                    </a:cubicBezTo>
                    <a:close/>
                    <a:moveTo>
                      <a:pt x="64854" y="21662"/>
                    </a:moveTo>
                    <a:cubicBezTo>
                      <a:pt x="88629" y="21662"/>
                      <a:pt x="108045" y="41078"/>
                      <a:pt x="108045" y="64854"/>
                    </a:cubicBezTo>
                    <a:cubicBezTo>
                      <a:pt x="108045" y="91667"/>
                      <a:pt x="85723" y="129707"/>
                      <a:pt x="64854" y="129707"/>
                    </a:cubicBezTo>
                    <a:cubicBezTo>
                      <a:pt x="43984" y="129707"/>
                      <a:pt x="21662" y="91667"/>
                      <a:pt x="21662" y="64854"/>
                    </a:cubicBezTo>
                    <a:cubicBezTo>
                      <a:pt x="21662" y="41078"/>
                      <a:pt x="40946" y="21662"/>
                      <a:pt x="64854" y="21662"/>
                    </a:cubicBezTo>
                    <a:close/>
                  </a:path>
                </a:pathLst>
              </a:custGeom>
              <a:grpFill/>
              <a:ln w="1321" cap="flat">
                <a:noFill/>
                <a:prstDash val="solid"/>
                <a:miter/>
              </a:ln>
            </p:spPr>
            <p:txBody>
              <a:bodyPr/>
              <a:lstStyle/>
              <a:p>
                <a:endParaRPr lang="en-IN"/>
              </a:p>
            </p:txBody>
          </p:sp>
          <p:sp>
            <p:nvSpPr>
              <p:cNvPr id="65" name="Freeform: Shape 64">
                <a:extLst>
                  <a:ext uri="{FF2B5EF4-FFF2-40B4-BE49-F238E27FC236}">
                    <a16:creationId xmlns:a16="http://schemas.microsoft.com/office/drawing/2014/main" id="{530354F9-E1B9-859A-53C5-DDE41BF82D1B}"/>
                  </a:ext>
                </a:extLst>
              </p:cNvPr>
              <p:cNvSpPr/>
              <p:nvPr/>
            </p:nvSpPr>
            <p:spPr>
              <a:xfrm>
                <a:off x="7522781" y="4948519"/>
                <a:ext cx="188221" cy="213053"/>
              </a:xfrm>
              <a:custGeom>
                <a:avLst/>
                <a:gdLst>
                  <a:gd name="csX0" fmla="*/ 115839 w 188221"/>
                  <a:gd name="csY0" fmla="*/ 155992 h 213053"/>
                  <a:gd name="csX1" fmla="*/ 172899 w 188221"/>
                  <a:gd name="csY1" fmla="*/ 213053 h 213053"/>
                  <a:gd name="csX2" fmla="*/ 188221 w 188221"/>
                  <a:gd name="csY2" fmla="*/ 197731 h 213053"/>
                  <a:gd name="csX3" fmla="*/ 131160 w 188221"/>
                  <a:gd name="csY3" fmla="*/ 140670 h 213053"/>
                  <a:gd name="csX4" fmla="*/ 137236 w 188221"/>
                  <a:gd name="csY4" fmla="*/ 118876 h 213053"/>
                  <a:gd name="csX5" fmla="*/ 104875 w 188221"/>
                  <a:gd name="csY5" fmla="*/ 77138 h 213053"/>
                  <a:gd name="csX6" fmla="*/ 104875 w 188221"/>
                  <a:gd name="csY6" fmla="*/ 0 h 213053"/>
                  <a:gd name="csX7" fmla="*/ 83214 w 188221"/>
                  <a:gd name="csY7" fmla="*/ 0 h 213053"/>
                  <a:gd name="csX8" fmla="*/ 83214 w 188221"/>
                  <a:gd name="csY8" fmla="*/ 77138 h 213053"/>
                  <a:gd name="csX9" fmla="*/ 50853 w 188221"/>
                  <a:gd name="csY9" fmla="*/ 118876 h 213053"/>
                  <a:gd name="csX10" fmla="*/ 56929 w 188221"/>
                  <a:gd name="csY10" fmla="*/ 140670 h 213053"/>
                  <a:gd name="csX11" fmla="*/ 0 w 188221"/>
                  <a:gd name="csY11" fmla="*/ 197599 h 213053"/>
                  <a:gd name="csX12" fmla="*/ 15322 w 188221"/>
                  <a:gd name="csY12" fmla="*/ 212921 h 213053"/>
                  <a:gd name="csX13" fmla="*/ 72250 w 188221"/>
                  <a:gd name="csY13" fmla="*/ 155992 h 213053"/>
                  <a:gd name="csX14" fmla="*/ 94044 w 188221"/>
                  <a:gd name="csY14" fmla="*/ 162068 h 213053"/>
                  <a:gd name="csX15" fmla="*/ 115839 w 188221"/>
                  <a:gd name="csY15" fmla="*/ 155992 h 213053"/>
                  <a:gd name="csX16" fmla="*/ 94044 w 188221"/>
                  <a:gd name="csY16" fmla="*/ 97347 h 213053"/>
                  <a:gd name="csX17" fmla="*/ 115706 w 188221"/>
                  <a:gd name="csY17" fmla="*/ 119009 h 213053"/>
                  <a:gd name="csX18" fmla="*/ 94044 w 188221"/>
                  <a:gd name="csY18" fmla="*/ 140670 h 213053"/>
                  <a:gd name="csX19" fmla="*/ 72383 w 188221"/>
                  <a:gd name="csY19" fmla="*/ 119009 h 213053"/>
                  <a:gd name="csX20" fmla="*/ 94044 w 188221"/>
                  <a:gd name="csY20" fmla="*/ 97347 h 21305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Lst>
                <a:rect l="l" t="t" r="r" b="b"/>
                <a:pathLst>
                  <a:path w="188221" h="213053">
                    <a:moveTo>
                      <a:pt x="115839" y="155992"/>
                    </a:moveTo>
                    <a:lnTo>
                      <a:pt x="172899" y="213053"/>
                    </a:lnTo>
                    <a:lnTo>
                      <a:pt x="188221" y="197731"/>
                    </a:lnTo>
                    <a:lnTo>
                      <a:pt x="131160" y="140670"/>
                    </a:lnTo>
                    <a:cubicBezTo>
                      <a:pt x="134991" y="134198"/>
                      <a:pt x="137236" y="126802"/>
                      <a:pt x="137236" y="118876"/>
                    </a:cubicBezTo>
                    <a:cubicBezTo>
                      <a:pt x="137236" y="98800"/>
                      <a:pt x="123367" y="82025"/>
                      <a:pt x="104875" y="77138"/>
                    </a:cubicBezTo>
                    <a:lnTo>
                      <a:pt x="104875" y="0"/>
                    </a:lnTo>
                    <a:lnTo>
                      <a:pt x="83214" y="0"/>
                    </a:lnTo>
                    <a:lnTo>
                      <a:pt x="83214" y="77138"/>
                    </a:lnTo>
                    <a:cubicBezTo>
                      <a:pt x="64590" y="82025"/>
                      <a:pt x="50853" y="98800"/>
                      <a:pt x="50853" y="118876"/>
                    </a:cubicBezTo>
                    <a:cubicBezTo>
                      <a:pt x="50853" y="126934"/>
                      <a:pt x="53230" y="134330"/>
                      <a:pt x="56929" y="140670"/>
                    </a:cubicBezTo>
                    <a:lnTo>
                      <a:pt x="0" y="197599"/>
                    </a:lnTo>
                    <a:lnTo>
                      <a:pt x="15322" y="212921"/>
                    </a:lnTo>
                    <a:lnTo>
                      <a:pt x="72250" y="155992"/>
                    </a:lnTo>
                    <a:cubicBezTo>
                      <a:pt x="78723" y="159823"/>
                      <a:pt x="86119" y="162068"/>
                      <a:pt x="94044" y="162068"/>
                    </a:cubicBezTo>
                    <a:cubicBezTo>
                      <a:pt x="101970" y="162200"/>
                      <a:pt x="109366" y="159823"/>
                      <a:pt x="115839" y="155992"/>
                    </a:cubicBezTo>
                    <a:close/>
                    <a:moveTo>
                      <a:pt x="94044" y="97347"/>
                    </a:moveTo>
                    <a:cubicBezTo>
                      <a:pt x="105932" y="97347"/>
                      <a:pt x="115706" y="106989"/>
                      <a:pt x="115706" y="119009"/>
                    </a:cubicBezTo>
                    <a:cubicBezTo>
                      <a:pt x="115706" y="130896"/>
                      <a:pt x="106064" y="140670"/>
                      <a:pt x="94044" y="140670"/>
                    </a:cubicBezTo>
                    <a:cubicBezTo>
                      <a:pt x="82025" y="140670"/>
                      <a:pt x="72383" y="131028"/>
                      <a:pt x="72383" y="119009"/>
                    </a:cubicBezTo>
                    <a:cubicBezTo>
                      <a:pt x="72383" y="106989"/>
                      <a:pt x="82157" y="97347"/>
                      <a:pt x="94044" y="97347"/>
                    </a:cubicBezTo>
                    <a:close/>
                  </a:path>
                </a:pathLst>
              </a:custGeom>
              <a:grpFill/>
              <a:ln w="1321" cap="flat">
                <a:noFill/>
                <a:prstDash val="solid"/>
                <a:miter/>
              </a:ln>
            </p:spPr>
            <p:txBody>
              <a:bodyPr/>
              <a:lstStyle/>
              <a:p>
                <a:endParaRPr lang="en-IN"/>
              </a:p>
            </p:txBody>
          </p:sp>
        </p:grpSp>
      </p:grpSp>
      <p:grpSp>
        <p:nvGrpSpPr>
          <p:cNvPr id="68" name="Group 67">
            <a:extLst>
              <a:ext uri="{FF2B5EF4-FFF2-40B4-BE49-F238E27FC236}">
                <a16:creationId xmlns:a16="http://schemas.microsoft.com/office/drawing/2014/main" id="{A32C4CB7-16BC-5A2E-1E5F-5E6D82C70AED}"/>
              </a:ext>
            </a:extLst>
          </p:cNvPr>
          <p:cNvGrpSpPr/>
          <p:nvPr/>
        </p:nvGrpSpPr>
        <p:grpSpPr>
          <a:xfrm>
            <a:off x="6234917" y="4458598"/>
            <a:ext cx="717426" cy="764395"/>
            <a:chOff x="6234917" y="4458598"/>
            <a:chExt cx="717426" cy="764395"/>
          </a:xfrm>
        </p:grpSpPr>
        <p:sp>
          <p:nvSpPr>
            <p:cNvPr id="43" name="Shape 5">
              <a:extLst>
                <a:ext uri="{FF2B5EF4-FFF2-40B4-BE49-F238E27FC236}">
                  <a16:creationId xmlns:a16="http://schemas.microsoft.com/office/drawing/2014/main" id="{1AE7F8CA-2374-6A3A-BF55-79CDBDD3FE43}"/>
                </a:ext>
              </a:extLst>
            </p:cNvPr>
            <p:cNvSpPr/>
            <p:nvPr/>
          </p:nvSpPr>
          <p:spPr>
            <a:xfrm rot="5400000">
              <a:off x="6211432" y="4482083"/>
              <a:ext cx="764395" cy="717426"/>
            </a:xfrm>
            <a:prstGeom prst="chevron">
              <a:avLst>
                <a:gd name="adj" fmla="val 9474"/>
              </a:avLst>
            </a:prstGeom>
            <a:solidFill>
              <a:schemeClr val="accent1"/>
            </a:solidFill>
            <a:ln/>
          </p:spPr>
          <p:txBody>
            <a:bodyPr vert="vert270" anchor="ctr"/>
            <a:lstStyle/>
            <a:p>
              <a:pPr algn="ctr"/>
              <a:endParaRPr lang="en-IN" sz="1500">
                <a:solidFill>
                  <a:schemeClr val="bg1"/>
                </a:solidFill>
                <a:latin typeface="Moderat" pitchFamily="2" charset="77"/>
              </a:endParaRPr>
            </a:p>
          </p:txBody>
        </p:sp>
        <p:sp>
          <p:nvSpPr>
            <p:cNvPr id="57" name="Pic">
              <a:extLst>
                <a:ext uri="{FF2B5EF4-FFF2-40B4-BE49-F238E27FC236}">
                  <a16:creationId xmlns:a16="http://schemas.microsoft.com/office/drawing/2014/main" id="{3296ACA8-03EB-7A2F-5AE4-9D3A52AC6D82}"/>
                </a:ext>
              </a:extLst>
            </p:cNvPr>
            <p:cNvSpPr>
              <a:spLocks noChangeAspect="1"/>
            </p:cNvSpPr>
            <p:nvPr/>
          </p:nvSpPr>
          <p:spPr>
            <a:xfrm>
              <a:off x="6395380" y="4657368"/>
              <a:ext cx="396499" cy="366857"/>
            </a:xfrm>
            <a:custGeom>
              <a:avLst/>
              <a:gdLst>
                <a:gd name="csX0" fmla="*/ 571151 w 580514"/>
                <a:gd name="csY0" fmla="*/ 537116 h 537116"/>
                <a:gd name="csX1" fmla="*/ 9363 w 580514"/>
                <a:gd name="csY1" fmla="*/ 537116 h 537116"/>
                <a:gd name="csX2" fmla="*/ 2398 w 580514"/>
                <a:gd name="csY2" fmla="*/ 534010 h 537116"/>
                <a:gd name="csX3" fmla="*/ 54 w 580514"/>
                <a:gd name="csY3" fmla="*/ 526753 h 537116"/>
                <a:gd name="csX4" fmla="*/ 76376 w 580514"/>
                <a:gd name="csY4" fmla="*/ 430955 h 537116"/>
                <a:gd name="csX5" fmla="*/ 51322 w 580514"/>
                <a:gd name="csY5" fmla="*/ 380984 h 537116"/>
                <a:gd name="csX6" fmla="*/ 113742 w 580514"/>
                <a:gd name="csY6" fmla="*/ 318536 h 537116"/>
                <a:gd name="csX7" fmla="*/ 176191 w 580514"/>
                <a:gd name="csY7" fmla="*/ 380984 h 537116"/>
                <a:gd name="csX8" fmla="*/ 151128 w 580514"/>
                <a:gd name="csY8" fmla="*/ 430957 h 537116"/>
                <a:gd name="csX9" fmla="*/ 177003 w 580514"/>
                <a:gd name="csY9" fmla="*/ 443781 h 537116"/>
                <a:gd name="csX10" fmla="*/ 247227 w 580514"/>
                <a:gd name="csY10" fmla="*/ 398641 h 537116"/>
                <a:gd name="csX11" fmla="*/ 209539 w 580514"/>
                <a:gd name="csY11" fmla="*/ 330369 h 537116"/>
                <a:gd name="csX12" fmla="*/ 290257 w 580514"/>
                <a:gd name="csY12" fmla="*/ 249613 h 537116"/>
                <a:gd name="csX13" fmla="*/ 371013 w 580514"/>
                <a:gd name="csY13" fmla="*/ 330369 h 537116"/>
                <a:gd name="csX14" fmla="*/ 333314 w 580514"/>
                <a:gd name="csY14" fmla="*/ 398644 h 537116"/>
                <a:gd name="csX15" fmla="*/ 403536 w 580514"/>
                <a:gd name="csY15" fmla="*/ 443778 h 537116"/>
                <a:gd name="csX16" fmla="*/ 429406 w 580514"/>
                <a:gd name="csY16" fmla="*/ 430955 h 537116"/>
                <a:gd name="csX17" fmla="*/ 404352 w 580514"/>
                <a:gd name="csY17" fmla="*/ 380984 h 537116"/>
                <a:gd name="csX18" fmla="*/ 466772 w 580514"/>
                <a:gd name="csY18" fmla="*/ 318536 h 537116"/>
                <a:gd name="csX19" fmla="*/ 529221 w 580514"/>
                <a:gd name="csY19" fmla="*/ 380984 h 537116"/>
                <a:gd name="csX20" fmla="*/ 504159 w 580514"/>
                <a:gd name="csY20" fmla="*/ 430956 h 537116"/>
                <a:gd name="csX21" fmla="*/ 580462 w 580514"/>
                <a:gd name="csY21" fmla="*/ 526758 h 537116"/>
                <a:gd name="csX22" fmla="*/ 578115 w 580514"/>
                <a:gd name="csY22" fmla="*/ 534011 h 537116"/>
                <a:gd name="csX23" fmla="*/ 571151 w 580514"/>
                <a:gd name="csY23" fmla="*/ 537116 h 537116"/>
                <a:gd name="csX24" fmla="*/ 113742 w 580514"/>
                <a:gd name="csY24" fmla="*/ 443432 h 537116"/>
                <a:gd name="csX25" fmla="*/ 20366 w 580514"/>
                <a:gd name="csY25" fmla="*/ 518390 h 537116"/>
                <a:gd name="csX26" fmla="*/ 141708 w 580514"/>
                <a:gd name="csY26" fmla="*/ 518390 h 537116"/>
                <a:gd name="csX27" fmla="*/ 165526 w 580514"/>
                <a:gd name="csY27" fmla="*/ 458650 h 537116"/>
                <a:gd name="csX28" fmla="*/ 113742 w 580514"/>
                <a:gd name="csY28" fmla="*/ 443432 h 537116"/>
                <a:gd name="csX29" fmla="*/ 113742 w 580514"/>
                <a:gd name="csY29" fmla="*/ 424706 h 537116"/>
                <a:gd name="csX30" fmla="*/ 157465 w 580514"/>
                <a:gd name="csY30" fmla="*/ 380984 h 537116"/>
                <a:gd name="csX31" fmla="*/ 113742 w 580514"/>
                <a:gd name="csY31" fmla="*/ 337263 h 537116"/>
                <a:gd name="csX32" fmla="*/ 70048 w 580514"/>
                <a:gd name="csY32" fmla="*/ 380984 h 537116"/>
                <a:gd name="csX33" fmla="*/ 113742 w 580514"/>
                <a:gd name="csY33" fmla="*/ 424706 h 537116"/>
                <a:gd name="csX34" fmla="*/ 290257 w 580514"/>
                <a:gd name="csY34" fmla="*/ 411125 h 537116"/>
                <a:gd name="csX35" fmla="*/ 160723 w 580514"/>
                <a:gd name="csY35" fmla="*/ 518390 h 537116"/>
                <a:gd name="csX36" fmla="*/ 218120 w 580514"/>
                <a:gd name="csY36" fmla="*/ 518390 h 537116"/>
                <a:gd name="csX37" fmla="*/ 362394 w 580514"/>
                <a:gd name="csY37" fmla="*/ 518390 h 537116"/>
                <a:gd name="csX38" fmla="*/ 419797 w 580514"/>
                <a:gd name="csY38" fmla="*/ 518390 h 537116"/>
                <a:gd name="csX39" fmla="*/ 290257 w 580514"/>
                <a:gd name="csY39" fmla="*/ 411125 h 537116"/>
                <a:gd name="csX40" fmla="*/ 290257 w 580514"/>
                <a:gd name="csY40" fmla="*/ 392399 h 537116"/>
                <a:gd name="csX41" fmla="*/ 352287 w 580514"/>
                <a:gd name="csY41" fmla="*/ 330369 h 537116"/>
                <a:gd name="csX42" fmla="*/ 290257 w 580514"/>
                <a:gd name="csY42" fmla="*/ 268339 h 537116"/>
                <a:gd name="csX43" fmla="*/ 228265 w 580514"/>
                <a:gd name="csY43" fmla="*/ 330369 h 537116"/>
                <a:gd name="csX44" fmla="*/ 290257 w 580514"/>
                <a:gd name="csY44" fmla="*/ 392399 h 537116"/>
                <a:gd name="csX45" fmla="*/ 415012 w 580514"/>
                <a:gd name="csY45" fmla="*/ 458647 h 537116"/>
                <a:gd name="csX46" fmla="*/ 438810 w 580514"/>
                <a:gd name="csY46" fmla="*/ 518390 h 537116"/>
                <a:gd name="csX47" fmla="*/ 560154 w 580514"/>
                <a:gd name="csY47" fmla="*/ 518390 h 537116"/>
                <a:gd name="csX48" fmla="*/ 466772 w 580514"/>
                <a:gd name="csY48" fmla="*/ 443432 h 537116"/>
                <a:gd name="csX49" fmla="*/ 415012 w 580514"/>
                <a:gd name="csY49" fmla="*/ 458647 h 537116"/>
                <a:gd name="csX50" fmla="*/ 466772 w 580514"/>
                <a:gd name="csY50" fmla="*/ 424706 h 537116"/>
                <a:gd name="csX51" fmla="*/ 510495 w 580514"/>
                <a:gd name="csY51" fmla="*/ 380984 h 537116"/>
                <a:gd name="csX52" fmla="*/ 466772 w 580514"/>
                <a:gd name="csY52" fmla="*/ 337263 h 537116"/>
                <a:gd name="csX53" fmla="*/ 423078 w 580514"/>
                <a:gd name="csY53" fmla="*/ 380984 h 537116"/>
                <a:gd name="csX54" fmla="*/ 466772 w 580514"/>
                <a:gd name="csY54" fmla="*/ 424706 h 537116"/>
                <a:gd name="csX55" fmla="*/ 179769 w 580514"/>
                <a:gd name="csY55" fmla="*/ 98680 h 537116"/>
                <a:gd name="csX56" fmla="*/ 113726 w 580514"/>
                <a:gd name="csY56" fmla="*/ 20879 h 537116"/>
                <a:gd name="csX57" fmla="*/ 47683 w 580514"/>
                <a:gd name="csY57" fmla="*/ 98680 h 537116"/>
                <a:gd name="csX58" fmla="*/ 73886 w 580514"/>
                <a:gd name="csY58" fmla="*/ 98680 h 537116"/>
                <a:gd name="csX59" fmla="*/ 83249 w 580514"/>
                <a:gd name="csY59" fmla="*/ 108044 h 537116"/>
                <a:gd name="csX60" fmla="*/ 83249 w 580514"/>
                <a:gd name="csY60" fmla="*/ 302000 h 537116"/>
                <a:gd name="csX61" fmla="*/ 73886 w 580514"/>
                <a:gd name="csY61" fmla="*/ 311363 h 537116"/>
                <a:gd name="csX62" fmla="*/ 64523 w 580514"/>
                <a:gd name="csY62" fmla="*/ 302000 h 537116"/>
                <a:gd name="csX63" fmla="*/ 64523 w 580514"/>
                <a:gd name="csY63" fmla="*/ 117407 h 537116"/>
                <a:gd name="csX64" fmla="*/ 39143 w 580514"/>
                <a:gd name="csY64" fmla="*/ 117407 h 537116"/>
                <a:gd name="csX65" fmla="*/ 25749 w 580514"/>
                <a:gd name="csY65" fmla="*/ 108803 h 537116"/>
                <a:gd name="csX66" fmla="*/ 27879 w 580514"/>
                <a:gd name="csY66" fmla="*/ 93073 h 537116"/>
                <a:gd name="csX67" fmla="*/ 102461 w 580514"/>
                <a:gd name="csY67" fmla="*/ 5212 h 537116"/>
                <a:gd name="csX68" fmla="*/ 102504 w 580514"/>
                <a:gd name="csY68" fmla="*/ 5161 h 537116"/>
                <a:gd name="csX69" fmla="*/ 113726 w 580514"/>
                <a:gd name="csY69" fmla="*/ 0 h 537116"/>
                <a:gd name="csX70" fmla="*/ 125003 w 580514"/>
                <a:gd name="csY70" fmla="*/ 5227 h 537116"/>
                <a:gd name="csX71" fmla="*/ 199541 w 580514"/>
                <a:gd name="csY71" fmla="*/ 93038 h 537116"/>
                <a:gd name="csX72" fmla="*/ 201737 w 580514"/>
                <a:gd name="csY72" fmla="*/ 108803 h 537116"/>
                <a:gd name="csX73" fmla="*/ 188308 w 580514"/>
                <a:gd name="csY73" fmla="*/ 117407 h 537116"/>
                <a:gd name="csX74" fmla="*/ 162963 w 580514"/>
                <a:gd name="csY74" fmla="*/ 117407 h 537116"/>
                <a:gd name="csX75" fmla="*/ 162963 w 580514"/>
                <a:gd name="csY75" fmla="*/ 225131 h 537116"/>
                <a:gd name="csX76" fmla="*/ 153600 w 580514"/>
                <a:gd name="csY76" fmla="*/ 234494 h 537116"/>
                <a:gd name="csX77" fmla="*/ 144237 w 580514"/>
                <a:gd name="csY77" fmla="*/ 225131 h 537116"/>
                <a:gd name="csX78" fmla="*/ 144237 w 580514"/>
                <a:gd name="csY78" fmla="*/ 108044 h 537116"/>
                <a:gd name="csX79" fmla="*/ 153600 w 580514"/>
                <a:gd name="csY79" fmla="*/ 98680 h 537116"/>
                <a:gd name="csX80" fmla="*/ 532832 w 580514"/>
                <a:gd name="csY80" fmla="*/ 98680 h 537116"/>
                <a:gd name="csX81" fmla="*/ 466789 w 580514"/>
                <a:gd name="csY81" fmla="*/ 20877 h 537116"/>
                <a:gd name="csX82" fmla="*/ 400746 w 580514"/>
                <a:gd name="csY82" fmla="*/ 98680 h 537116"/>
                <a:gd name="csX83" fmla="*/ 426915 w 580514"/>
                <a:gd name="csY83" fmla="*/ 98680 h 537116"/>
                <a:gd name="csX84" fmla="*/ 436278 w 580514"/>
                <a:gd name="csY84" fmla="*/ 108044 h 537116"/>
                <a:gd name="csX85" fmla="*/ 436278 w 580514"/>
                <a:gd name="csY85" fmla="*/ 225131 h 537116"/>
                <a:gd name="csX86" fmla="*/ 426915 w 580514"/>
                <a:gd name="csY86" fmla="*/ 234494 h 537116"/>
                <a:gd name="csX87" fmla="*/ 417551 w 580514"/>
                <a:gd name="csY87" fmla="*/ 225131 h 537116"/>
                <a:gd name="csX88" fmla="*/ 417551 w 580514"/>
                <a:gd name="csY88" fmla="*/ 117407 h 537116"/>
                <a:gd name="csX89" fmla="*/ 392207 w 580514"/>
                <a:gd name="csY89" fmla="*/ 117407 h 537116"/>
                <a:gd name="csX90" fmla="*/ 378778 w 580514"/>
                <a:gd name="csY90" fmla="*/ 108803 h 537116"/>
                <a:gd name="csX91" fmla="*/ 380973 w 580514"/>
                <a:gd name="csY91" fmla="*/ 93038 h 537116"/>
                <a:gd name="csX92" fmla="*/ 455512 w 580514"/>
                <a:gd name="csY92" fmla="*/ 5227 h 537116"/>
                <a:gd name="csX93" fmla="*/ 466789 w 580514"/>
                <a:gd name="csY93" fmla="*/ 0 h 537116"/>
                <a:gd name="csX94" fmla="*/ 478010 w 580514"/>
                <a:gd name="csY94" fmla="*/ 5161 h 537116"/>
                <a:gd name="csX95" fmla="*/ 478054 w 580514"/>
                <a:gd name="csY95" fmla="*/ 5212 h 537116"/>
                <a:gd name="csX96" fmla="*/ 552628 w 580514"/>
                <a:gd name="csY96" fmla="*/ 93065 h 537116"/>
                <a:gd name="csX97" fmla="*/ 554766 w 580514"/>
                <a:gd name="csY97" fmla="*/ 108803 h 537116"/>
                <a:gd name="csX98" fmla="*/ 541372 w 580514"/>
                <a:gd name="csY98" fmla="*/ 117407 h 537116"/>
                <a:gd name="csX99" fmla="*/ 515992 w 580514"/>
                <a:gd name="csY99" fmla="*/ 117407 h 537116"/>
                <a:gd name="csX100" fmla="*/ 515992 w 580514"/>
                <a:gd name="csY100" fmla="*/ 302000 h 537116"/>
                <a:gd name="csX101" fmla="*/ 506629 w 580514"/>
                <a:gd name="csY101" fmla="*/ 311363 h 537116"/>
                <a:gd name="csX102" fmla="*/ 497266 w 580514"/>
                <a:gd name="csY102" fmla="*/ 302000 h 537116"/>
                <a:gd name="csX103" fmla="*/ 497266 w 580514"/>
                <a:gd name="csY103" fmla="*/ 108044 h 537116"/>
                <a:gd name="csX104" fmla="*/ 506629 w 580514"/>
                <a:gd name="csY104" fmla="*/ 98680 h 537116"/>
                <a:gd name="csX105" fmla="*/ 312893 w 580514"/>
                <a:gd name="csY105" fmla="*/ 82094 h 537116"/>
                <a:gd name="csX106" fmla="*/ 326090 w 580514"/>
                <a:gd name="csY106" fmla="*/ 87563 h 537116"/>
                <a:gd name="csX107" fmla="*/ 334576 w 580514"/>
                <a:gd name="csY107" fmla="*/ 83790 h 537116"/>
                <a:gd name="csX108" fmla="*/ 345001 w 580514"/>
                <a:gd name="csY108" fmla="*/ 85724 h 537116"/>
                <a:gd name="csX109" fmla="*/ 360093 w 580514"/>
                <a:gd name="csY109" fmla="*/ 100816 h 537116"/>
                <a:gd name="csX110" fmla="*/ 362034 w 580514"/>
                <a:gd name="csY110" fmla="*/ 111229 h 537116"/>
                <a:gd name="csX111" fmla="*/ 358272 w 580514"/>
                <a:gd name="csY111" fmla="*/ 119719 h 537116"/>
                <a:gd name="csX112" fmla="*/ 363751 w 580514"/>
                <a:gd name="csY112" fmla="*/ 132951 h 537116"/>
                <a:gd name="csX113" fmla="*/ 372401 w 580514"/>
                <a:gd name="csY113" fmla="*/ 136279 h 537116"/>
                <a:gd name="csX114" fmla="*/ 378401 w 580514"/>
                <a:gd name="csY114" fmla="*/ 145019 h 537116"/>
                <a:gd name="csX115" fmla="*/ 378401 w 580514"/>
                <a:gd name="csY115" fmla="*/ 166367 h 537116"/>
                <a:gd name="csX116" fmla="*/ 372401 w 580514"/>
                <a:gd name="csY116" fmla="*/ 175105 h 537116"/>
                <a:gd name="csX117" fmla="*/ 363744 w 580514"/>
                <a:gd name="csY117" fmla="*/ 178437 h 537116"/>
                <a:gd name="csX118" fmla="*/ 358269 w 580514"/>
                <a:gd name="csY118" fmla="*/ 191635 h 537116"/>
                <a:gd name="csX119" fmla="*/ 362034 w 580514"/>
                <a:gd name="csY119" fmla="*/ 200134 h 537116"/>
                <a:gd name="csX120" fmla="*/ 360093 w 580514"/>
                <a:gd name="csY120" fmla="*/ 210547 h 537116"/>
                <a:gd name="csX121" fmla="*/ 345001 w 580514"/>
                <a:gd name="csY121" fmla="*/ 225639 h 537116"/>
                <a:gd name="csX122" fmla="*/ 334588 w 580514"/>
                <a:gd name="csY122" fmla="*/ 227579 h 537116"/>
                <a:gd name="csX123" fmla="*/ 326103 w 580514"/>
                <a:gd name="csY123" fmla="*/ 223820 h 537116"/>
                <a:gd name="csX124" fmla="*/ 312890 w 580514"/>
                <a:gd name="csY124" fmla="*/ 229293 h 537116"/>
                <a:gd name="csX125" fmla="*/ 309559 w 580514"/>
                <a:gd name="csY125" fmla="*/ 237947 h 537116"/>
                <a:gd name="csX126" fmla="*/ 300821 w 580514"/>
                <a:gd name="csY126" fmla="*/ 243947 h 537116"/>
                <a:gd name="csX127" fmla="*/ 279472 w 580514"/>
                <a:gd name="csY127" fmla="*/ 243947 h 537116"/>
                <a:gd name="csX128" fmla="*/ 270734 w 580514"/>
                <a:gd name="csY128" fmla="*/ 237947 h 537116"/>
                <a:gd name="csX129" fmla="*/ 267404 w 580514"/>
                <a:gd name="csY129" fmla="*/ 229294 h 537116"/>
                <a:gd name="csX130" fmla="*/ 254182 w 580514"/>
                <a:gd name="csY130" fmla="*/ 223814 h 537116"/>
                <a:gd name="csX131" fmla="*/ 245684 w 580514"/>
                <a:gd name="csY131" fmla="*/ 227579 h 537116"/>
                <a:gd name="csX132" fmla="*/ 235271 w 580514"/>
                <a:gd name="csY132" fmla="*/ 225639 h 537116"/>
                <a:gd name="csX133" fmla="*/ 220179 w 580514"/>
                <a:gd name="csY133" fmla="*/ 210547 h 537116"/>
                <a:gd name="csX134" fmla="*/ 218244 w 580514"/>
                <a:gd name="csY134" fmla="*/ 200122 h 537116"/>
                <a:gd name="csX135" fmla="*/ 222015 w 580514"/>
                <a:gd name="csY135" fmla="*/ 191641 h 537116"/>
                <a:gd name="csX136" fmla="*/ 216537 w 580514"/>
                <a:gd name="csY136" fmla="*/ 178440 h 537116"/>
                <a:gd name="csX137" fmla="*/ 207871 w 580514"/>
                <a:gd name="csY137" fmla="*/ 175105 h 537116"/>
                <a:gd name="csX138" fmla="*/ 201870 w 580514"/>
                <a:gd name="csY138" fmla="*/ 166367 h 537116"/>
                <a:gd name="csX139" fmla="*/ 201870 w 580514"/>
                <a:gd name="csY139" fmla="*/ 145019 h 537116"/>
                <a:gd name="csX140" fmla="*/ 207871 w 580514"/>
                <a:gd name="csY140" fmla="*/ 136279 h 537116"/>
                <a:gd name="csX141" fmla="*/ 216533 w 580514"/>
                <a:gd name="csY141" fmla="*/ 132946 h 537116"/>
                <a:gd name="csX142" fmla="*/ 222016 w 580514"/>
                <a:gd name="csY142" fmla="*/ 119728 h 537116"/>
                <a:gd name="csX143" fmla="*/ 218244 w 580514"/>
                <a:gd name="csY143" fmla="*/ 111241 h 537116"/>
                <a:gd name="csX144" fmla="*/ 220179 w 580514"/>
                <a:gd name="csY144" fmla="*/ 100816 h 537116"/>
                <a:gd name="csX145" fmla="*/ 235271 w 580514"/>
                <a:gd name="csY145" fmla="*/ 85724 h 537116"/>
                <a:gd name="csX146" fmla="*/ 245696 w 580514"/>
                <a:gd name="csY146" fmla="*/ 83790 h 537116"/>
                <a:gd name="csX147" fmla="*/ 254181 w 580514"/>
                <a:gd name="csY147" fmla="*/ 87563 h 537116"/>
                <a:gd name="csX148" fmla="*/ 267387 w 580514"/>
                <a:gd name="csY148" fmla="*/ 82091 h 537116"/>
                <a:gd name="csX149" fmla="*/ 270737 w 580514"/>
                <a:gd name="csY149" fmla="*/ 73409 h 537116"/>
                <a:gd name="csX150" fmla="*/ 279472 w 580514"/>
                <a:gd name="csY150" fmla="*/ 67417 h 537116"/>
                <a:gd name="csX151" fmla="*/ 300821 w 580514"/>
                <a:gd name="csY151" fmla="*/ 67417 h 537116"/>
                <a:gd name="csX152" fmla="*/ 309562 w 580514"/>
                <a:gd name="csY152" fmla="*/ 73421 h 537116"/>
                <a:gd name="csX153" fmla="*/ 297112 w 580514"/>
                <a:gd name="csY153" fmla="*/ 93231 h 537116"/>
                <a:gd name="csX154" fmla="*/ 294389 w 580514"/>
                <a:gd name="csY154" fmla="*/ 86143 h 537116"/>
                <a:gd name="csX155" fmla="*/ 285895 w 580514"/>
                <a:gd name="csY155" fmla="*/ 86143 h 537116"/>
                <a:gd name="csX156" fmla="*/ 283155 w 580514"/>
                <a:gd name="csY156" fmla="*/ 93243 h 537116"/>
                <a:gd name="csX157" fmla="*/ 276585 w 580514"/>
                <a:gd name="csY157" fmla="*/ 98982 h 537116"/>
                <a:gd name="csX158" fmla="*/ 259618 w 580514"/>
                <a:gd name="csY158" fmla="*/ 106014 h 537116"/>
                <a:gd name="csX159" fmla="*/ 250902 w 580514"/>
                <a:gd name="csY159" fmla="*/ 106598 h 537116"/>
                <a:gd name="csX160" fmla="*/ 243965 w 580514"/>
                <a:gd name="csY160" fmla="*/ 103514 h 537116"/>
                <a:gd name="csX161" fmla="*/ 237968 w 580514"/>
                <a:gd name="csY161" fmla="*/ 109510 h 537116"/>
                <a:gd name="csX162" fmla="*/ 241052 w 580514"/>
                <a:gd name="csY162" fmla="*/ 116447 h 537116"/>
                <a:gd name="csX163" fmla="*/ 240468 w 580514"/>
                <a:gd name="csY163" fmla="*/ 125163 h 537116"/>
                <a:gd name="csX164" fmla="*/ 233410 w 580514"/>
                <a:gd name="csY164" fmla="*/ 142172 h 537116"/>
                <a:gd name="csX165" fmla="*/ 227668 w 580514"/>
                <a:gd name="csY165" fmla="*/ 148725 h 537116"/>
                <a:gd name="csX166" fmla="*/ 220597 w 580514"/>
                <a:gd name="csY166" fmla="*/ 151448 h 537116"/>
                <a:gd name="csX167" fmla="*/ 220597 w 580514"/>
                <a:gd name="csY167" fmla="*/ 159938 h 537116"/>
                <a:gd name="csX168" fmla="*/ 227668 w 580514"/>
                <a:gd name="csY168" fmla="*/ 162659 h 537116"/>
                <a:gd name="csX169" fmla="*/ 233409 w 580514"/>
                <a:gd name="csY169" fmla="*/ 169206 h 537116"/>
                <a:gd name="csX170" fmla="*/ 240461 w 580514"/>
                <a:gd name="csY170" fmla="*/ 186188 h 537116"/>
                <a:gd name="csX171" fmla="*/ 241052 w 580514"/>
                <a:gd name="csY171" fmla="*/ 194916 h 537116"/>
                <a:gd name="csX172" fmla="*/ 237968 w 580514"/>
                <a:gd name="csY172" fmla="*/ 201853 h 537116"/>
                <a:gd name="csX173" fmla="*/ 243972 w 580514"/>
                <a:gd name="csY173" fmla="*/ 207857 h 537116"/>
                <a:gd name="csX174" fmla="*/ 250913 w 580514"/>
                <a:gd name="csY174" fmla="*/ 204781 h 537116"/>
                <a:gd name="csX175" fmla="*/ 259596 w 580514"/>
                <a:gd name="csY175" fmla="*/ 205358 h 537116"/>
                <a:gd name="csX176" fmla="*/ 276600 w 580514"/>
                <a:gd name="csY176" fmla="*/ 212402 h 537116"/>
                <a:gd name="csX177" fmla="*/ 283180 w 580514"/>
                <a:gd name="csY177" fmla="*/ 218149 h 537116"/>
                <a:gd name="csX178" fmla="*/ 285901 w 580514"/>
                <a:gd name="csY178" fmla="*/ 225221 h 537116"/>
                <a:gd name="csX179" fmla="*/ 294392 w 580514"/>
                <a:gd name="csY179" fmla="*/ 225221 h 537116"/>
                <a:gd name="csX180" fmla="*/ 297113 w 580514"/>
                <a:gd name="csY180" fmla="*/ 218149 h 537116"/>
                <a:gd name="csX181" fmla="*/ 303687 w 580514"/>
                <a:gd name="csY181" fmla="*/ 212403 h 537116"/>
                <a:gd name="csX182" fmla="*/ 320642 w 580514"/>
                <a:gd name="csY182" fmla="*/ 205379 h 537116"/>
                <a:gd name="csX183" fmla="*/ 329359 w 580514"/>
                <a:gd name="csY183" fmla="*/ 204781 h 537116"/>
                <a:gd name="csX184" fmla="*/ 336300 w 580514"/>
                <a:gd name="csY184" fmla="*/ 207857 h 537116"/>
                <a:gd name="csX185" fmla="*/ 342310 w 580514"/>
                <a:gd name="csY185" fmla="*/ 201846 h 537116"/>
                <a:gd name="csX186" fmla="*/ 339236 w 580514"/>
                <a:gd name="csY186" fmla="*/ 194904 h 537116"/>
                <a:gd name="csX187" fmla="*/ 339813 w 580514"/>
                <a:gd name="csY187" fmla="*/ 186221 h 537116"/>
                <a:gd name="csX188" fmla="*/ 346857 w 580514"/>
                <a:gd name="csY188" fmla="*/ 169233 h 537116"/>
                <a:gd name="csX189" fmla="*/ 352603 w 580514"/>
                <a:gd name="csY189" fmla="*/ 162659 h 537116"/>
                <a:gd name="csX190" fmla="*/ 359674 w 580514"/>
                <a:gd name="csY190" fmla="*/ 159938 h 537116"/>
                <a:gd name="csX191" fmla="*/ 359674 w 580514"/>
                <a:gd name="csY191" fmla="*/ 151448 h 537116"/>
                <a:gd name="csX192" fmla="*/ 352603 w 580514"/>
                <a:gd name="csY192" fmla="*/ 148725 h 537116"/>
                <a:gd name="csX193" fmla="*/ 346855 w 580514"/>
                <a:gd name="csY193" fmla="*/ 142145 h 537116"/>
                <a:gd name="csX194" fmla="*/ 339826 w 580514"/>
                <a:gd name="csY194" fmla="*/ 125163 h 537116"/>
                <a:gd name="csX195" fmla="*/ 339236 w 580514"/>
                <a:gd name="csY195" fmla="*/ 116459 h 537116"/>
                <a:gd name="csX196" fmla="*/ 342310 w 580514"/>
                <a:gd name="csY196" fmla="*/ 109517 h 537116"/>
                <a:gd name="csX197" fmla="*/ 336307 w 580514"/>
                <a:gd name="csY197" fmla="*/ 103514 h 537116"/>
                <a:gd name="csX198" fmla="*/ 329371 w 580514"/>
                <a:gd name="csY198" fmla="*/ 106598 h 537116"/>
                <a:gd name="csX199" fmla="*/ 320655 w 580514"/>
                <a:gd name="csY199" fmla="*/ 106014 h 537116"/>
                <a:gd name="csX200" fmla="*/ 303687 w 580514"/>
                <a:gd name="csY200" fmla="*/ 98982 h 537116"/>
                <a:gd name="csX201" fmla="*/ 297112 w 580514"/>
                <a:gd name="csY201" fmla="*/ 93231 h 537116"/>
                <a:gd name="csX202" fmla="*/ 290136 w 580514"/>
                <a:gd name="csY202" fmla="*/ 109082 h 537116"/>
                <a:gd name="csX203" fmla="*/ 336757 w 580514"/>
                <a:gd name="csY203" fmla="*/ 155682 h 537116"/>
                <a:gd name="csX204" fmla="*/ 290136 w 580514"/>
                <a:gd name="csY204" fmla="*/ 202303 h 537116"/>
                <a:gd name="csX205" fmla="*/ 243536 w 580514"/>
                <a:gd name="csY205" fmla="*/ 155682 h 537116"/>
                <a:gd name="csX206" fmla="*/ 290136 w 580514"/>
                <a:gd name="csY206" fmla="*/ 109082 h 537116"/>
                <a:gd name="csX207" fmla="*/ 290136 w 580514"/>
                <a:gd name="csY207" fmla="*/ 127808 h 537116"/>
                <a:gd name="csX208" fmla="*/ 262263 w 580514"/>
                <a:gd name="csY208" fmla="*/ 155682 h 537116"/>
                <a:gd name="csX209" fmla="*/ 290136 w 580514"/>
                <a:gd name="csY209" fmla="*/ 183577 h 537116"/>
                <a:gd name="csX210" fmla="*/ 318031 w 580514"/>
                <a:gd name="csY210" fmla="*/ 155682 h 537116"/>
                <a:gd name="csX211" fmla="*/ 290136 w 580514"/>
                <a:gd name="csY211" fmla="*/ 127808 h 53711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Lst>
              <a:rect l="l" t="t" r="r" b="b"/>
              <a:pathLst>
                <a:path w="580514" h="537116">
                  <a:moveTo>
                    <a:pt x="571151" y="537116"/>
                  </a:moveTo>
                  <a:lnTo>
                    <a:pt x="9363" y="537116"/>
                  </a:lnTo>
                  <a:cubicBezTo>
                    <a:pt x="6706" y="537116"/>
                    <a:pt x="4174" y="535987"/>
                    <a:pt x="2398" y="534010"/>
                  </a:cubicBezTo>
                  <a:cubicBezTo>
                    <a:pt x="621" y="532033"/>
                    <a:pt x="-231" y="529395"/>
                    <a:pt x="54" y="526753"/>
                  </a:cubicBezTo>
                  <a:cubicBezTo>
                    <a:pt x="4848" y="482115"/>
                    <a:pt x="35306" y="445156"/>
                    <a:pt x="76376" y="430955"/>
                  </a:cubicBezTo>
                  <a:cubicBezTo>
                    <a:pt x="61180" y="419545"/>
                    <a:pt x="51322" y="401377"/>
                    <a:pt x="51322" y="380984"/>
                  </a:cubicBezTo>
                  <a:cubicBezTo>
                    <a:pt x="51322" y="346596"/>
                    <a:pt x="79355" y="318536"/>
                    <a:pt x="113742" y="318536"/>
                  </a:cubicBezTo>
                  <a:cubicBezTo>
                    <a:pt x="148161" y="318536"/>
                    <a:pt x="176191" y="346598"/>
                    <a:pt x="176191" y="380984"/>
                  </a:cubicBezTo>
                  <a:cubicBezTo>
                    <a:pt x="176191" y="401378"/>
                    <a:pt x="166331" y="419547"/>
                    <a:pt x="151128" y="430957"/>
                  </a:cubicBezTo>
                  <a:cubicBezTo>
                    <a:pt x="160345" y="434143"/>
                    <a:pt x="169026" y="438475"/>
                    <a:pt x="177003" y="443781"/>
                  </a:cubicBezTo>
                  <a:cubicBezTo>
                    <a:pt x="195459" y="422716"/>
                    <a:pt x="219691" y="406844"/>
                    <a:pt x="247227" y="398641"/>
                  </a:cubicBezTo>
                  <a:cubicBezTo>
                    <a:pt x="224605" y="384304"/>
                    <a:pt x="209539" y="359037"/>
                    <a:pt x="209539" y="330369"/>
                  </a:cubicBezTo>
                  <a:cubicBezTo>
                    <a:pt x="209539" y="285900"/>
                    <a:pt x="245789" y="249613"/>
                    <a:pt x="290257" y="249613"/>
                  </a:cubicBezTo>
                  <a:cubicBezTo>
                    <a:pt x="334766" y="249613"/>
                    <a:pt x="371013" y="285902"/>
                    <a:pt x="371013" y="330369"/>
                  </a:cubicBezTo>
                  <a:cubicBezTo>
                    <a:pt x="371013" y="359038"/>
                    <a:pt x="355947" y="384306"/>
                    <a:pt x="333314" y="398644"/>
                  </a:cubicBezTo>
                  <a:cubicBezTo>
                    <a:pt x="360853" y="406846"/>
                    <a:pt x="385085" y="422716"/>
                    <a:pt x="403536" y="443778"/>
                  </a:cubicBezTo>
                  <a:cubicBezTo>
                    <a:pt x="411512" y="438472"/>
                    <a:pt x="420193" y="434141"/>
                    <a:pt x="429406" y="430955"/>
                  </a:cubicBezTo>
                  <a:cubicBezTo>
                    <a:pt x="414211" y="419545"/>
                    <a:pt x="404352" y="401377"/>
                    <a:pt x="404352" y="380984"/>
                  </a:cubicBezTo>
                  <a:cubicBezTo>
                    <a:pt x="404352" y="346596"/>
                    <a:pt x="432385" y="318536"/>
                    <a:pt x="466772" y="318536"/>
                  </a:cubicBezTo>
                  <a:cubicBezTo>
                    <a:pt x="501191" y="318536"/>
                    <a:pt x="529221" y="346598"/>
                    <a:pt x="529221" y="380984"/>
                  </a:cubicBezTo>
                  <a:cubicBezTo>
                    <a:pt x="529221" y="401378"/>
                    <a:pt x="519363" y="419546"/>
                    <a:pt x="504159" y="430956"/>
                  </a:cubicBezTo>
                  <a:cubicBezTo>
                    <a:pt x="545240" y="445160"/>
                    <a:pt x="575691" y="482121"/>
                    <a:pt x="580462" y="526758"/>
                  </a:cubicBezTo>
                  <a:cubicBezTo>
                    <a:pt x="580744" y="529399"/>
                    <a:pt x="579891" y="532036"/>
                    <a:pt x="578115" y="534011"/>
                  </a:cubicBezTo>
                  <a:cubicBezTo>
                    <a:pt x="576340" y="535988"/>
                    <a:pt x="573808" y="537116"/>
                    <a:pt x="571151" y="537116"/>
                  </a:cubicBezTo>
                  <a:close/>
                  <a:moveTo>
                    <a:pt x="113742" y="443432"/>
                  </a:moveTo>
                  <a:cubicBezTo>
                    <a:pt x="68038" y="443432"/>
                    <a:pt x="29820" y="475513"/>
                    <a:pt x="20366" y="518390"/>
                  </a:cubicBezTo>
                  <a:lnTo>
                    <a:pt x="141708" y="518390"/>
                  </a:lnTo>
                  <a:cubicBezTo>
                    <a:pt x="145302" y="496534"/>
                    <a:pt x="153600" y="476262"/>
                    <a:pt x="165526" y="458650"/>
                  </a:cubicBezTo>
                  <a:cubicBezTo>
                    <a:pt x="150605" y="449020"/>
                    <a:pt x="132827" y="443432"/>
                    <a:pt x="113742" y="443432"/>
                  </a:cubicBezTo>
                  <a:close/>
                  <a:moveTo>
                    <a:pt x="113742" y="424706"/>
                  </a:moveTo>
                  <a:cubicBezTo>
                    <a:pt x="137839" y="424706"/>
                    <a:pt x="157465" y="405059"/>
                    <a:pt x="157465" y="380984"/>
                  </a:cubicBezTo>
                  <a:cubicBezTo>
                    <a:pt x="157465" y="356909"/>
                    <a:pt x="137839" y="337263"/>
                    <a:pt x="113742" y="337263"/>
                  </a:cubicBezTo>
                  <a:cubicBezTo>
                    <a:pt x="89668" y="337263"/>
                    <a:pt x="70048" y="356911"/>
                    <a:pt x="70048" y="380984"/>
                  </a:cubicBezTo>
                  <a:cubicBezTo>
                    <a:pt x="70048" y="405058"/>
                    <a:pt x="89668" y="424706"/>
                    <a:pt x="113742" y="424706"/>
                  </a:cubicBezTo>
                  <a:close/>
                  <a:moveTo>
                    <a:pt x="290257" y="411125"/>
                  </a:moveTo>
                  <a:cubicBezTo>
                    <a:pt x="225861" y="411125"/>
                    <a:pt x="172247" y="457321"/>
                    <a:pt x="160723" y="518390"/>
                  </a:cubicBezTo>
                  <a:lnTo>
                    <a:pt x="218120" y="518390"/>
                  </a:lnTo>
                  <a:lnTo>
                    <a:pt x="362394" y="518390"/>
                  </a:lnTo>
                  <a:lnTo>
                    <a:pt x="419797" y="518390"/>
                  </a:lnTo>
                  <a:cubicBezTo>
                    <a:pt x="408305" y="457320"/>
                    <a:pt x="354687" y="411125"/>
                    <a:pt x="290257" y="411125"/>
                  </a:cubicBezTo>
                  <a:close/>
                  <a:moveTo>
                    <a:pt x="290257" y="392399"/>
                  </a:moveTo>
                  <a:cubicBezTo>
                    <a:pt x="324446" y="392399"/>
                    <a:pt x="352287" y="364524"/>
                    <a:pt x="352287" y="330369"/>
                  </a:cubicBezTo>
                  <a:cubicBezTo>
                    <a:pt x="352287" y="296213"/>
                    <a:pt x="324446" y="268339"/>
                    <a:pt x="290257" y="268339"/>
                  </a:cubicBezTo>
                  <a:cubicBezTo>
                    <a:pt x="256103" y="268339"/>
                    <a:pt x="228265" y="296215"/>
                    <a:pt x="228265" y="330369"/>
                  </a:cubicBezTo>
                  <a:cubicBezTo>
                    <a:pt x="228265" y="364523"/>
                    <a:pt x="256103" y="392399"/>
                    <a:pt x="290257" y="392399"/>
                  </a:cubicBezTo>
                  <a:close/>
                  <a:moveTo>
                    <a:pt x="415012" y="458647"/>
                  </a:moveTo>
                  <a:cubicBezTo>
                    <a:pt x="426936" y="476261"/>
                    <a:pt x="435227" y="496533"/>
                    <a:pt x="438810" y="518390"/>
                  </a:cubicBezTo>
                  <a:lnTo>
                    <a:pt x="560154" y="518390"/>
                  </a:lnTo>
                  <a:cubicBezTo>
                    <a:pt x="550721" y="475512"/>
                    <a:pt x="512501" y="443432"/>
                    <a:pt x="466772" y="443432"/>
                  </a:cubicBezTo>
                  <a:cubicBezTo>
                    <a:pt x="447700" y="443432"/>
                    <a:pt x="429931" y="449019"/>
                    <a:pt x="415012" y="458647"/>
                  </a:cubicBezTo>
                  <a:close/>
                  <a:moveTo>
                    <a:pt x="466772" y="424706"/>
                  </a:moveTo>
                  <a:cubicBezTo>
                    <a:pt x="490871" y="424706"/>
                    <a:pt x="510495" y="405059"/>
                    <a:pt x="510495" y="380984"/>
                  </a:cubicBezTo>
                  <a:cubicBezTo>
                    <a:pt x="510495" y="356909"/>
                    <a:pt x="490871" y="337263"/>
                    <a:pt x="466772" y="337263"/>
                  </a:cubicBezTo>
                  <a:cubicBezTo>
                    <a:pt x="442700" y="337263"/>
                    <a:pt x="423078" y="356911"/>
                    <a:pt x="423078" y="380984"/>
                  </a:cubicBezTo>
                  <a:cubicBezTo>
                    <a:pt x="423078" y="405058"/>
                    <a:pt x="442700" y="424706"/>
                    <a:pt x="466772" y="424706"/>
                  </a:cubicBezTo>
                  <a:close/>
                  <a:moveTo>
                    <a:pt x="179769" y="98680"/>
                  </a:moveTo>
                  <a:lnTo>
                    <a:pt x="113726" y="20879"/>
                  </a:lnTo>
                  <a:lnTo>
                    <a:pt x="47683" y="98680"/>
                  </a:lnTo>
                  <a:lnTo>
                    <a:pt x="73886" y="98680"/>
                  </a:lnTo>
                  <a:cubicBezTo>
                    <a:pt x="79056" y="98680"/>
                    <a:pt x="83249" y="102873"/>
                    <a:pt x="83249" y="108044"/>
                  </a:cubicBezTo>
                  <a:lnTo>
                    <a:pt x="83249" y="302000"/>
                  </a:lnTo>
                  <a:cubicBezTo>
                    <a:pt x="83249" y="307167"/>
                    <a:pt x="79053" y="311363"/>
                    <a:pt x="73886" y="311363"/>
                  </a:cubicBezTo>
                  <a:cubicBezTo>
                    <a:pt x="68718" y="311363"/>
                    <a:pt x="64523" y="307167"/>
                    <a:pt x="64523" y="302000"/>
                  </a:cubicBezTo>
                  <a:lnTo>
                    <a:pt x="64523" y="117407"/>
                  </a:lnTo>
                  <a:lnTo>
                    <a:pt x="39143" y="117407"/>
                  </a:lnTo>
                  <a:cubicBezTo>
                    <a:pt x="33263" y="117407"/>
                    <a:pt x="28224" y="114202"/>
                    <a:pt x="25749" y="108803"/>
                  </a:cubicBezTo>
                  <a:cubicBezTo>
                    <a:pt x="23294" y="103490"/>
                    <a:pt x="24092" y="97522"/>
                    <a:pt x="27879" y="93073"/>
                  </a:cubicBezTo>
                  <a:lnTo>
                    <a:pt x="102461" y="5212"/>
                  </a:lnTo>
                  <a:cubicBezTo>
                    <a:pt x="102476" y="5194"/>
                    <a:pt x="102490" y="5178"/>
                    <a:pt x="102504" y="5161"/>
                  </a:cubicBezTo>
                  <a:cubicBezTo>
                    <a:pt x="105425" y="1770"/>
                    <a:pt x="109297" y="0"/>
                    <a:pt x="113726" y="0"/>
                  </a:cubicBezTo>
                  <a:cubicBezTo>
                    <a:pt x="118276" y="0"/>
                    <a:pt x="122149" y="1829"/>
                    <a:pt x="125003" y="5227"/>
                  </a:cubicBezTo>
                  <a:cubicBezTo>
                    <a:pt x="125003" y="5227"/>
                    <a:pt x="199541" y="93038"/>
                    <a:pt x="199541" y="93038"/>
                  </a:cubicBezTo>
                  <a:cubicBezTo>
                    <a:pt x="203407" y="97514"/>
                    <a:pt x="204194" y="103484"/>
                    <a:pt x="201737" y="108803"/>
                  </a:cubicBezTo>
                  <a:cubicBezTo>
                    <a:pt x="199270" y="114185"/>
                    <a:pt x="194265" y="117407"/>
                    <a:pt x="188308" y="117407"/>
                  </a:cubicBezTo>
                  <a:lnTo>
                    <a:pt x="162963" y="117407"/>
                  </a:lnTo>
                  <a:lnTo>
                    <a:pt x="162963" y="225131"/>
                  </a:lnTo>
                  <a:cubicBezTo>
                    <a:pt x="162963" y="230298"/>
                    <a:pt x="158767" y="234494"/>
                    <a:pt x="153600" y="234494"/>
                  </a:cubicBezTo>
                  <a:cubicBezTo>
                    <a:pt x="148433" y="234494"/>
                    <a:pt x="144237" y="230298"/>
                    <a:pt x="144237" y="225131"/>
                  </a:cubicBezTo>
                  <a:lnTo>
                    <a:pt x="144237" y="108044"/>
                  </a:lnTo>
                  <a:cubicBezTo>
                    <a:pt x="144237" y="102873"/>
                    <a:pt x="148429" y="98680"/>
                    <a:pt x="153600" y="98680"/>
                  </a:cubicBezTo>
                  <a:close/>
                  <a:moveTo>
                    <a:pt x="532832" y="98680"/>
                  </a:moveTo>
                  <a:cubicBezTo>
                    <a:pt x="518060" y="81279"/>
                    <a:pt x="478026" y="34116"/>
                    <a:pt x="466789" y="20877"/>
                  </a:cubicBezTo>
                  <a:lnTo>
                    <a:pt x="400746" y="98680"/>
                  </a:lnTo>
                  <a:lnTo>
                    <a:pt x="426915" y="98680"/>
                  </a:lnTo>
                  <a:cubicBezTo>
                    <a:pt x="432085" y="98680"/>
                    <a:pt x="436278" y="102873"/>
                    <a:pt x="436278" y="108044"/>
                  </a:cubicBezTo>
                  <a:lnTo>
                    <a:pt x="436278" y="225131"/>
                  </a:lnTo>
                  <a:cubicBezTo>
                    <a:pt x="436278" y="230298"/>
                    <a:pt x="432082" y="234494"/>
                    <a:pt x="426915" y="234494"/>
                  </a:cubicBezTo>
                  <a:cubicBezTo>
                    <a:pt x="421747" y="234494"/>
                    <a:pt x="417551" y="230298"/>
                    <a:pt x="417551" y="225131"/>
                  </a:cubicBezTo>
                  <a:lnTo>
                    <a:pt x="417551" y="117407"/>
                  </a:lnTo>
                  <a:lnTo>
                    <a:pt x="392207" y="117407"/>
                  </a:lnTo>
                  <a:cubicBezTo>
                    <a:pt x="386249" y="117407"/>
                    <a:pt x="381245" y="114185"/>
                    <a:pt x="378778" y="108803"/>
                  </a:cubicBezTo>
                  <a:cubicBezTo>
                    <a:pt x="376320" y="103483"/>
                    <a:pt x="377109" y="97511"/>
                    <a:pt x="380973" y="93038"/>
                  </a:cubicBezTo>
                  <a:cubicBezTo>
                    <a:pt x="380973" y="93038"/>
                    <a:pt x="455512" y="5227"/>
                    <a:pt x="455512" y="5227"/>
                  </a:cubicBezTo>
                  <a:cubicBezTo>
                    <a:pt x="458365" y="1829"/>
                    <a:pt x="462238" y="0"/>
                    <a:pt x="466789" y="0"/>
                  </a:cubicBezTo>
                  <a:cubicBezTo>
                    <a:pt x="471217" y="0"/>
                    <a:pt x="475089" y="1770"/>
                    <a:pt x="478010" y="5161"/>
                  </a:cubicBezTo>
                  <a:cubicBezTo>
                    <a:pt x="478024" y="5178"/>
                    <a:pt x="478038" y="5194"/>
                    <a:pt x="478054" y="5212"/>
                  </a:cubicBezTo>
                  <a:lnTo>
                    <a:pt x="552628" y="93065"/>
                  </a:lnTo>
                  <a:cubicBezTo>
                    <a:pt x="556422" y="97522"/>
                    <a:pt x="557220" y="103490"/>
                    <a:pt x="554766" y="108803"/>
                  </a:cubicBezTo>
                  <a:cubicBezTo>
                    <a:pt x="552291" y="114202"/>
                    <a:pt x="547252" y="117407"/>
                    <a:pt x="541372" y="117407"/>
                  </a:cubicBezTo>
                  <a:lnTo>
                    <a:pt x="515992" y="117407"/>
                  </a:lnTo>
                  <a:lnTo>
                    <a:pt x="515992" y="302000"/>
                  </a:lnTo>
                  <a:cubicBezTo>
                    <a:pt x="515992" y="307167"/>
                    <a:pt x="511796" y="311363"/>
                    <a:pt x="506629" y="311363"/>
                  </a:cubicBezTo>
                  <a:cubicBezTo>
                    <a:pt x="501462" y="311363"/>
                    <a:pt x="497266" y="307167"/>
                    <a:pt x="497266" y="302000"/>
                  </a:cubicBezTo>
                  <a:lnTo>
                    <a:pt x="497266" y="108044"/>
                  </a:lnTo>
                  <a:cubicBezTo>
                    <a:pt x="497266" y="102873"/>
                    <a:pt x="501458" y="98680"/>
                    <a:pt x="506629" y="98680"/>
                  </a:cubicBezTo>
                  <a:close/>
                  <a:moveTo>
                    <a:pt x="312893" y="82094"/>
                  </a:moveTo>
                  <a:cubicBezTo>
                    <a:pt x="317452" y="83500"/>
                    <a:pt x="321868" y="85330"/>
                    <a:pt x="326090" y="87563"/>
                  </a:cubicBezTo>
                  <a:lnTo>
                    <a:pt x="334576" y="83790"/>
                  </a:lnTo>
                  <a:cubicBezTo>
                    <a:pt x="338117" y="82215"/>
                    <a:pt x="342261" y="82984"/>
                    <a:pt x="345001" y="85724"/>
                  </a:cubicBezTo>
                  <a:lnTo>
                    <a:pt x="360093" y="100816"/>
                  </a:lnTo>
                  <a:cubicBezTo>
                    <a:pt x="362830" y="103553"/>
                    <a:pt x="363601" y="107691"/>
                    <a:pt x="362034" y="111229"/>
                  </a:cubicBezTo>
                  <a:cubicBezTo>
                    <a:pt x="362034" y="111229"/>
                    <a:pt x="358272" y="119719"/>
                    <a:pt x="358272" y="119719"/>
                  </a:cubicBezTo>
                  <a:cubicBezTo>
                    <a:pt x="360509" y="123949"/>
                    <a:pt x="362342" y="128374"/>
                    <a:pt x="363751" y="132951"/>
                  </a:cubicBezTo>
                  <a:lnTo>
                    <a:pt x="372401" y="136279"/>
                  </a:lnTo>
                  <a:cubicBezTo>
                    <a:pt x="376017" y="137671"/>
                    <a:pt x="378401" y="141145"/>
                    <a:pt x="378401" y="145019"/>
                  </a:cubicBezTo>
                  <a:lnTo>
                    <a:pt x="378401" y="166367"/>
                  </a:lnTo>
                  <a:cubicBezTo>
                    <a:pt x="378401" y="170241"/>
                    <a:pt x="376017" y="173714"/>
                    <a:pt x="372401" y="175105"/>
                  </a:cubicBezTo>
                  <a:cubicBezTo>
                    <a:pt x="372401" y="175105"/>
                    <a:pt x="363744" y="178437"/>
                    <a:pt x="363744" y="178437"/>
                  </a:cubicBezTo>
                  <a:cubicBezTo>
                    <a:pt x="362334" y="182997"/>
                    <a:pt x="360497" y="187413"/>
                    <a:pt x="358269" y="191635"/>
                  </a:cubicBezTo>
                  <a:lnTo>
                    <a:pt x="362034" y="200134"/>
                  </a:lnTo>
                  <a:cubicBezTo>
                    <a:pt x="363601" y="203672"/>
                    <a:pt x="362830" y="207810"/>
                    <a:pt x="360093" y="210547"/>
                  </a:cubicBezTo>
                  <a:lnTo>
                    <a:pt x="345001" y="225639"/>
                  </a:lnTo>
                  <a:cubicBezTo>
                    <a:pt x="342265" y="228375"/>
                    <a:pt x="338126" y="229146"/>
                    <a:pt x="334588" y="227579"/>
                  </a:cubicBezTo>
                  <a:cubicBezTo>
                    <a:pt x="334588" y="227579"/>
                    <a:pt x="326103" y="223820"/>
                    <a:pt x="326103" y="223820"/>
                  </a:cubicBezTo>
                  <a:cubicBezTo>
                    <a:pt x="321881" y="226054"/>
                    <a:pt x="317456" y="227886"/>
                    <a:pt x="312890" y="229293"/>
                  </a:cubicBezTo>
                  <a:lnTo>
                    <a:pt x="309559" y="237947"/>
                  </a:lnTo>
                  <a:cubicBezTo>
                    <a:pt x="308168" y="241562"/>
                    <a:pt x="304694" y="243947"/>
                    <a:pt x="300821" y="243947"/>
                  </a:cubicBezTo>
                  <a:lnTo>
                    <a:pt x="279472" y="243947"/>
                  </a:lnTo>
                  <a:cubicBezTo>
                    <a:pt x="275599" y="243947"/>
                    <a:pt x="272126" y="241562"/>
                    <a:pt x="270734" y="237947"/>
                  </a:cubicBezTo>
                  <a:cubicBezTo>
                    <a:pt x="270734" y="237947"/>
                    <a:pt x="267404" y="229294"/>
                    <a:pt x="267404" y="229294"/>
                  </a:cubicBezTo>
                  <a:cubicBezTo>
                    <a:pt x="262831" y="227882"/>
                    <a:pt x="258409" y="226045"/>
                    <a:pt x="254182" y="223814"/>
                  </a:cubicBezTo>
                  <a:lnTo>
                    <a:pt x="245684" y="227579"/>
                  </a:lnTo>
                  <a:cubicBezTo>
                    <a:pt x="242146" y="229146"/>
                    <a:pt x="238007" y="228375"/>
                    <a:pt x="235271" y="225639"/>
                  </a:cubicBezTo>
                  <a:lnTo>
                    <a:pt x="220179" y="210547"/>
                  </a:lnTo>
                  <a:cubicBezTo>
                    <a:pt x="217439" y="207807"/>
                    <a:pt x="216670" y="203662"/>
                    <a:pt x="218244" y="200122"/>
                  </a:cubicBezTo>
                  <a:cubicBezTo>
                    <a:pt x="218244" y="200122"/>
                    <a:pt x="222014" y="191641"/>
                    <a:pt x="222015" y="191641"/>
                  </a:cubicBezTo>
                  <a:cubicBezTo>
                    <a:pt x="219783" y="187424"/>
                    <a:pt x="217952" y="183003"/>
                    <a:pt x="216537" y="178440"/>
                  </a:cubicBezTo>
                  <a:lnTo>
                    <a:pt x="207871" y="175105"/>
                  </a:lnTo>
                  <a:cubicBezTo>
                    <a:pt x="204256" y="173714"/>
                    <a:pt x="201870" y="170241"/>
                    <a:pt x="201870" y="166367"/>
                  </a:cubicBezTo>
                  <a:lnTo>
                    <a:pt x="201870" y="145019"/>
                  </a:lnTo>
                  <a:cubicBezTo>
                    <a:pt x="201870" y="141145"/>
                    <a:pt x="204256" y="137671"/>
                    <a:pt x="207871" y="136279"/>
                  </a:cubicBezTo>
                  <a:cubicBezTo>
                    <a:pt x="207871" y="136279"/>
                    <a:pt x="216533" y="132946"/>
                    <a:pt x="216533" y="132946"/>
                  </a:cubicBezTo>
                  <a:cubicBezTo>
                    <a:pt x="217949" y="128374"/>
                    <a:pt x="219782" y="123953"/>
                    <a:pt x="222016" y="119728"/>
                  </a:cubicBezTo>
                  <a:lnTo>
                    <a:pt x="218244" y="111241"/>
                  </a:lnTo>
                  <a:cubicBezTo>
                    <a:pt x="216670" y="107701"/>
                    <a:pt x="217439" y="103556"/>
                    <a:pt x="220179" y="100816"/>
                  </a:cubicBezTo>
                  <a:lnTo>
                    <a:pt x="235271" y="85724"/>
                  </a:lnTo>
                  <a:cubicBezTo>
                    <a:pt x="238011" y="82984"/>
                    <a:pt x="242155" y="82215"/>
                    <a:pt x="245696" y="83790"/>
                  </a:cubicBezTo>
                  <a:cubicBezTo>
                    <a:pt x="245696" y="83790"/>
                    <a:pt x="254181" y="87563"/>
                    <a:pt x="254181" y="87563"/>
                  </a:cubicBezTo>
                  <a:cubicBezTo>
                    <a:pt x="258406" y="85329"/>
                    <a:pt x="262824" y="83498"/>
                    <a:pt x="267387" y="82091"/>
                  </a:cubicBezTo>
                  <a:lnTo>
                    <a:pt x="270737" y="73409"/>
                  </a:lnTo>
                  <a:cubicBezTo>
                    <a:pt x="272130" y="69798"/>
                    <a:pt x="275602" y="67417"/>
                    <a:pt x="279472" y="67417"/>
                  </a:cubicBezTo>
                  <a:lnTo>
                    <a:pt x="300821" y="67417"/>
                  </a:lnTo>
                  <a:cubicBezTo>
                    <a:pt x="304696" y="67417"/>
                    <a:pt x="308171" y="69803"/>
                    <a:pt x="309562" y="73421"/>
                  </a:cubicBezTo>
                  <a:close/>
                  <a:moveTo>
                    <a:pt x="297112" y="93231"/>
                  </a:moveTo>
                  <a:lnTo>
                    <a:pt x="294389" y="86143"/>
                  </a:lnTo>
                  <a:lnTo>
                    <a:pt x="285895" y="86143"/>
                  </a:lnTo>
                  <a:lnTo>
                    <a:pt x="283155" y="93243"/>
                  </a:lnTo>
                  <a:cubicBezTo>
                    <a:pt x="282045" y="96122"/>
                    <a:pt x="279587" y="98268"/>
                    <a:pt x="276585" y="98982"/>
                  </a:cubicBezTo>
                  <a:cubicBezTo>
                    <a:pt x="270590" y="100407"/>
                    <a:pt x="264873" y="102776"/>
                    <a:pt x="259618" y="106014"/>
                  </a:cubicBezTo>
                  <a:cubicBezTo>
                    <a:pt x="256986" y="107635"/>
                    <a:pt x="253725" y="107853"/>
                    <a:pt x="250902" y="106598"/>
                  </a:cubicBezTo>
                  <a:lnTo>
                    <a:pt x="243965" y="103514"/>
                  </a:lnTo>
                  <a:cubicBezTo>
                    <a:pt x="243965" y="103514"/>
                    <a:pt x="237968" y="109510"/>
                    <a:pt x="237968" y="109510"/>
                  </a:cubicBezTo>
                  <a:lnTo>
                    <a:pt x="241052" y="116447"/>
                  </a:lnTo>
                  <a:cubicBezTo>
                    <a:pt x="242307" y="119271"/>
                    <a:pt x="242089" y="122532"/>
                    <a:pt x="240468" y="125163"/>
                  </a:cubicBezTo>
                  <a:cubicBezTo>
                    <a:pt x="237226" y="130425"/>
                    <a:pt x="234856" y="136151"/>
                    <a:pt x="233410" y="142172"/>
                  </a:cubicBezTo>
                  <a:cubicBezTo>
                    <a:pt x="232690" y="145168"/>
                    <a:pt x="230544" y="147619"/>
                    <a:pt x="227668" y="148725"/>
                  </a:cubicBezTo>
                  <a:cubicBezTo>
                    <a:pt x="227668" y="148725"/>
                    <a:pt x="220597" y="151448"/>
                    <a:pt x="220597" y="151448"/>
                  </a:cubicBezTo>
                  <a:lnTo>
                    <a:pt x="220597" y="159938"/>
                  </a:lnTo>
                  <a:lnTo>
                    <a:pt x="227668" y="162659"/>
                  </a:lnTo>
                  <a:cubicBezTo>
                    <a:pt x="230541" y="163765"/>
                    <a:pt x="232688" y="166213"/>
                    <a:pt x="233409" y="169206"/>
                  </a:cubicBezTo>
                  <a:cubicBezTo>
                    <a:pt x="234853" y="175205"/>
                    <a:pt x="237220" y="180947"/>
                    <a:pt x="240461" y="186188"/>
                  </a:cubicBezTo>
                  <a:cubicBezTo>
                    <a:pt x="242089" y="188821"/>
                    <a:pt x="242310" y="192088"/>
                    <a:pt x="241052" y="194916"/>
                  </a:cubicBezTo>
                  <a:lnTo>
                    <a:pt x="237968" y="201853"/>
                  </a:lnTo>
                  <a:lnTo>
                    <a:pt x="243972" y="207857"/>
                  </a:lnTo>
                  <a:lnTo>
                    <a:pt x="250913" y="204781"/>
                  </a:lnTo>
                  <a:cubicBezTo>
                    <a:pt x="253727" y="203536"/>
                    <a:pt x="256972" y="203751"/>
                    <a:pt x="259596" y="205358"/>
                  </a:cubicBezTo>
                  <a:cubicBezTo>
                    <a:pt x="264857" y="208581"/>
                    <a:pt x="270579" y="210975"/>
                    <a:pt x="276600" y="212402"/>
                  </a:cubicBezTo>
                  <a:cubicBezTo>
                    <a:pt x="279608" y="213114"/>
                    <a:pt x="282069" y="215264"/>
                    <a:pt x="283180" y="218149"/>
                  </a:cubicBezTo>
                  <a:cubicBezTo>
                    <a:pt x="283180" y="218149"/>
                    <a:pt x="285901" y="225221"/>
                    <a:pt x="285901" y="225221"/>
                  </a:cubicBezTo>
                  <a:lnTo>
                    <a:pt x="294392" y="225221"/>
                  </a:lnTo>
                  <a:lnTo>
                    <a:pt x="297113" y="218149"/>
                  </a:lnTo>
                  <a:cubicBezTo>
                    <a:pt x="298223" y="215267"/>
                    <a:pt x="300682" y="213117"/>
                    <a:pt x="303687" y="212403"/>
                  </a:cubicBezTo>
                  <a:cubicBezTo>
                    <a:pt x="309678" y="210980"/>
                    <a:pt x="315410" y="208614"/>
                    <a:pt x="320642" y="205379"/>
                  </a:cubicBezTo>
                  <a:cubicBezTo>
                    <a:pt x="323270" y="203754"/>
                    <a:pt x="326532" y="203530"/>
                    <a:pt x="329359" y="204781"/>
                  </a:cubicBezTo>
                  <a:lnTo>
                    <a:pt x="336300" y="207857"/>
                  </a:lnTo>
                  <a:lnTo>
                    <a:pt x="342310" y="201846"/>
                  </a:lnTo>
                  <a:lnTo>
                    <a:pt x="339236" y="194904"/>
                  </a:lnTo>
                  <a:cubicBezTo>
                    <a:pt x="337989" y="192091"/>
                    <a:pt x="338206" y="188845"/>
                    <a:pt x="339813" y="186221"/>
                  </a:cubicBezTo>
                  <a:cubicBezTo>
                    <a:pt x="343037" y="180959"/>
                    <a:pt x="345431" y="175236"/>
                    <a:pt x="346857" y="169233"/>
                  </a:cubicBezTo>
                  <a:cubicBezTo>
                    <a:pt x="347571" y="166228"/>
                    <a:pt x="349721" y="163768"/>
                    <a:pt x="352603" y="162659"/>
                  </a:cubicBezTo>
                  <a:cubicBezTo>
                    <a:pt x="352603" y="162659"/>
                    <a:pt x="359674" y="159938"/>
                    <a:pt x="359674" y="159938"/>
                  </a:cubicBezTo>
                  <a:lnTo>
                    <a:pt x="359674" y="151448"/>
                  </a:lnTo>
                  <a:lnTo>
                    <a:pt x="352603" y="148725"/>
                  </a:lnTo>
                  <a:cubicBezTo>
                    <a:pt x="349719" y="147616"/>
                    <a:pt x="347568" y="145153"/>
                    <a:pt x="346855" y="142145"/>
                  </a:cubicBezTo>
                  <a:cubicBezTo>
                    <a:pt x="345431" y="136133"/>
                    <a:pt x="343063" y="130417"/>
                    <a:pt x="339826" y="125163"/>
                  </a:cubicBezTo>
                  <a:cubicBezTo>
                    <a:pt x="338207" y="122535"/>
                    <a:pt x="337986" y="119281"/>
                    <a:pt x="339236" y="116459"/>
                  </a:cubicBezTo>
                  <a:lnTo>
                    <a:pt x="342310" y="109517"/>
                  </a:lnTo>
                  <a:cubicBezTo>
                    <a:pt x="342310" y="109517"/>
                    <a:pt x="336307" y="103514"/>
                    <a:pt x="336307" y="103514"/>
                  </a:cubicBezTo>
                  <a:lnTo>
                    <a:pt x="329371" y="106598"/>
                  </a:lnTo>
                  <a:cubicBezTo>
                    <a:pt x="326546" y="107853"/>
                    <a:pt x="323286" y="107635"/>
                    <a:pt x="320655" y="106014"/>
                  </a:cubicBezTo>
                  <a:cubicBezTo>
                    <a:pt x="315400" y="102776"/>
                    <a:pt x="309682" y="100407"/>
                    <a:pt x="303687" y="98982"/>
                  </a:cubicBezTo>
                  <a:cubicBezTo>
                    <a:pt x="300681" y="98267"/>
                    <a:pt x="298221" y="96116"/>
                    <a:pt x="297112" y="93231"/>
                  </a:cubicBezTo>
                  <a:close/>
                  <a:moveTo>
                    <a:pt x="290136" y="109082"/>
                  </a:moveTo>
                  <a:cubicBezTo>
                    <a:pt x="315883" y="109082"/>
                    <a:pt x="336757" y="129935"/>
                    <a:pt x="336757" y="155682"/>
                  </a:cubicBezTo>
                  <a:cubicBezTo>
                    <a:pt x="336757" y="181427"/>
                    <a:pt x="315881" y="202303"/>
                    <a:pt x="290136" y="202303"/>
                  </a:cubicBezTo>
                  <a:cubicBezTo>
                    <a:pt x="264389" y="202303"/>
                    <a:pt x="243536" y="181428"/>
                    <a:pt x="243536" y="155682"/>
                  </a:cubicBezTo>
                  <a:cubicBezTo>
                    <a:pt x="243536" y="129933"/>
                    <a:pt x="264388" y="109082"/>
                    <a:pt x="290136" y="109082"/>
                  </a:cubicBezTo>
                  <a:close/>
                  <a:moveTo>
                    <a:pt x="290136" y="127808"/>
                  </a:moveTo>
                  <a:cubicBezTo>
                    <a:pt x="274734" y="127808"/>
                    <a:pt x="262263" y="140281"/>
                    <a:pt x="262263" y="155682"/>
                  </a:cubicBezTo>
                  <a:cubicBezTo>
                    <a:pt x="262263" y="171084"/>
                    <a:pt x="274733" y="183577"/>
                    <a:pt x="290136" y="183577"/>
                  </a:cubicBezTo>
                  <a:cubicBezTo>
                    <a:pt x="305540" y="183577"/>
                    <a:pt x="318031" y="171086"/>
                    <a:pt x="318031" y="155682"/>
                  </a:cubicBezTo>
                  <a:cubicBezTo>
                    <a:pt x="318031" y="140279"/>
                    <a:pt x="305539" y="127808"/>
                    <a:pt x="290136" y="127808"/>
                  </a:cubicBezTo>
                  <a:close/>
                </a:path>
              </a:pathLst>
            </a:custGeom>
            <a:solidFill>
              <a:schemeClr val="bg1"/>
            </a:solidFill>
            <a:ln w="1158" cap="flat">
              <a:noFill/>
              <a:prstDash val="solid"/>
              <a:rou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67" name="Group 66">
            <a:extLst>
              <a:ext uri="{FF2B5EF4-FFF2-40B4-BE49-F238E27FC236}">
                <a16:creationId xmlns:a16="http://schemas.microsoft.com/office/drawing/2014/main" id="{9858A07C-0D39-ABA1-C351-B34EC5A4DFE9}"/>
              </a:ext>
            </a:extLst>
          </p:cNvPr>
          <p:cNvGrpSpPr/>
          <p:nvPr/>
        </p:nvGrpSpPr>
        <p:grpSpPr>
          <a:xfrm>
            <a:off x="6234917" y="5220025"/>
            <a:ext cx="717426" cy="764395"/>
            <a:chOff x="6234917" y="5220025"/>
            <a:chExt cx="717426" cy="764395"/>
          </a:xfrm>
        </p:grpSpPr>
        <p:sp>
          <p:nvSpPr>
            <p:cNvPr id="48" name="Shape 5">
              <a:extLst>
                <a:ext uri="{FF2B5EF4-FFF2-40B4-BE49-F238E27FC236}">
                  <a16:creationId xmlns:a16="http://schemas.microsoft.com/office/drawing/2014/main" id="{42E4303B-C669-C9D3-6B94-364844A349B5}"/>
                </a:ext>
              </a:extLst>
            </p:cNvPr>
            <p:cNvSpPr/>
            <p:nvPr/>
          </p:nvSpPr>
          <p:spPr>
            <a:xfrm rot="5400000">
              <a:off x="6211432" y="5243510"/>
              <a:ext cx="764395" cy="717426"/>
            </a:xfrm>
            <a:prstGeom prst="chevron">
              <a:avLst>
                <a:gd name="adj" fmla="val 9474"/>
              </a:avLst>
            </a:prstGeom>
            <a:solidFill>
              <a:schemeClr val="accent1"/>
            </a:solidFill>
            <a:ln/>
          </p:spPr>
          <p:txBody>
            <a:bodyPr vert="vert270" anchor="ctr"/>
            <a:lstStyle/>
            <a:p>
              <a:pPr algn="ctr"/>
              <a:endParaRPr lang="en-IN" sz="1500">
                <a:solidFill>
                  <a:schemeClr val="bg1"/>
                </a:solidFill>
                <a:latin typeface="Moderat" pitchFamily="2" charset="77"/>
              </a:endParaRPr>
            </a:p>
          </p:txBody>
        </p:sp>
        <p:sp>
          <p:nvSpPr>
            <p:cNvPr id="58" name="Pic">
              <a:extLst>
                <a:ext uri="{FF2B5EF4-FFF2-40B4-BE49-F238E27FC236}">
                  <a16:creationId xmlns:a16="http://schemas.microsoft.com/office/drawing/2014/main" id="{B9FA0AC5-3FB8-2FB1-A57C-B06D8E4C8054}"/>
                </a:ext>
              </a:extLst>
            </p:cNvPr>
            <p:cNvSpPr>
              <a:spLocks noChangeAspect="1"/>
            </p:cNvSpPr>
            <p:nvPr/>
          </p:nvSpPr>
          <p:spPr>
            <a:xfrm>
              <a:off x="6376037" y="5384630"/>
              <a:ext cx="435186" cy="435186"/>
            </a:xfrm>
            <a:custGeom>
              <a:avLst/>
              <a:gdLst>
                <a:gd name="csX0" fmla="*/ 631391 w 637157"/>
                <a:gd name="csY0" fmla="*/ 271486 h 637157"/>
                <a:gd name="csX1" fmla="*/ 563236 w 637157"/>
                <a:gd name="csY1" fmla="*/ 245096 h 637157"/>
                <a:gd name="csX2" fmla="*/ 543540 w 637157"/>
                <a:gd name="csY2" fmla="*/ 197578 h 637157"/>
                <a:gd name="csX3" fmla="*/ 573103 w 637157"/>
                <a:gd name="csY3" fmla="*/ 130700 h 637157"/>
                <a:gd name="csX4" fmla="*/ 571233 w 637157"/>
                <a:gd name="csY4" fmla="*/ 120665 h 637157"/>
                <a:gd name="csX5" fmla="*/ 516531 w 637157"/>
                <a:gd name="csY5" fmla="*/ 65963 h 637157"/>
                <a:gd name="csX6" fmla="*/ 506496 w 637157"/>
                <a:gd name="csY6" fmla="*/ 64092 h 637157"/>
                <a:gd name="csX7" fmla="*/ 439579 w 637157"/>
                <a:gd name="csY7" fmla="*/ 93656 h 637157"/>
                <a:gd name="csX8" fmla="*/ 392048 w 637157"/>
                <a:gd name="csY8" fmla="*/ 73960 h 637157"/>
                <a:gd name="csX9" fmla="*/ 365658 w 637157"/>
                <a:gd name="csY9" fmla="*/ 5766 h 637157"/>
                <a:gd name="csX10" fmla="*/ 357235 w 637157"/>
                <a:gd name="csY10" fmla="*/ 0 h 637157"/>
                <a:gd name="csX11" fmla="*/ 279909 w 637157"/>
                <a:gd name="csY11" fmla="*/ 0 h 637157"/>
                <a:gd name="csX12" fmla="*/ 271486 w 637157"/>
                <a:gd name="csY12" fmla="*/ 5766 h 637157"/>
                <a:gd name="csX13" fmla="*/ 245096 w 637157"/>
                <a:gd name="csY13" fmla="*/ 73960 h 637157"/>
                <a:gd name="csX14" fmla="*/ 197578 w 637157"/>
                <a:gd name="csY14" fmla="*/ 93656 h 637157"/>
                <a:gd name="csX15" fmla="*/ 130700 w 637157"/>
                <a:gd name="csY15" fmla="*/ 64092 h 637157"/>
                <a:gd name="csX16" fmla="*/ 120665 w 637157"/>
                <a:gd name="csY16" fmla="*/ 65963 h 637157"/>
                <a:gd name="csX17" fmla="*/ 65963 w 637157"/>
                <a:gd name="csY17" fmla="*/ 120665 h 637157"/>
                <a:gd name="csX18" fmla="*/ 64092 w 637157"/>
                <a:gd name="csY18" fmla="*/ 130700 h 637157"/>
                <a:gd name="csX19" fmla="*/ 93656 w 637157"/>
                <a:gd name="csY19" fmla="*/ 197578 h 637157"/>
                <a:gd name="csX20" fmla="*/ 73960 w 637157"/>
                <a:gd name="csY20" fmla="*/ 245096 h 637157"/>
                <a:gd name="csX21" fmla="*/ 5766 w 637157"/>
                <a:gd name="csY21" fmla="*/ 271486 h 637157"/>
                <a:gd name="csX22" fmla="*/ 0 w 637157"/>
                <a:gd name="csY22" fmla="*/ 279909 h 637157"/>
                <a:gd name="csX23" fmla="*/ 0 w 637157"/>
                <a:gd name="csY23" fmla="*/ 357235 h 637157"/>
                <a:gd name="csX24" fmla="*/ 5766 w 637157"/>
                <a:gd name="csY24" fmla="*/ 365658 h 637157"/>
                <a:gd name="csX25" fmla="*/ 73960 w 637157"/>
                <a:gd name="csY25" fmla="*/ 392048 h 637157"/>
                <a:gd name="csX26" fmla="*/ 93656 w 637157"/>
                <a:gd name="csY26" fmla="*/ 439579 h 637157"/>
                <a:gd name="csX27" fmla="*/ 64092 w 637157"/>
                <a:gd name="csY27" fmla="*/ 506496 h 637157"/>
                <a:gd name="csX28" fmla="*/ 65963 w 637157"/>
                <a:gd name="csY28" fmla="*/ 516531 h 637157"/>
                <a:gd name="csX29" fmla="*/ 120665 w 637157"/>
                <a:gd name="csY29" fmla="*/ 571233 h 637157"/>
                <a:gd name="csX30" fmla="*/ 130700 w 637157"/>
                <a:gd name="csY30" fmla="*/ 573103 h 637157"/>
                <a:gd name="csX31" fmla="*/ 197578 w 637157"/>
                <a:gd name="csY31" fmla="*/ 543540 h 637157"/>
                <a:gd name="csX32" fmla="*/ 245096 w 637157"/>
                <a:gd name="csY32" fmla="*/ 563236 h 637157"/>
                <a:gd name="csX33" fmla="*/ 271486 w 637157"/>
                <a:gd name="csY33" fmla="*/ 631391 h 637157"/>
                <a:gd name="csX34" fmla="*/ 279909 w 637157"/>
                <a:gd name="csY34" fmla="*/ 637157 h 637157"/>
                <a:gd name="csX35" fmla="*/ 357235 w 637157"/>
                <a:gd name="csY35" fmla="*/ 637157 h 637157"/>
                <a:gd name="csX36" fmla="*/ 365658 w 637157"/>
                <a:gd name="csY36" fmla="*/ 631391 h 637157"/>
                <a:gd name="csX37" fmla="*/ 392048 w 637157"/>
                <a:gd name="csY37" fmla="*/ 563236 h 637157"/>
                <a:gd name="csX38" fmla="*/ 439579 w 637157"/>
                <a:gd name="csY38" fmla="*/ 543501 h 637157"/>
                <a:gd name="csX39" fmla="*/ 506496 w 637157"/>
                <a:gd name="csY39" fmla="*/ 573103 h 637157"/>
                <a:gd name="csX40" fmla="*/ 516531 w 637157"/>
                <a:gd name="csY40" fmla="*/ 571233 h 637157"/>
                <a:gd name="csX41" fmla="*/ 571233 w 637157"/>
                <a:gd name="csY41" fmla="*/ 516531 h 637157"/>
                <a:gd name="csX42" fmla="*/ 573103 w 637157"/>
                <a:gd name="csY42" fmla="*/ 506496 h 637157"/>
                <a:gd name="csX43" fmla="*/ 543540 w 637157"/>
                <a:gd name="csY43" fmla="*/ 439579 h 637157"/>
                <a:gd name="csX44" fmla="*/ 563236 w 637157"/>
                <a:gd name="csY44" fmla="*/ 392048 h 637157"/>
                <a:gd name="csX45" fmla="*/ 631391 w 637157"/>
                <a:gd name="csY45" fmla="*/ 365658 h 637157"/>
                <a:gd name="csX46" fmla="*/ 637157 w 637157"/>
                <a:gd name="csY46" fmla="*/ 357235 h 637157"/>
                <a:gd name="csX47" fmla="*/ 637157 w 637157"/>
                <a:gd name="csY47" fmla="*/ 279909 h 637157"/>
                <a:gd name="csX48" fmla="*/ 631391 w 637157"/>
                <a:gd name="csY48" fmla="*/ 271486 h 637157"/>
                <a:gd name="csX49" fmla="*/ 619099 w 637157"/>
                <a:gd name="csY49" fmla="*/ 351057 h 637157"/>
                <a:gd name="csX50" fmla="*/ 552543 w 637157"/>
                <a:gd name="csY50" fmla="*/ 376828 h 637157"/>
                <a:gd name="csX51" fmla="*/ 547113 w 637157"/>
                <a:gd name="csY51" fmla="*/ 382813 h 637157"/>
                <a:gd name="csX52" fmla="*/ 525598 w 637157"/>
                <a:gd name="csY52" fmla="*/ 434716 h 637157"/>
                <a:gd name="csX53" fmla="*/ 525212 w 637157"/>
                <a:gd name="csY53" fmla="*/ 442790 h 637157"/>
                <a:gd name="csX54" fmla="*/ 554078 w 637157"/>
                <a:gd name="csY54" fmla="*/ 508134 h 637157"/>
                <a:gd name="csX55" fmla="*/ 508134 w 637157"/>
                <a:gd name="csY55" fmla="*/ 554078 h 637157"/>
                <a:gd name="csX56" fmla="*/ 442790 w 637157"/>
                <a:gd name="csY56" fmla="*/ 525173 h 637157"/>
                <a:gd name="csX57" fmla="*/ 434703 w 637157"/>
                <a:gd name="csY57" fmla="*/ 525560 h 637157"/>
                <a:gd name="csX58" fmla="*/ 382800 w 637157"/>
                <a:gd name="csY58" fmla="*/ 547113 h 637157"/>
                <a:gd name="csX59" fmla="*/ 376815 w 637157"/>
                <a:gd name="csY59" fmla="*/ 552543 h 637157"/>
                <a:gd name="csX60" fmla="*/ 351044 w 637157"/>
                <a:gd name="csY60" fmla="*/ 619099 h 637157"/>
                <a:gd name="csX61" fmla="*/ 286087 w 637157"/>
                <a:gd name="csY61" fmla="*/ 619099 h 637157"/>
                <a:gd name="csX62" fmla="*/ 260316 w 637157"/>
                <a:gd name="csY62" fmla="*/ 552543 h 637157"/>
                <a:gd name="csX63" fmla="*/ 254344 w 637157"/>
                <a:gd name="csY63" fmla="*/ 547113 h 637157"/>
                <a:gd name="csX64" fmla="*/ 202428 w 637157"/>
                <a:gd name="csY64" fmla="*/ 525598 h 637157"/>
                <a:gd name="csX65" fmla="*/ 194354 w 637157"/>
                <a:gd name="csY65" fmla="*/ 525212 h 637157"/>
                <a:gd name="csX66" fmla="*/ 129049 w 637157"/>
                <a:gd name="csY66" fmla="*/ 554078 h 637157"/>
                <a:gd name="csX67" fmla="*/ 83105 w 637157"/>
                <a:gd name="csY67" fmla="*/ 508134 h 637157"/>
                <a:gd name="csX68" fmla="*/ 111971 w 637157"/>
                <a:gd name="csY68" fmla="*/ 442790 h 637157"/>
                <a:gd name="csX69" fmla="*/ 111584 w 637157"/>
                <a:gd name="csY69" fmla="*/ 434716 h 637157"/>
                <a:gd name="csX70" fmla="*/ 90070 w 637157"/>
                <a:gd name="csY70" fmla="*/ 382813 h 637157"/>
                <a:gd name="csX71" fmla="*/ 84640 w 637157"/>
                <a:gd name="csY71" fmla="*/ 376828 h 637157"/>
                <a:gd name="csX72" fmla="*/ 18058 w 637157"/>
                <a:gd name="csY72" fmla="*/ 351057 h 637157"/>
                <a:gd name="csX73" fmla="*/ 18058 w 637157"/>
                <a:gd name="csY73" fmla="*/ 286100 h 637157"/>
                <a:gd name="csX74" fmla="*/ 84640 w 637157"/>
                <a:gd name="csY74" fmla="*/ 260329 h 637157"/>
                <a:gd name="csX75" fmla="*/ 90070 w 637157"/>
                <a:gd name="csY75" fmla="*/ 254357 h 637157"/>
                <a:gd name="csX76" fmla="*/ 111584 w 637157"/>
                <a:gd name="csY76" fmla="*/ 202441 h 637157"/>
                <a:gd name="csX77" fmla="*/ 111971 w 637157"/>
                <a:gd name="csY77" fmla="*/ 194367 h 637157"/>
                <a:gd name="csX78" fmla="*/ 83105 w 637157"/>
                <a:gd name="csY78" fmla="*/ 129062 h 637157"/>
                <a:gd name="csX79" fmla="*/ 129049 w 637157"/>
                <a:gd name="csY79" fmla="*/ 83118 h 637157"/>
                <a:gd name="csX80" fmla="*/ 194354 w 637157"/>
                <a:gd name="csY80" fmla="*/ 111984 h 637157"/>
                <a:gd name="csX81" fmla="*/ 202428 w 637157"/>
                <a:gd name="csY81" fmla="*/ 111597 h 637157"/>
                <a:gd name="csX82" fmla="*/ 254344 w 637157"/>
                <a:gd name="csY82" fmla="*/ 90083 h 637157"/>
                <a:gd name="csX83" fmla="*/ 260316 w 637157"/>
                <a:gd name="csY83" fmla="*/ 84652 h 637157"/>
                <a:gd name="csX84" fmla="*/ 286087 w 637157"/>
                <a:gd name="csY84" fmla="*/ 18071 h 637157"/>
                <a:gd name="csX85" fmla="*/ 351044 w 637157"/>
                <a:gd name="csY85" fmla="*/ 18071 h 637157"/>
                <a:gd name="csX86" fmla="*/ 376815 w 637157"/>
                <a:gd name="csY86" fmla="*/ 84652 h 637157"/>
                <a:gd name="csX87" fmla="*/ 382800 w 637157"/>
                <a:gd name="csY87" fmla="*/ 90083 h 637157"/>
                <a:gd name="csX88" fmla="*/ 434703 w 637157"/>
                <a:gd name="csY88" fmla="*/ 111597 h 637157"/>
                <a:gd name="csX89" fmla="*/ 442778 w 637157"/>
                <a:gd name="csY89" fmla="*/ 111984 h 637157"/>
                <a:gd name="csX90" fmla="*/ 508121 w 637157"/>
                <a:gd name="csY90" fmla="*/ 83118 h 637157"/>
                <a:gd name="csX91" fmla="*/ 554065 w 637157"/>
                <a:gd name="csY91" fmla="*/ 129062 h 637157"/>
                <a:gd name="csX92" fmla="*/ 525199 w 637157"/>
                <a:gd name="csY92" fmla="*/ 194367 h 637157"/>
                <a:gd name="csX93" fmla="*/ 525586 w 637157"/>
                <a:gd name="csY93" fmla="*/ 202441 h 637157"/>
                <a:gd name="csX94" fmla="*/ 547100 w 637157"/>
                <a:gd name="csY94" fmla="*/ 254357 h 637157"/>
                <a:gd name="csX95" fmla="*/ 552530 w 637157"/>
                <a:gd name="csY95" fmla="*/ 260329 h 637157"/>
                <a:gd name="csX96" fmla="*/ 619086 w 637157"/>
                <a:gd name="csY96" fmla="*/ 286100 h 637157"/>
                <a:gd name="csX97" fmla="*/ 619086 w 637157"/>
                <a:gd name="csY97" fmla="*/ 351057 h 637157"/>
                <a:gd name="csX98" fmla="*/ 513874 w 637157"/>
                <a:gd name="csY98" fmla="*/ 277394 h 637157"/>
                <a:gd name="csX99" fmla="*/ 487961 w 637157"/>
                <a:gd name="csY99" fmla="*/ 277394 h 637157"/>
                <a:gd name="csX100" fmla="*/ 441823 w 637157"/>
                <a:gd name="csY100" fmla="*/ 195334 h 637157"/>
                <a:gd name="csX101" fmla="*/ 359763 w 637157"/>
                <a:gd name="csY101" fmla="*/ 149196 h 637157"/>
                <a:gd name="csX102" fmla="*/ 359763 w 637157"/>
                <a:gd name="csY102" fmla="*/ 123283 h 637157"/>
                <a:gd name="csX103" fmla="*/ 352166 w 637157"/>
                <a:gd name="csY103" fmla="*/ 114370 h 637157"/>
                <a:gd name="csX104" fmla="*/ 318591 w 637157"/>
                <a:gd name="csY104" fmla="*/ 111662 h 637157"/>
                <a:gd name="csX105" fmla="*/ 284978 w 637157"/>
                <a:gd name="csY105" fmla="*/ 114370 h 637157"/>
                <a:gd name="csX106" fmla="*/ 277381 w 637157"/>
                <a:gd name="csY106" fmla="*/ 123283 h 637157"/>
                <a:gd name="csX107" fmla="*/ 277381 w 637157"/>
                <a:gd name="csY107" fmla="*/ 149196 h 637157"/>
                <a:gd name="csX108" fmla="*/ 195321 w 637157"/>
                <a:gd name="csY108" fmla="*/ 195334 h 637157"/>
                <a:gd name="csX109" fmla="*/ 149183 w 637157"/>
                <a:gd name="csY109" fmla="*/ 277394 h 637157"/>
                <a:gd name="csX110" fmla="*/ 123270 w 637157"/>
                <a:gd name="csY110" fmla="*/ 277394 h 637157"/>
                <a:gd name="csX111" fmla="*/ 114358 w 637157"/>
                <a:gd name="csY111" fmla="*/ 284991 h 637157"/>
                <a:gd name="csX112" fmla="*/ 111649 w 637157"/>
                <a:gd name="csY112" fmla="*/ 318604 h 637157"/>
                <a:gd name="csX113" fmla="*/ 114358 w 637157"/>
                <a:gd name="csY113" fmla="*/ 352179 h 637157"/>
                <a:gd name="csX114" fmla="*/ 123270 w 637157"/>
                <a:gd name="csY114" fmla="*/ 359776 h 637157"/>
                <a:gd name="csX115" fmla="*/ 149183 w 637157"/>
                <a:gd name="csY115" fmla="*/ 359776 h 637157"/>
                <a:gd name="csX116" fmla="*/ 195321 w 637157"/>
                <a:gd name="csY116" fmla="*/ 441836 h 637157"/>
                <a:gd name="csX117" fmla="*/ 277381 w 637157"/>
                <a:gd name="csY117" fmla="*/ 487974 h 637157"/>
                <a:gd name="csX118" fmla="*/ 277381 w 637157"/>
                <a:gd name="csY118" fmla="*/ 513887 h 637157"/>
                <a:gd name="csX119" fmla="*/ 284952 w 637157"/>
                <a:gd name="csY119" fmla="*/ 522799 h 637157"/>
                <a:gd name="csX120" fmla="*/ 318591 w 637157"/>
                <a:gd name="csY120" fmla="*/ 525547 h 637157"/>
                <a:gd name="csX121" fmla="*/ 352192 w 637157"/>
                <a:gd name="csY121" fmla="*/ 522799 h 637157"/>
                <a:gd name="csX122" fmla="*/ 359763 w 637157"/>
                <a:gd name="csY122" fmla="*/ 513887 h 637157"/>
                <a:gd name="csX123" fmla="*/ 359763 w 637157"/>
                <a:gd name="csY123" fmla="*/ 487974 h 637157"/>
                <a:gd name="csX124" fmla="*/ 441823 w 637157"/>
                <a:gd name="csY124" fmla="*/ 441836 h 637157"/>
                <a:gd name="csX125" fmla="*/ 487961 w 637157"/>
                <a:gd name="csY125" fmla="*/ 359776 h 637157"/>
                <a:gd name="csX126" fmla="*/ 513874 w 637157"/>
                <a:gd name="csY126" fmla="*/ 359776 h 637157"/>
                <a:gd name="csX127" fmla="*/ 522787 w 637157"/>
                <a:gd name="csY127" fmla="*/ 352205 h 637157"/>
                <a:gd name="csX128" fmla="*/ 525534 w 637157"/>
                <a:gd name="csY128" fmla="*/ 318604 h 637157"/>
                <a:gd name="csX129" fmla="*/ 522787 w 637157"/>
                <a:gd name="csY129" fmla="*/ 284965 h 637157"/>
                <a:gd name="csX130" fmla="*/ 513874 w 637157"/>
                <a:gd name="csY130" fmla="*/ 277394 h 637157"/>
                <a:gd name="csX131" fmla="*/ 295452 w 637157"/>
                <a:gd name="csY131" fmla="*/ 219441 h 637157"/>
                <a:gd name="csX132" fmla="*/ 295452 w 637157"/>
                <a:gd name="csY132" fmla="*/ 131126 h 637157"/>
                <a:gd name="csX133" fmla="*/ 341705 w 637157"/>
                <a:gd name="csY133" fmla="*/ 131126 h 637157"/>
                <a:gd name="csX134" fmla="*/ 341705 w 637157"/>
                <a:gd name="csY134" fmla="*/ 219441 h 637157"/>
                <a:gd name="csX135" fmla="*/ 350734 w 637157"/>
                <a:gd name="csY135" fmla="*/ 228470 h 637157"/>
                <a:gd name="csX136" fmla="*/ 361105 w 637157"/>
                <a:gd name="csY136" fmla="*/ 228470 h 637157"/>
                <a:gd name="csX137" fmla="*/ 318591 w 637157"/>
                <a:gd name="csY137" fmla="*/ 270983 h 637157"/>
                <a:gd name="csX138" fmla="*/ 276078 w 637157"/>
                <a:gd name="csY138" fmla="*/ 228470 h 637157"/>
                <a:gd name="csX139" fmla="*/ 286410 w 637157"/>
                <a:gd name="csY139" fmla="*/ 228470 h 637157"/>
                <a:gd name="csX140" fmla="*/ 295439 w 637157"/>
                <a:gd name="csY140" fmla="*/ 219441 h 637157"/>
                <a:gd name="csX141" fmla="*/ 129707 w 637157"/>
                <a:gd name="csY141" fmla="*/ 318604 h 637157"/>
                <a:gd name="csX142" fmla="*/ 131113 w 637157"/>
                <a:gd name="csY142" fmla="*/ 295465 h 637157"/>
                <a:gd name="csX143" fmla="*/ 219428 w 637157"/>
                <a:gd name="csY143" fmla="*/ 295465 h 637157"/>
                <a:gd name="csX144" fmla="*/ 228457 w 637157"/>
                <a:gd name="csY144" fmla="*/ 286436 h 637157"/>
                <a:gd name="csX145" fmla="*/ 228457 w 637157"/>
                <a:gd name="csY145" fmla="*/ 276065 h 637157"/>
                <a:gd name="csX146" fmla="*/ 270970 w 637157"/>
                <a:gd name="csY146" fmla="*/ 318604 h 637157"/>
                <a:gd name="csX147" fmla="*/ 228457 w 637157"/>
                <a:gd name="csY147" fmla="*/ 361118 h 637157"/>
                <a:gd name="csX148" fmla="*/ 228457 w 637157"/>
                <a:gd name="csY148" fmla="*/ 350747 h 637157"/>
                <a:gd name="csX149" fmla="*/ 219428 w 637157"/>
                <a:gd name="csY149" fmla="*/ 341718 h 637157"/>
                <a:gd name="csX150" fmla="*/ 131113 w 637157"/>
                <a:gd name="csY150" fmla="*/ 341718 h 637157"/>
                <a:gd name="csX151" fmla="*/ 129707 w 637157"/>
                <a:gd name="csY151" fmla="*/ 318617 h 637157"/>
                <a:gd name="csX152" fmla="*/ 341693 w 637157"/>
                <a:gd name="csY152" fmla="*/ 417767 h 637157"/>
                <a:gd name="csX153" fmla="*/ 341693 w 637157"/>
                <a:gd name="csY153" fmla="*/ 506070 h 637157"/>
                <a:gd name="csX154" fmla="*/ 295439 w 637157"/>
                <a:gd name="csY154" fmla="*/ 506070 h 637157"/>
                <a:gd name="csX155" fmla="*/ 295439 w 637157"/>
                <a:gd name="csY155" fmla="*/ 417767 h 637157"/>
                <a:gd name="csX156" fmla="*/ 286410 w 637157"/>
                <a:gd name="csY156" fmla="*/ 408739 h 637157"/>
                <a:gd name="csX157" fmla="*/ 276065 w 637157"/>
                <a:gd name="csY157" fmla="*/ 408739 h 637157"/>
                <a:gd name="csX158" fmla="*/ 318579 w 637157"/>
                <a:gd name="csY158" fmla="*/ 366200 h 637157"/>
                <a:gd name="csX159" fmla="*/ 361092 w 637157"/>
                <a:gd name="csY159" fmla="*/ 408739 h 637157"/>
                <a:gd name="csX160" fmla="*/ 350709 w 637157"/>
                <a:gd name="csY160" fmla="*/ 408739 h 637157"/>
                <a:gd name="csX161" fmla="*/ 341680 w 637157"/>
                <a:gd name="csY161" fmla="*/ 417767 h 637157"/>
                <a:gd name="csX162" fmla="*/ 359750 w 637157"/>
                <a:gd name="csY162" fmla="*/ 469335 h 637157"/>
                <a:gd name="csX163" fmla="*/ 359750 w 637157"/>
                <a:gd name="csY163" fmla="*/ 426796 h 637157"/>
                <a:gd name="csX164" fmla="*/ 382890 w 637157"/>
                <a:gd name="csY164" fmla="*/ 426796 h 637157"/>
                <a:gd name="csX165" fmla="*/ 391235 w 637157"/>
                <a:gd name="csY165" fmla="*/ 421224 h 637157"/>
                <a:gd name="csX166" fmla="*/ 389275 w 637157"/>
                <a:gd name="csY166" fmla="*/ 411383 h 637157"/>
                <a:gd name="csX167" fmla="*/ 324963 w 637157"/>
                <a:gd name="csY167" fmla="*/ 347032 h 637157"/>
                <a:gd name="csX168" fmla="*/ 318579 w 637157"/>
                <a:gd name="csY168" fmla="*/ 344388 h 637157"/>
                <a:gd name="csX169" fmla="*/ 312194 w 637157"/>
                <a:gd name="csY169" fmla="*/ 347032 h 637157"/>
                <a:gd name="csX170" fmla="*/ 247882 w 637157"/>
                <a:gd name="csY170" fmla="*/ 411383 h 637157"/>
                <a:gd name="csX171" fmla="*/ 245922 w 637157"/>
                <a:gd name="csY171" fmla="*/ 421224 h 637157"/>
                <a:gd name="csX172" fmla="*/ 254267 w 637157"/>
                <a:gd name="csY172" fmla="*/ 426796 h 637157"/>
                <a:gd name="csX173" fmla="*/ 277381 w 637157"/>
                <a:gd name="csY173" fmla="*/ 426796 h 637157"/>
                <a:gd name="csX174" fmla="*/ 277381 w 637157"/>
                <a:gd name="csY174" fmla="*/ 469335 h 637157"/>
                <a:gd name="csX175" fmla="*/ 167822 w 637157"/>
                <a:gd name="csY175" fmla="*/ 359776 h 637157"/>
                <a:gd name="csX176" fmla="*/ 210399 w 637157"/>
                <a:gd name="csY176" fmla="*/ 359776 h 637157"/>
                <a:gd name="csX177" fmla="*/ 210399 w 637157"/>
                <a:gd name="csY177" fmla="*/ 382916 h 637157"/>
                <a:gd name="csX178" fmla="*/ 215971 w 637157"/>
                <a:gd name="csY178" fmla="*/ 391261 h 637157"/>
                <a:gd name="csX179" fmla="*/ 219428 w 637157"/>
                <a:gd name="csY179" fmla="*/ 391945 h 637157"/>
                <a:gd name="csX180" fmla="*/ 225813 w 637157"/>
                <a:gd name="csY180" fmla="*/ 389301 h 637157"/>
                <a:gd name="csX181" fmla="*/ 290125 w 637157"/>
                <a:gd name="csY181" fmla="*/ 324989 h 637157"/>
                <a:gd name="csX182" fmla="*/ 290125 w 637157"/>
                <a:gd name="csY182" fmla="*/ 312220 h 637157"/>
                <a:gd name="csX183" fmla="*/ 225813 w 637157"/>
                <a:gd name="csY183" fmla="*/ 247869 h 637157"/>
                <a:gd name="csX184" fmla="*/ 215971 w 637157"/>
                <a:gd name="csY184" fmla="*/ 245909 h 637157"/>
                <a:gd name="csX185" fmla="*/ 210399 w 637157"/>
                <a:gd name="csY185" fmla="*/ 254254 h 637157"/>
                <a:gd name="csX186" fmla="*/ 210399 w 637157"/>
                <a:gd name="csY186" fmla="*/ 277394 h 637157"/>
                <a:gd name="csX187" fmla="*/ 167822 w 637157"/>
                <a:gd name="csY187" fmla="*/ 277394 h 637157"/>
                <a:gd name="csX188" fmla="*/ 277381 w 637157"/>
                <a:gd name="csY188" fmla="*/ 167834 h 637157"/>
                <a:gd name="csX189" fmla="*/ 277381 w 637157"/>
                <a:gd name="csY189" fmla="*/ 210412 h 637157"/>
                <a:gd name="csX190" fmla="*/ 254267 w 637157"/>
                <a:gd name="csY190" fmla="*/ 210412 h 637157"/>
                <a:gd name="csX191" fmla="*/ 245922 w 637157"/>
                <a:gd name="csY191" fmla="*/ 215984 h 637157"/>
                <a:gd name="csX192" fmla="*/ 247882 w 637157"/>
                <a:gd name="csY192" fmla="*/ 225826 h 637157"/>
                <a:gd name="csX193" fmla="*/ 312194 w 637157"/>
                <a:gd name="csY193" fmla="*/ 290137 h 637157"/>
                <a:gd name="csX194" fmla="*/ 318579 w 637157"/>
                <a:gd name="csY194" fmla="*/ 292782 h 637157"/>
                <a:gd name="csX195" fmla="*/ 324963 w 637157"/>
                <a:gd name="csY195" fmla="*/ 290137 h 637157"/>
                <a:gd name="csX196" fmla="*/ 389275 w 637157"/>
                <a:gd name="csY196" fmla="*/ 225826 h 637157"/>
                <a:gd name="csX197" fmla="*/ 391235 w 637157"/>
                <a:gd name="csY197" fmla="*/ 215984 h 637157"/>
                <a:gd name="csX198" fmla="*/ 382890 w 637157"/>
                <a:gd name="csY198" fmla="*/ 210412 h 637157"/>
                <a:gd name="csX199" fmla="*/ 359750 w 637157"/>
                <a:gd name="csY199" fmla="*/ 210412 h 637157"/>
                <a:gd name="csX200" fmla="*/ 359750 w 637157"/>
                <a:gd name="csY200" fmla="*/ 167834 h 637157"/>
                <a:gd name="csX201" fmla="*/ 469310 w 637157"/>
                <a:gd name="csY201" fmla="*/ 277394 h 637157"/>
                <a:gd name="csX202" fmla="*/ 426771 w 637157"/>
                <a:gd name="csY202" fmla="*/ 277394 h 637157"/>
                <a:gd name="csX203" fmla="*/ 426771 w 637157"/>
                <a:gd name="csY203" fmla="*/ 254254 h 637157"/>
                <a:gd name="csX204" fmla="*/ 421198 w 637157"/>
                <a:gd name="csY204" fmla="*/ 245909 h 637157"/>
                <a:gd name="csX205" fmla="*/ 411357 w 637157"/>
                <a:gd name="csY205" fmla="*/ 247869 h 637157"/>
                <a:gd name="csX206" fmla="*/ 347007 w 637157"/>
                <a:gd name="csY206" fmla="*/ 312220 h 637157"/>
                <a:gd name="csX207" fmla="*/ 344362 w 637157"/>
                <a:gd name="csY207" fmla="*/ 318604 h 637157"/>
                <a:gd name="csX208" fmla="*/ 347007 w 637157"/>
                <a:gd name="csY208" fmla="*/ 324989 h 637157"/>
                <a:gd name="csX209" fmla="*/ 411357 w 637157"/>
                <a:gd name="csY209" fmla="*/ 389301 h 637157"/>
                <a:gd name="csX210" fmla="*/ 417742 w 637157"/>
                <a:gd name="csY210" fmla="*/ 391945 h 637157"/>
                <a:gd name="csX211" fmla="*/ 421198 w 637157"/>
                <a:gd name="csY211" fmla="*/ 391261 h 637157"/>
                <a:gd name="csX212" fmla="*/ 426771 w 637157"/>
                <a:gd name="csY212" fmla="*/ 382916 h 637157"/>
                <a:gd name="csX213" fmla="*/ 426771 w 637157"/>
                <a:gd name="csY213" fmla="*/ 359776 h 637157"/>
                <a:gd name="csX214" fmla="*/ 469310 w 637157"/>
                <a:gd name="csY214" fmla="*/ 359776 h 637157"/>
                <a:gd name="csX215" fmla="*/ 359750 w 637157"/>
                <a:gd name="csY215" fmla="*/ 469335 h 637157"/>
                <a:gd name="csX216" fmla="*/ 506031 w 637157"/>
                <a:gd name="csY216" fmla="*/ 341718 h 637157"/>
                <a:gd name="csX217" fmla="*/ 417729 w 637157"/>
                <a:gd name="csY217" fmla="*/ 341718 h 637157"/>
                <a:gd name="csX218" fmla="*/ 408700 w 637157"/>
                <a:gd name="csY218" fmla="*/ 350747 h 637157"/>
                <a:gd name="csX219" fmla="*/ 408700 w 637157"/>
                <a:gd name="csY219" fmla="*/ 361130 h 637157"/>
                <a:gd name="csX220" fmla="*/ 366161 w 637157"/>
                <a:gd name="csY220" fmla="*/ 318604 h 637157"/>
                <a:gd name="csX221" fmla="*/ 408700 w 637157"/>
                <a:gd name="csY221" fmla="*/ 276052 h 637157"/>
                <a:gd name="csX222" fmla="*/ 408700 w 637157"/>
                <a:gd name="csY222" fmla="*/ 286423 h 637157"/>
                <a:gd name="csX223" fmla="*/ 417729 w 637157"/>
                <a:gd name="csY223" fmla="*/ 295452 h 637157"/>
                <a:gd name="csX224" fmla="*/ 506031 w 637157"/>
                <a:gd name="csY224" fmla="*/ 295452 h 637157"/>
                <a:gd name="csX225" fmla="*/ 507450 w 637157"/>
                <a:gd name="csY225" fmla="*/ 318591 h 637157"/>
                <a:gd name="csX226" fmla="*/ 506031 w 637157"/>
                <a:gd name="csY226" fmla="*/ 341693 h 63715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Lst>
              <a:rect l="l" t="t" r="r" b="b"/>
              <a:pathLst>
                <a:path w="637157" h="637157">
                  <a:moveTo>
                    <a:pt x="631391" y="271486"/>
                  </a:moveTo>
                  <a:lnTo>
                    <a:pt x="563236" y="245096"/>
                  </a:lnTo>
                  <a:cubicBezTo>
                    <a:pt x="558283" y="228638"/>
                    <a:pt x="551679" y="212695"/>
                    <a:pt x="543540" y="197578"/>
                  </a:cubicBezTo>
                  <a:lnTo>
                    <a:pt x="573103" y="130700"/>
                  </a:lnTo>
                  <a:cubicBezTo>
                    <a:pt x="574613" y="127282"/>
                    <a:pt x="573864" y="123296"/>
                    <a:pt x="571233" y="120665"/>
                  </a:cubicBezTo>
                  <a:lnTo>
                    <a:pt x="516531" y="65963"/>
                  </a:lnTo>
                  <a:cubicBezTo>
                    <a:pt x="513900" y="63331"/>
                    <a:pt x="509901" y="62583"/>
                    <a:pt x="506496" y="64092"/>
                  </a:cubicBezTo>
                  <a:lnTo>
                    <a:pt x="439579" y="93656"/>
                  </a:lnTo>
                  <a:cubicBezTo>
                    <a:pt x="424488" y="85517"/>
                    <a:pt x="408545" y="78913"/>
                    <a:pt x="392048" y="73960"/>
                  </a:cubicBezTo>
                  <a:lnTo>
                    <a:pt x="365658" y="5766"/>
                  </a:lnTo>
                  <a:cubicBezTo>
                    <a:pt x="364316" y="2283"/>
                    <a:pt x="360963" y="0"/>
                    <a:pt x="357235" y="0"/>
                  </a:cubicBezTo>
                  <a:lnTo>
                    <a:pt x="279909" y="0"/>
                  </a:lnTo>
                  <a:cubicBezTo>
                    <a:pt x="276181" y="0"/>
                    <a:pt x="272828" y="2296"/>
                    <a:pt x="271486" y="5766"/>
                  </a:cubicBezTo>
                  <a:lnTo>
                    <a:pt x="245096" y="73960"/>
                  </a:lnTo>
                  <a:cubicBezTo>
                    <a:pt x="228638" y="78913"/>
                    <a:pt x="212695" y="85517"/>
                    <a:pt x="197578" y="93656"/>
                  </a:cubicBezTo>
                  <a:lnTo>
                    <a:pt x="130700" y="64092"/>
                  </a:lnTo>
                  <a:cubicBezTo>
                    <a:pt x="127282" y="62583"/>
                    <a:pt x="123296" y="63331"/>
                    <a:pt x="120665" y="65963"/>
                  </a:cubicBezTo>
                  <a:lnTo>
                    <a:pt x="65963" y="120665"/>
                  </a:lnTo>
                  <a:cubicBezTo>
                    <a:pt x="63331" y="123296"/>
                    <a:pt x="62583" y="127295"/>
                    <a:pt x="64092" y="130700"/>
                  </a:cubicBezTo>
                  <a:lnTo>
                    <a:pt x="93656" y="197578"/>
                  </a:lnTo>
                  <a:cubicBezTo>
                    <a:pt x="85517" y="212695"/>
                    <a:pt x="78913" y="228638"/>
                    <a:pt x="73960" y="245096"/>
                  </a:cubicBezTo>
                  <a:lnTo>
                    <a:pt x="5766" y="271486"/>
                  </a:lnTo>
                  <a:cubicBezTo>
                    <a:pt x="2283" y="272828"/>
                    <a:pt x="0" y="276181"/>
                    <a:pt x="0" y="279909"/>
                  </a:cubicBezTo>
                  <a:lnTo>
                    <a:pt x="0" y="357235"/>
                  </a:lnTo>
                  <a:cubicBezTo>
                    <a:pt x="0" y="360963"/>
                    <a:pt x="2296" y="364316"/>
                    <a:pt x="5766" y="365658"/>
                  </a:cubicBezTo>
                  <a:lnTo>
                    <a:pt x="73960" y="392048"/>
                  </a:lnTo>
                  <a:cubicBezTo>
                    <a:pt x="78913" y="408532"/>
                    <a:pt x="85517" y="424488"/>
                    <a:pt x="93656" y="439579"/>
                  </a:cubicBezTo>
                  <a:lnTo>
                    <a:pt x="64092" y="506496"/>
                  </a:lnTo>
                  <a:cubicBezTo>
                    <a:pt x="62583" y="509901"/>
                    <a:pt x="63331" y="513900"/>
                    <a:pt x="65963" y="516531"/>
                  </a:cubicBezTo>
                  <a:lnTo>
                    <a:pt x="120665" y="571233"/>
                  </a:lnTo>
                  <a:cubicBezTo>
                    <a:pt x="123296" y="573864"/>
                    <a:pt x="127295" y="574613"/>
                    <a:pt x="130700" y="573103"/>
                  </a:cubicBezTo>
                  <a:lnTo>
                    <a:pt x="197578" y="543540"/>
                  </a:lnTo>
                  <a:cubicBezTo>
                    <a:pt x="212695" y="551679"/>
                    <a:pt x="228638" y="558283"/>
                    <a:pt x="245096" y="563236"/>
                  </a:cubicBezTo>
                  <a:lnTo>
                    <a:pt x="271486" y="631391"/>
                  </a:lnTo>
                  <a:cubicBezTo>
                    <a:pt x="272828" y="634874"/>
                    <a:pt x="276181" y="637157"/>
                    <a:pt x="279909" y="637157"/>
                  </a:cubicBezTo>
                  <a:lnTo>
                    <a:pt x="357235" y="637157"/>
                  </a:lnTo>
                  <a:cubicBezTo>
                    <a:pt x="360963" y="637157"/>
                    <a:pt x="364316" y="634861"/>
                    <a:pt x="365658" y="631391"/>
                  </a:cubicBezTo>
                  <a:lnTo>
                    <a:pt x="392048" y="563236"/>
                  </a:lnTo>
                  <a:cubicBezTo>
                    <a:pt x="408481" y="558296"/>
                    <a:pt x="424423" y="551679"/>
                    <a:pt x="439579" y="543501"/>
                  </a:cubicBezTo>
                  <a:lnTo>
                    <a:pt x="506496" y="573103"/>
                  </a:lnTo>
                  <a:cubicBezTo>
                    <a:pt x="509914" y="574613"/>
                    <a:pt x="513900" y="573864"/>
                    <a:pt x="516531" y="571233"/>
                  </a:cubicBezTo>
                  <a:lnTo>
                    <a:pt x="571233" y="516531"/>
                  </a:lnTo>
                  <a:cubicBezTo>
                    <a:pt x="573864" y="513900"/>
                    <a:pt x="574613" y="509901"/>
                    <a:pt x="573103" y="506496"/>
                  </a:cubicBezTo>
                  <a:lnTo>
                    <a:pt x="543540" y="439579"/>
                  </a:lnTo>
                  <a:cubicBezTo>
                    <a:pt x="551679" y="424488"/>
                    <a:pt x="558283" y="408545"/>
                    <a:pt x="563236" y="392048"/>
                  </a:cubicBezTo>
                  <a:lnTo>
                    <a:pt x="631391" y="365658"/>
                  </a:lnTo>
                  <a:cubicBezTo>
                    <a:pt x="634874" y="364316"/>
                    <a:pt x="637157" y="360963"/>
                    <a:pt x="637157" y="357235"/>
                  </a:cubicBezTo>
                  <a:lnTo>
                    <a:pt x="637157" y="279909"/>
                  </a:lnTo>
                  <a:cubicBezTo>
                    <a:pt x="637157" y="276181"/>
                    <a:pt x="634861" y="272828"/>
                    <a:pt x="631391" y="271486"/>
                  </a:cubicBezTo>
                  <a:close/>
                  <a:moveTo>
                    <a:pt x="619099" y="351057"/>
                  </a:moveTo>
                  <a:lnTo>
                    <a:pt x="552543" y="376828"/>
                  </a:lnTo>
                  <a:cubicBezTo>
                    <a:pt x="549886" y="377860"/>
                    <a:pt x="547874" y="380065"/>
                    <a:pt x="547113" y="382813"/>
                  </a:cubicBezTo>
                  <a:cubicBezTo>
                    <a:pt x="542018" y="400935"/>
                    <a:pt x="534782" y="418400"/>
                    <a:pt x="525598" y="434716"/>
                  </a:cubicBezTo>
                  <a:cubicBezTo>
                    <a:pt x="524205" y="437193"/>
                    <a:pt x="524051" y="440198"/>
                    <a:pt x="525212" y="442790"/>
                  </a:cubicBezTo>
                  <a:lnTo>
                    <a:pt x="554078" y="508134"/>
                  </a:lnTo>
                  <a:lnTo>
                    <a:pt x="508134" y="554078"/>
                  </a:lnTo>
                  <a:lnTo>
                    <a:pt x="442790" y="525173"/>
                  </a:lnTo>
                  <a:cubicBezTo>
                    <a:pt x="440185" y="524025"/>
                    <a:pt x="437193" y="524167"/>
                    <a:pt x="434703" y="525560"/>
                  </a:cubicBezTo>
                  <a:cubicBezTo>
                    <a:pt x="418296" y="534795"/>
                    <a:pt x="400832" y="542044"/>
                    <a:pt x="382800" y="547113"/>
                  </a:cubicBezTo>
                  <a:cubicBezTo>
                    <a:pt x="380065" y="547887"/>
                    <a:pt x="377847" y="549899"/>
                    <a:pt x="376815" y="552543"/>
                  </a:cubicBezTo>
                  <a:lnTo>
                    <a:pt x="351044" y="619099"/>
                  </a:lnTo>
                  <a:lnTo>
                    <a:pt x="286087" y="619099"/>
                  </a:lnTo>
                  <a:lnTo>
                    <a:pt x="260316" y="552543"/>
                  </a:lnTo>
                  <a:cubicBezTo>
                    <a:pt x="259284" y="549899"/>
                    <a:pt x="257079" y="547874"/>
                    <a:pt x="254344" y="547113"/>
                  </a:cubicBezTo>
                  <a:cubicBezTo>
                    <a:pt x="236248" y="542018"/>
                    <a:pt x="218783" y="534782"/>
                    <a:pt x="202428" y="525598"/>
                  </a:cubicBezTo>
                  <a:cubicBezTo>
                    <a:pt x="199952" y="524205"/>
                    <a:pt x="196959" y="524064"/>
                    <a:pt x="194354" y="525212"/>
                  </a:cubicBezTo>
                  <a:lnTo>
                    <a:pt x="129049" y="554078"/>
                  </a:lnTo>
                  <a:lnTo>
                    <a:pt x="83105" y="508134"/>
                  </a:lnTo>
                  <a:lnTo>
                    <a:pt x="111971" y="442790"/>
                  </a:lnTo>
                  <a:cubicBezTo>
                    <a:pt x="113119" y="440185"/>
                    <a:pt x="112977" y="437193"/>
                    <a:pt x="111584" y="434716"/>
                  </a:cubicBezTo>
                  <a:cubicBezTo>
                    <a:pt x="102401" y="418400"/>
                    <a:pt x="95165" y="400935"/>
                    <a:pt x="90070" y="382813"/>
                  </a:cubicBezTo>
                  <a:cubicBezTo>
                    <a:pt x="89296" y="380078"/>
                    <a:pt x="87284" y="377860"/>
                    <a:pt x="84640" y="376828"/>
                  </a:cubicBezTo>
                  <a:lnTo>
                    <a:pt x="18058" y="351057"/>
                  </a:lnTo>
                  <a:lnTo>
                    <a:pt x="18058" y="286100"/>
                  </a:lnTo>
                  <a:lnTo>
                    <a:pt x="84640" y="260329"/>
                  </a:lnTo>
                  <a:cubicBezTo>
                    <a:pt x="87297" y="259310"/>
                    <a:pt x="89309" y="257092"/>
                    <a:pt x="90070" y="254357"/>
                  </a:cubicBezTo>
                  <a:cubicBezTo>
                    <a:pt x="95165" y="236261"/>
                    <a:pt x="102401" y="218796"/>
                    <a:pt x="111584" y="202441"/>
                  </a:cubicBezTo>
                  <a:cubicBezTo>
                    <a:pt x="112977" y="199964"/>
                    <a:pt x="113119" y="196972"/>
                    <a:pt x="111971" y="194367"/>
                  </a:cubicBezTo>
                  <a:lnTo>
                    <a:pt x="83105" y="129062"/>
                  </a:lnTo>
                  <a:lnTo>
                    <a:pt x="129049" y="83118"/>
                  </a:lnTo>
                  <a:lnTo>
                    <a:pt x="194354" y="111984"/>
                  </a:lnTo>
                  <a:cubicBezTo>
                    <a:pt x="196959" y="113132"/>
                    <a:pt x="199952" y="112990"/>
                    <a:pt x="202428" y="111597"/>
                  </a:cubicBezTo>
                  <a:cubicBezTo>
                    <a:pt x="218783" y="102414"/>
                    <a:pt x="236248" y="95165"/>
                    <a:pt x="254344" y="90083"/>
                  </a:cubicBezTo>
                  <a:cubicBezTo>
                    <a:pt x="257079" y="89309"/>
                    <a:pt x="259297" y="87297"/>
                    <a:pt x="260316" y="84652"/>
                  </a:cubicBezTo>
                  <a:lnTo>
                    <a:pt x="286087" y="18071"/>
                  </a:lnTo>
                  <a:lnTo>
                    <a:pt x="351044" y="18071"/>
                  </a:lnTo>
                  <a:lnTo>
                    <a:pt x="376815" y="84652"/>
                  </a:lnTo>
                  <a:cubicBezTo>
                    <a:pt x="377847" y="87310"/>
                    <a:pt x="380052" y="89322"/>
                    <a:pt x="382800" y="90083"/>
                  </a:cubicBezTo>
                  <a:cubicBezTo>
                    <a:pt x="400922" y="95178"/>
                    <a:pt x="418387" y="102414"/>
                    <a:pt x="434703" y="111597"/>
                  </a:cubicBezTo>
                  <a:cubicBezTo>
                    <a:pt x="437180" y="112990"/>
                    <a:pt x="440185" y="113145"/>
                    <a:pt x="442778" y="111984"/>
                  </a:cubicBezTo>
                  <a:lnTo>
                    <a:pt x="508121" y="83118"/>
                  </a:lnTo>
                  <a:lnTo>
                    <a:pt x="554065" y="129062"/>
                  </a:lnTo>
                  <a:lnTo>
                    <a:pt x="525199" y="194367"/>
                  </a:lnTo>
                  <a:cubicBezTo>
                    <a:pt x="524051" y="196972"/>
                    <a:pt x="524193" y="199964"/>
                    <a:pt x="525586" y="202441"/>
                  </a:cubicBezTo>
                  <a:cubicBezTo>
                    <a:pt x="534769" y="218796"/>
                    <a:pt x="542018" y="236261"/>
                    <a:pt x="547100" y="254357"/>
                  </a:cubicBezTo>
                  <a:cubicBezTo>
                    <a:pt x="547874" y="257092"/>
                    <a:pt x="549886" y="259310"/>
                    <a:pt x="552530" y="260329"/>
                  </a:cubicBezTo>
                  <a:lnTo>
                    <a:pt x="619086" y="286100"/>
                  </a:lnTo>
                  <a:lnTo>
                    <a:pt x="619086" y="351057"/>
                  </a:lnTo>
                  <a:close/>
                  <a:moveTo>
                    <a:pt x="513874" y="277394"/>
                  </a:moveTo>
                  <a:lnTo>
                    <a:pt x="487961" y="277394"/>
                  </a:lnTo>
                  <a:cubicBezTo>
                    <a:pt x="480454" y="246360"/>
                    <a:pt x="464615" y="218113"/>
                    <a:pt x="441823" y="195334"/>
                  </a:cubicBezTo>
                  <a:cubicBezTo>
                    <a:pt x="419032" y="172555"/>
                    <a:pt x="390797" y="156703"/>
                    <a:pt x="359763" y="149196"/>
                  </a:cubicBezTo>
                  <a:lnTo>
                    <a:pt x="359763" y="123283"/>
                  </a:lnTo>
                  <a:cubicBezTo>
                    <a:pt x="359763" y="118846"/>
                    <a:pt x="356539" y="115067"/>
                    <a:pt x="352166" y="114370"/>
                  </a:cubicBezTo>
                  <a:cubicBezTo>
                    <a:pt x="340983" y="112578"/>
                    <a:pt x="329697" y="111662"/>
                    <a:pt x="318591" y="111662"/>
                  </a:cubicBezTo>
                  <a:cubicBezTo>
                    <a:pt x="307486" y="111662"/>
                    <a:pt x="296161" y="112578"/>
                    <a:pt x="284978" y="114370"/>
                  </a:cubicBezTo>
                  <a:cubicBezTo>
                    <a:pt x="280606" y="115080"/>
                    <a:pt x="277381" y="118859"/>
                    <a:pt x="277381" y="123283"/>
                  </a:cubicBezTo>
                  <a:lnTo>
                    <a:pt x="277381" y="149196"/>
                  </a:lnTo>
                  <a:cubicBezTo>
                    <a:pt x="246347" y="156703"/>
                    <a:pt x="218100" y="172542"/>
                    <a:pt x="195321" y="195334"/>
                  </a:cubicBezTo>
                  <a:cubicBezTo>
                    <a:pt x="172542" y="218125"/>
                    <a:pt x="156690" y="246360"/>
                    <a:pt x="149183" y="277394"/>
                  </a:cubicBezTo>
                  <a:lnTo>
                    <a:pt x="123270" y="277394"/>
                  </a:lnTo>
                  <a:cubicBezTo>
                    <a:pt x="118833" y="277394"/>
                    <a:pt x="115054" y="280618"/>
                    <a:pt x="114358" y="284991"/>
                  </a:cubicBezTo>
                  <a:cubicBezTo>
                    <a:pt x="112565" y="296174"/>
                    <a:pt x="111649" y="307486"/>
                    <a:pt x="111649" y="318604"/>
                  </a:cubicBezTo>
                  <a:cubicBezTo>
                    <a:pt x="111649" y="329723"/>
                    <a:pt x="112565" y="340996"/>
                    <a:pt x="114358" y="352179"/>
                  </a:cubicBezTo>
                  <a:cubicBezTo>
                    <a:pt x="115067" y="356552"/>
                    <a:pt x="118846" y="359776"/>
                    <a:pt x="123270" y="359776"/>
                  </a:cubicBezTo>
                  <a:lnTo>
                    <a:pt x="149183" y="359776"/>
                  </a:lnTo>
                  <a:cubicBezTo>
                    <a:pt x="156690" y="390810"/>
                    <a:pt x="172530" y="419057"/>
                    <a:pt x="195321" y="441836"/>
                  </a:cubicBezTo>
                  <a:cubicBezTo>
                    <a:pt x="218113" y="464615"/>
                    <a:pt x="246347" y="480467"/>
                    <a:pt x="277381" y="487974"/>
                  </a:cubicBezTo>
                  <a:lnTo>
                    <a:pt x="277381" y="513887"/>
                  </a:lnTo>
                  <a:cubicBezTo>
                    <a:pt x="277381" y="518311"/>
                    <a:pt x="280580" y="522077"/>
                    <a:pt x="284952" y="522799"/>
                  </a:cubicBezTo>
                  <a:cubicBezTo>
                    <a:pt x="296071" y="524631"/>
                    <a:pt x="307383" y="525547"/>
                    <a:pt x="318591" y="525547"/>
                  </a:cubicBezTo>
                  <a:cubicBezTo>
                    <a:pt x="329800" y="525547"/>
                    <a:pt x="341073" y="524618"/>
                    <a:pt x="352192" y="522799"/>
                  </a:cubicBezTo>
                  <a:cubicBezTo>
                    <a:pt x="356552" y="522077"/>
                    <a:pt x="359763" y="518311"/>
                    <a:pt x="359763" y="513887"/>
                  </a:cubicBezTo>
                  <a:lnTo>
                    <a:pt x="359763" y="487974"/>
                  </a:lnTo>
                  <a:cubicBezTo>
                    <a:pt x="390797" y="480467"/>
                    <a:pt x="419044" y="464628"/>
                    <a:pt x="441823" y="441836"/>
                  </a:cubicBezTo>
                  <a:cubicBezTo>
                    <a:pt x="464602" y="419044"/>
                    <a:pt x="480454" y="390810"/>
                    <a:pt x="487961" y="359776"/>
                  </a:cubicBezTo>
                  <a:lnTo>
                    <a:pt x="513874" y="359776"/>
                  </a:lnTo>
                  <a:cubicBezTo>
                    <a:pt x="518298" y="359776"/>
                    <a:pt x="522064" y="356577"/>
                    <a:pt x="522787" y="352205"/>
                  </a:cubicBezTo>
                  <a:cubicBezTo>
                    <a:pt x="524618" y="341099"/>
                    <a:pt x="525534" y="329787"/>
                    <a:pt x="525534" y="318604"/>
                  </a:cubicBezTo>
                  <a:cubicBezTo>
                    <a:pt x="525534" y="307421"/>
                    <a:pt x="524605" y="296071"/>
                    <a:pt x="522787" y="284965"/>
                  </a:cubicBezTo>
                  <a:cubicBezTo>
                    <a:pt x="522064" y="280606"/>
                    <a:pt x="518298" y="277394"/>
                    <a:pt x="513874" y="277394"/>
                  </a:cubicBezTo>
                  <a:close/>
                  <a:moveTo>
                    <a:pt x="295452" y="219441"/>
                  </a:moveTo>
                  <a:lnTo>
                    <a:pt x="295452" y="131126"/>
                  </a:lnTo>
                  <a:cubicBezTo>
                    <a:pt x="310891" y="129255"/>
                    <a:pt x="326227" y="129255"/>
                    <a:pt x="341705" y="131126"/>
                  </a:cubicBezTo>
                  <a:lnTo>
                    <a:pt x="341705" y="219441"/>
                  </a:lnTo>
                  <a:cubicBezTo>
                    <a:pt x="341705" y="224433"/>
                    <a:pt x="345743" y="228470"/>
                    <a:pt x="350734" y="228470"/>
                  </a:cubicBezTo>
                  <a:lnTo>
                    <a:pt x="361105" y="228470"/>
                  </a:lnTo>
                  <a:lnTo>
                    <a:pt x="318591" y="270983"/>
                  </a:lnTo>
                  <a:lnTo>
                    <a:pt x="276078" y="228470"/>
                  </a:lnTo>
                  <a:lnTo>
                    <a:pt x="286410" y="228470"/>
                  </a:lnTo>
                  <a:cubicBezTo>
                    <a:pt x="291402" y="228470"/>
                    <a:pt x="295439" y="224433"/>
                    <a:pt x="295439" y="219441"/>
                  </a:cubicBezTo>
                  <a:close/>
                  <a:moveTo>
                    <a:pt x="129707" y="318604"/>
                  </a:moveTo>
                  <a:cubicBezTo>
                    <a:pt x="129707" y="310956"/>
                    <a:pt x="130184" y="303191"/>
                    <a:pt x="131113" y="295465"/>
                  </a:cubicBezTo>
                  <a:lnTo>
                    <a:pt x="219428" y="295465"/>
                  </a:lnTo>
                  <a:cubicBezTo>
                    <a:pt x="224420" y="295465"/>
                    <a:pt x="228457" y="291427"/>
                    <a:pt x="228457" y="286436"/>
                  </a:cubicBezTo>
                  <a:lnTo>
                    <a:pt x="228457" y="276065"/>
                  </a:lnTo>
                  <a:lnTo>
                    <a:pt x="270970" y="318604"/>
                  </a:lnTo>
                  <a:lnTo>
                    <a:pt x="228457" y="361118"/>
                  </a:lnTo>
                  <a:lnTo>
                    <a:pt x="228457" y="350747"/>
                  </a:lnTo>
                  <a:cubicBezTo>
                    <a:pt x="228457" y="345756"/>
                    <a:pt x="224420" y="341718"/>
                    <a:pt x="219428" y="341718"/>
                  </a:cubicBezTo>
                  <a:lnTo>
                    <a:pt x="131113" y="341718"/>
                  </a:lnTo>
                  <a:cubicBezTo>
                    <a:pt x="130171" y="333992"/>
                    <a:pt x="129707" y="326240"/>
                    <a:pt x="129707" y="318617"/>
                  </a:cubicBezTo>
                  <a:close/>
                  <a:moveTo>
                    <a:pt x="341693" y="417767"/>
                  </a:moveTo>
                  <a:lnTo>
                    <a:pt x="341693" y="506070"/>
                  </a:lnTo>
                  <a:cubicBezTo>
                    <a:pt x="326305" y="507966"/>
                    <a:pt x="310801" y="507966"/>
                    <a:pt x="295439" y="506070"/>
                  </a:cubicBezTo>
                  <a:lnTo>
                    <a:pt x="295439" y="417767"/>
                  </a:lnTo>
                  <a:cubicBezTo>
                    <a:pt x="295439" y="412776"/>
                    <a:pt x="291402" y="408739"/>
                    <a:pt x="286410" y="408739"/>
                  </a:cubicBezTo>
                  <a:lnTo>
                    <a:pt x="276065" y="408739"/>
                  </a:lnTo>
                  <a:lnTo>
                    <a:pt x="318579" y="366200"/>
                  </a:lnTo>
                  <a:lnTo>
                    <a:pt x="361092" y="408739"/>
                  </a:lnTo>
                  <a:lnTo>
                    <a:pt x="350709" y="408739"/>
                  </a:lnTo>
                  <a:cubicBezTo>
                    <a:pt x="345717" y="408739"/>
                    <a:pt x="341680" y="412776"/>
                    <a:pt x="341680" y="417767"/>
                  </a:cubicBezTo>
                  <a:close/>
                  <a:moveTo>
                    <a:pt x="359750" y="469335"/>
                  </a:moveTo>
                  <a:lnTo>
                    <a:pt x="359750" y="426796"/>
                  </a:lnTo>
                  <a:lnTo>
                    <a:pt x="382890" y="426796"/>
                  </a:lnTo>
                  <a:cubicBezTo>
                    <a:pt x="386540" y="426796"/>
                    <a:pt x="389829" y="424591"/>
                    <a:pt x="391235" y="421224"/>
                  </a:cubicBezTo>
                  <a:cubicBezTo>
                    <a:pt x="392628" y="417845"/>
                    <a:pt x="391867" y="413962"/>
                    <a:pt x="389275" y="411383"/>
                  </a:cubicBezTo>
                  <a:lnTo>
                    <a:pt x="324963" y="347032"/>
                  </a:lnTo>
                  <a:cubicBezTo>
                    <a:pt x="323274" y="345343"/>
                    <a:pt x="320978" y="344388"/>
                    <a:pt x="318579" y="344388"/>
                  </a:cubicBezTo>
                  <a:cubicBezTo>
                    <a:pt x="316179" y="344388"/>
                    <a:pt x="313883" y="345343"/>
                    <a:pt x="312194" y="347032"/>
                  </a:cubicBezTo>
                  <a:lnTo>
                    <a:pt x="247882" y="411383"/>
                  </a:lnTo>
                  <a:cubicBezTo>
                    <a:pt x="245302" y="413962"/>
                    <a:pt x="244529" y="417845"/>
                    <a:pt x="245922" y="421224"/>
                  </a:cubicBezTo>
                  <a:cubicBezTo>
                    <a:pt x="247315" y="424604"/>
                    <a:pt x="250617" y="426796"/>
                    <a:pt x="254267" y="426796"/>
                  </a:cubicBezTo>
                  <a:lnTo>
                    <a:pt x="277381" y="426796"/>
                  </a:lnTo>
                  <a:lnTo>
                    <a:pt x="277381" y="469335"/>
                  </a:lnTo>
                  <a:cubicBezTo>
                    <a:pt x="223839" y="454838"/>
                    <a:pt x="182319" y="413318"/>
                    <a:pt x="167822" y="359776"/>
                  </a:cubicBezTo>
                  <a:lnTo>
                    <a:pt x="210399" y="359776"/>
                  </a:lnTo>
                  <a:lnTo>
                    <a:pt x="210399" y="382916"/>
                  </a:lnTo>
                  <a:cubicBezTo>
                    <a:pt x="210399" y="386566"/>
                    <a:pt x="212605" y="389855"/>
                    <a:pt x="215971" y="391261"/>
                  </a:cubicBezTo>
                  <a:cubicBezTo>
                    <a:pt x="217094" y="391726"/>
                    <a:pt x="218267" y="391945"/>
                    <a:pt x="219428" y="391945"/>
                  </a:cubicBezTo>
                  <a:cubicBezTo>
                    <a:pt x="221776" y="391945"/>
                    <a:pt x="224085" y="391029"/>
                    <a:pt x="225813" y="389301"/>
                  </a:cubicBezTo>
                  <a:lnTo>
                    <a:pt x="290125" y="324989"/>
                  </a:lnTo>
                  <a:cubicBezTo>
                    <a:pt x="293646" y="321468"/>
                    <a:pt x="293646" y="315741"/>
                    <a:pt x="290125" y="312220"/>
                  </a:cubicBezTo>
                  <a:lnTo>
                    <a:pt x="225813" y="247869"/>
                  </a:lnTo>
                  <a:cubicBezTo>
                    <a:pt x="223233" y="245290"/>
                    <a:pt x="219351" y="244516"/>
                    <a:pt x="215971" y="245909"/>
                  </a:cubicBezTo>
                  <a:cubicBezTo>
                    <a:pt x="212592" y="247302"/>
                    <a:pt x="210399" y="250604"/>
                    <a:pt x="210399" y="254254"/>
                  </a:cubicBezTo>
                  <a:lnTo>
                    <a:pt x="210399" y="277394"/>
                  </a:lnTo>
                  <a:lnTo>
                    <a:pt x="167822" y="277394"/>
                  </a:lnTo>
                  <a:cubicBezTo>
                    <a:pt x="182319" y="223852"/>
                    <a:pt x="223839" y="182332"/>
                    <a:pt x="277381" y="167834"/>
                  </a:cubicBezTo>
                  <a:lnTo>
                    <a:pt x="277381" y="210412"/>
                  </a:lnTo>
                  <a:lnTo>
                    <a:pt x="254267" y="210412"/>
                  </a:lnTo>
                  <a:cubicBezTo>
                    <a:pt x="250617" y="210412"/>
                    <a:pt x="247328" y="212618"/>
                    <a:pt x="245922" y="215984"/>
                  </a:cubicBezTo>
                  <a:cubicBezTo>
                    <a:pt x="244516" y="219351"/>
                    <a:pt x="245302" y="223246"/>
                    <a:pt x="247882" y="225826"/>
                  </a:cubicBezTo>
                  <a:lnTo>
                    <a:pt x="312194" y="290137"/>
                  </a:lnTo>
                  <a:cubicBezTo>
                    <a:pt x="313961" y="291905"/>
                    <a:pt x="316270" y="292782"/>
                    <a:pt x="318579" y="292782"/>
                  </a:cubicBezTo>
                  <a:cubicBezTo>
                    <a:pt x="320887" y="292782"/>
                    <a:pt x="323196" y="291905"/>
                    <a:pt x="324963" y="290137"/>
                  </a:cubicBezTo>
                  <a:lnTo>
                    <a:pt x="389275" y="225826"/>
                  </a:lnTo>
                  <a:cubicBezTo>
                    <a:pt x="391855" y="223246"/>
                    <a:pt x="392628" y="219364"/>
                    <a:pt x="391235" y="215984"/>
                  </a:cubicBezTo>
                  <a:cubicBezTo>
                    <a:pt x="389842" y="212605"/>
                    <a:pt x="386540" y="210412"/>
                    <a:pt x="382890" y="210412"/>
                  </a:cubicBezTo>
                  <a:lnTo>
                    <a:pt x="359750" y="210412"/>
                  </a:lnTo>
                  <a:lnTo>
                    <a:pt x="359750" y="167834"/>
                  </a:lnTo>
                  <a:cubicBezTo>
                    <a:pt x="413292" y="182332"/>
                    <a:pt x="454812" y="223852"/>
                    <a:pt x="469310" y="277394"/>
                  </a:cubicBezTo>
                  <a:lnTo>
                    <a:pt x="426771" y="277394"/>
                  </a:lnTo>
                  <a:lnTo>
                    <a:pt x="426771" y="254254"/>
                  </a:lnTo>
                  <a:cubicBezTo>
                    <a:pt x="426771" y="250604"/>
                    <a:pt x="424565" y="247315"/>
                    <a:pt x="421198" y="245909"/>
                  </a:cubicBezTo>
                  <a:cubicBezTo>
                    <a:pt x="417819" y="244516"/>
                    <a:pt x="413937" y="245290"/>
                    <a:pt x="411357" y="247869"/>
                  </a:cubicBezTo>
                  <a:lnTo>
                    <a:pt x="347007" y="312220"/>
                  </a:lnTo>
                  <a:cubicBezTo>
                    <a:pt x="345317" y="313909"/>
                    <a:pt x="344362" y="316205"/>
                    <a:pt x="344362" y="318604"/>
                  </a:cubicBezTo>
                  <a:cubicBezTo>
                    <a:pt x="344362" y="321003"/>
                    <a:pt x="345317" y="323299"/>
                    <a:pt x="347007" y="324989"/>
                  </a:cubicBezTo>
                  <a:lnTo>
                    <a:pt x="411357" y="389301"/>
                  </a:lnTo>
                  <a:cubicBezTo>
                    <a:pt x="413085" y="391029"/>
                    <a:pt x="415394" y="391945"/>
                    <a:pt x="417742" y="391945"/>
                  </a:cubicBezTo>
                  <a:cubicBezTo>
                    <a:pt x="418903" y="391945"/>
                    <a:pt x="420076" y="391726"/>
                    <a:pt x="421198" y="391261"/>
                  </a:cubicBezTo>
                  <a:cubicBezTo>
                    <a:pt x="424578" y="389868"/>
                    <a:pt x="426771" y="386566"/>
                    <a:pt x="426771" y="382916"/>
                  </a:cubicBezTo>
                  <a:lnTo>
                    <a:pt x="426771" y="359776"/>
                  </a:lnTo>
                  <a:lnTo>
                    <a:pt x="469310" y="359776"/>
                  </a:lnTo>
                  <a:cubicBezTo>
                    <a:pt x="454812" y="413318"/>
                    <a:pt x="413292" y="454838"/>
                    <a:pt x="359750" y="469335"/>
                  </a:cubicBezTo>
                  <a:close/>
                  <a:moveTo>
                    <a:pt x="506031" y="341718"/>
                  </a:moveTo>
                  <a:lnTo>
                    <a:pt x="417729" y="341718"/>
                  </a:lnTo>
                  <a:cubicBezTo>
                    <a:pt x="412737" y="341718"/>
                    <a:pt x="408700" y="345756"/>
                    <a:pt x="408700" y="350747"/>
                  </a:cubicBezTo>
                  <a:lnTo>
                    <a:pt x="408700" y="361130"/>
                  </a:lnTo>
                  <a:lnTo>
                    <a:pt x="366161" y="318604"/>
                  </a:lnTo>
                  <a:lnTo>
                    <a:pt x="408700" y="276052"/>
                  </a:lnTo>
                  <a:lnTo>
                    <a:pt x="408700" y="286423"/>
                  </a:lnTo>
                  <a:cubicBezTo>
                    <a:pt x="408700" y="291414"/>
                    <a:pt x="412737" y="295452"/>
                    <a:pt x="417729" y="295452"/>
                  </a:cubicBezTo>
                  <a:lnTo>
                    <a:pt x="506031" y="295452"/>
                  </a:lnTo>
                  <a:cubicBezTo>
                    <a:pt x="506973" y="303139"/>
                    <a:pt x="507450" y="310891"/>
                    <a:pt x="507450" y="318591"/>
                  </a:cubicBezTo>
                  <a:cubicBezTo>
                    <a:pt x="507450" y="326292"/>
                    <a:pt x="506973" y="334018"/>
                    <a:pt x="506031" y="341693"/>
                  </a:cubicBezTo>
                  <a:close/>
                </a:path>
              </a:pathLst>
            </a:custGeom>
            <a:solidFill>
              <a:schemeClr val="bg1"/>
            </a:solidFill>
            <a:ln w="12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spTree>
    <p:extLst>
      <p:ext uri="{BB962C8B-B14F-4D97-AF65-F5344CB8AC3E}">
        <p14:creationId xmlns:p14="http://schemas.microsoft.com/office/powerpoint/2010/main" val="11965695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5FCBA71-635C-605B-7697-425E7C2342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think-cell data - do not delete" hidden="1">
                        <a:extLst>
                          <a:ext uri="{FF2B5EF4-FFF2-40B4-BE49-F238E27FC236}">
                            <a16:creationId xmlns:a16="http://schemas.microsoft.com/office/drawing/2014/main" id="{A5FCBA71-635C-605B-7697-425E7C2342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5791D46-46B2-851F-C88B-3C8B469E9926}"/>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latin typeface="Moderat" pitchFamily="2" charset="77"/>
              </a:rPr>
              <a:t>Conflict &amp; Performance Conversations</a:t>
            </a:r>
          </a:p>
        </p:txBody>
      </p:sp>
      <p:sp>
        <p:nvSpPr>
          <p:cNvPr id="41" name="Text 1">
            <a:extLst>
              <a:ext uri="{FF2B5EF4-FFF2-40B4-BE49-F238E27FC236}">
                <a16:creationId xmlns:a16="http://schemas.microsoft.com/office/drawing/2014/main" id="{BC3B09E7-98D5-66F9-D47C-78F78D67DD7B}"/>
              </a:ext>
            </a:extLst>
          </p:cNvPr>
          <p:cNvSpPr/>
          <p:nvPr/>
        </p:nvSpPr>
        <p:spPr>
          <a:xfrm>
            <a:off x="534989" y="6258023"/>
            <a:ext cx="11141074" cy="208006"/>
          </a:xfrm>
          <a:prstGeom prst="rect">
            <a:avLst/>
          </a:prstGeom>
          <a:noFill/>
          <a:ln/>
        </p:spPr>
        <p:txBody>
          <a:bodyPr wrap="square" lIns="0" tIns="0" rIns="0" bIns="0" rtlCol="0" anchor="t">
            <a:spAutoFit/>
          </a:bodyPr>
          <a:lstStyle/>
          <a:p>
            <a:pPr algn="ctr" defTabSz="571500">
              <a:lnSpc>
                <a:spcPts val="1563"/>
              </a:lnSpc>
            </a:pPr>
            <a:r>
              <a:rPr lang="en-US" sz="1600" b="1">
                <a:solidFill>
                  <a:schemeClr val="accent1"/>
                </a:solidFill>
                <a:latin typeface="Moderat" pitchFamily="2" charset="77"/>
                <a:ea typeface="Source Serif 4" pitchFamily="34" charset="-122"/>
                <a:cs typeface="Source Serif 4" pitchFamily="34" charset="-120"/>
              </a:rPr>
              <a:t>Driving Results with Empathy</a:t>
            </a:r>
          </a:p>
        </p:txBody>
      </p:sp>
      <p:sp>
        <p:nvSpPr>
          <p:cNvPr id="6" name="Text 8">
            <a:extLst>
              <a:ext uri="{FF2B5EF4-FFF2-40B4-BE49-F238E27FC236}">
                <a16:creationId xmlns:a16="http://schemas.microsoft.com/office/drawing/2014/main" id="{9B99D6B3-7725-020C-344C-CDFE335B1F3D}"/>
              </a:ext>
            </a:extLst>
          </p:cNvPr>
          <p:cNvSpPr/>
          <p:nvPr/>
        </p:nvSpPr>
        <p:spPr>
          <a:xfrm>
            <a:off x="515936" y="1329230"/>
            <a:ext cx="11160127" cy="492443"/>
          </a:xfrm>
          <a:prstGeom prst="rect">
            <a:avLst/>
          </a:prstGeom>
          <a:noFill/>
          <a:ln/>
        </p:spPr>
        <p:txBody>
          <a:bodyPr wrap="square" lIns="0" tIns="0" rIns="0" bIns="0" rtlCol="0" anchor="t">
            <a:spAutoFit/>
          </a:bodyPr>
          <a:lstStyle/>
          <a:p>
            <a:pPr>
              <a:spcBef>
                <a:spcPts val="400"/>
              </a:spcBef>
              <a:spcAft>
                <a:spcPts val="400"/>
              </a:spcAft>
            </a:pPr>
            <a:r>
              <a:rPr lang="en-US" sz="1600">
                <a:solidFill>
                  <a:schemeClr val="bg2">
                    <a:lumMod val="25000"/>
                  </a:schemeClr>
                </a:solidFill>
                <a:latin typeface="Moderat" pitchFamily="2" charset="77"/>
                <a:ea typeface="Lato" pitchFamily="34" charset="-122"/>
                <a:cs typeface="Lato" pitchFamily="34" charset="-120"/>
              </a:rPr>
              <a:t>Leaders must deliver results while fostering psychological safety. </a:t>
            </a:r>
            <a:r>
              <a:rPr lang="en-US" sz="1600" b="1">
                <a:solidFill>
                  <a:schemeClr val="bg2">
                    <a:lumMod val="25000"/>
                  </a:schemeClr>
                </a:solidFill>
                <a:latin typeface="Moderat" pitchFamily="2" charset="77"/>
                <a:ea typeface="Lato" pitchFamily="34" charset="-122"/>
                <a:cs typeface="Lato" pitchFamily="34" charset="-120"/>
              </a:rPr>
              <a:t>Lead with Courage </a:t>
            </a:r>
            <a:r>
              <a:rPr lang="en-US" sz="1600">
                <a:solidFill>
                  <a:schemeClr val="bg2">
                    <a:lumMod val="25000"/>
                  </a:schemeClr>
                </a:solidFill>
                <a:latin typeface="Moderat" pitchFamily="2" charset="77"/>
                <a:ea typeface="Lato" pitchFamily="34" charset="-122"/>
                <a:cs typeface="Lato" pitchFamily="34" charset="-120"/>
              </a:rPr>
              <a:t>is a high-impact hybrid program for experienced leaders who struggle with the balance between empathy and accountability</a:t>
            </a:r>
          </a:p>
        </p:txBody>
      </p:sp>
      <p:sp>
        <p:nvSpPr>
          <p:cNvPr id="3" name="Text 8">
            <a:extLst>
              <a:ext uri="{FF2B5EF4-FFF2-40B4-BE49-F238E27FC236}">
                <a16:creationId xmlns:a16="http://schemas.microsoft.com/office/drawing/2014/main" id="{24449D00-A156-0C60-8061-6C681FFC119E}"/>
              </a:ext>
            </a:extLst>
          </p:cNvPr>
          <p:cNvSpPr/>
          <p:nvPr/>
        </p:nvSpPr>
        <p:spPr>
          <a:xfrm>
            <a:off x="503230" y="4986954"/>
            <a:ext cx="11160127" cy="738664"/>
          </a:xfrm>
          <a:prstGeom prst="rect">
            <a:avLst/>
          </a:prstGeom>
          <a:noFill/>
          <a:ln/>
        </p:spPr>
        <p:txBody>
          <a:bodyPr wrap="square" lIns="0" tIns="0" rIns="0" bIns="0" rtlCol="0" anchor="t">
            <a:spAutoFit/>
          </a:bodyPr>
          <a:lstStyle/>
          <a:p>
            <a:pPr>
              <a:spcBef>
                <a:spcPts val="400"/>
              </a:spcBef>
              <a:spcAft>
                <a:spcPts val="400"/>
              </a:spcAft>
            </a:pPr>
            <a:r>
              <a:rPr lang="en-US" sz="1600">
                <a:solidFill>
                  <a:schemeClr val="bg2">
                    <a:lumMod val="25000"/>
                  </a:schemeClr>
                </a:solidFill>
                <a:latin typeface="Moderat" pitchFamily="2" charset="77"/>
                <a:ea typeface="Lato" pitchFamily="34" charset="-122"/>
                <a:cs typeface="Lato" pitchFamily="34" charset="-120"/>
              </a:rPr>
              <a:t>Lead with Courage is a leadership transformation experience that equips leaders to unlock discretionary effort and drive sustainable performance through a balanced approach of empathy and accountability. Grounded in the proven techniques of </a:t>
            </a:r>
            <a:r>
              <a:rPr lang="en-US" sz="1600">
                <a:solidFill>
                  <a:schemeClr val="accent1"/>
                </a:solidFill>
                <a:latin typeface="Moderat" pitchFamily="2" charset="77"/>
                <a:ea typeface="Lato" pitchFamily="34" charset="-122"/>
                <a:cs typeface="Lato" pitchFamily="34" charset="-120"/>
              </a:rPr>
              <a:t>Chris Voss </a:t>
            </a:r>
            <a:r>
              <a:rPr lang="en-US" sz="1600">
                <a:solidFill>
                  <a:schemeClr val="bg2">
                    <a:lumMod val="25000"/>
                  </a:schemeClr>
                </a:solidFill>
                <a:latin typeface="Moderat" pitchFamily="2" charset="77"/>
                <a:ea typeface="Lato" pitchFamily="34" charset="-122"/>
                <a:cs typeface="Lato" pitchFamily="34" charset="-120"/>
              </a:rPr>
              <a:t>(negotiation), </a:t>
            </a:r>
            <a:r>
              <a:rPr lang="en-US" sz="1600">
                <a:solidFill>
                  <a:schemeClr val="accent1"/>
                </a:solidFill>
                <a:latin typeface="Moderat" pitchFamily="2" charset="77"/>
                <a:ea typeface="Lato" pitchFamily="34" charset="-122"/>
                <a:cs typeface="Lato" pitchFamily="34" charset="-120"/>
              </a:rPr>
              <a:t>George </a:t>
            </a:r>
            <a:r>
              <a:rPr lang="en-US" sz="1600" err="1">
                <a:solidFill>
                  <a:schemeClr val="accent1"/>
                </a:solidFill>
                <a:latin typeface="Moderat" pitchFamily="2" charset="77"/>
                <a:ea typeface="Lato" pitchFamily="34" charset="-122"/>
                <a:cs typeface="Lato" pitchFamily="34" charset="-120"/>
              </a:rPr>
              <a:t>Kohlrieser</a:t>
            </a:r>
            <a:r>
              <a:rPr lang="en-US" sz="1600">
                <a:solidFill>
                  <a:schemeClr val="accent1"/>
                </a:solidFill>
                <a:latin typeface="Moderat" pitchFamily="2" charset="77"/>
                <a:ea typeface="Lato" pitchFamily="34" charset="-122"/>
                <a:cs typeface="Lato" pitchFamily="34" charset="-120"/>
              </a:rPr>
              <a:t> </a:t>
            </a:r>
            <a:r>
              <a:rPr lang="en-US" sz="1600">
                <a:solidFill>
                  <a:schemeClr val="bg2">
                    <a:lumMod val="25000"/>
                  </a:schemeClr>
                </a:solidFill>
                <a:latin typeface="Moderat" pitchFamily="2" charset="77"/>
                <a:ea typeface="Lato" pitchFamily="34" charset="-122"/>
                <a:cs typeface="Lato" pitchFamily="34" charset="-120"/>
              </a:rPr>
              <a:t>(emotional bonding), and </a:t>
            </a:r>
            <a:r>
              <a:rPr lang="en-US" sz="1600">
                <a:solidFill>
                  <a:schemeClr val="accent1"/>
                </a:solidFill>
                <a:latin typeface="Moderat" pitchFamily="2" charset="77"/>
                <a:ea typeface="Lato" pitchFamily="34" charset="-122"/>
                <a:cs typeface="Lato" pitchFamily="34" charset="-120"/>
              </a:rPr>
              <a:t>Marshall Goldsmith </a:t>
            </a:r>
            <a:r>
              <a:rPr lang="en-US" sz="1600">
                <a:solidFill>
                  <a:schemeClr val="bg2">
                    <a:lumMod val="25000"/>
                  </a:schemeClr>
                </a:solidFill>
                <a:latin typeface="Moderat" pitchFamily="2" charset="77"/>
                <a:ea typeface="Lato" pitchFamily="34" charset="-122"/>
                <a:cs typeface="Lato" pitchFamily="34" charset="-120"/>
              </a:rPr>
              <a:t>(leadership behavior change)</a:t>
            </a:r>
          </a:p>
        </p:txBody>
      </p:sp>
      <p:sp>
        <p:nvSpPr>
          <p:cNvPr id="4" name="Shape 2">
            <a:extLst>
              <a:ext uri="{FF2B5EF4-FFF2-40B4-BE49-F238E27FC236}">
                <a16:creationId xmlns:a16="http://schemas.microsoft.com/office/drawing/2014/main" id="{430AEFA8-4F96-24F0-9F2D-A55E0A7E28EB}"/>
              </a:ext>
            </a:extLst>
          </p:cNvPr>
          <p:cNvSpPr/>
          <p:nvPr/>
        </p:nvSpPr>
        <p:spPr>
          <a:xfrm>
            <a:off x="887463" y="2057492"/>
            <a:ext cx="5067731" cy="1215268"/>
          </a:xfrm>
          <a:prstGeom prst="roundRect">
            <a:avLst>
              <a:gd name="adj" fmla="val 2503"/>
            </a:avLst>
          </a:prstGeom>
          <a:solidFill>
            <a:schemeClr val="bg1">
              <a:lumMod val="95000"/>
            </a:schemeClr>
          </a:solidFill>
          <a:ln w="22860">
            <a:noFill/>
            <a:prstDash val="solid"/>
          </a:ln>
        </p:spPr>
        <p:txBody>
          <a:bodyPr/>
          <a:lstStyle/>
          <a:p>
            <a:pPr defTabSz="304770"/>
            <a:endParaRPr lang="en-IN" sz="1600">
              <a:solidFill>
                <a:srgbClr val="000000"/>
              </a:solidFill>
              <a:latin typeface="Moderat" panose="020B0604020202020204"/>
            </a:endParaRPr>
          </a:p>
        </p:txBody>
      </p:sp>
      <p:sp>
        <p:nvSpPr>
          <p:cNvPr id="5" name="Text 7">
            <a:extLst>
              <a:ext uri="{FF2B5EF4-FFF2-40B4-BE49-F238E27FC236}">
                <a16:creationId xmlns:a16="http://schemas.microsoft.com/office/drawing/2014/main" id="{2D1A5C37-A0DB-4B52-4B00-85F4BB4D3015}"/>
              </a:ext>
            </a:extLst>
          </p:cNvPr>
          <p:cNvSpPr/>
          <p:nvPr/>
        </p:nvSpPr>
        <p:spPr>
          <a:xfrm>
            <a:off x="1392997" y="2253895"/>
            <a:ext cx="4360097" cy="243656"/>
          </a:xfrm>
          <a:prstGeom prst="rect">
            <a:avLst/>
          </a:prstGeom>
          <a:noFill/>
          <a:ln/>
        </p:spPr>
        <p:txBody>
          <a:bodyPr wrap="square" lIns="0" tIns="0" rIns="0" bIns="0" rtlCol="0" anchor="t">
            <a:spAutoFit/>
          </a:bodyPr>
          <a:lstStyle/>
          <a:p>
            <a:pPr>
              <a:lnSpc>
                <a:spcPts val="1916"/>
              </a:lnSpc>
            </a:pPr>
            <a:r>
              <a:rPr lang="en-US" sz="1600" b="1">
                <a:solidFill>
                  <a:schemeClr val="accent6"/>
                </a:solidFill>
                <a:latin typeface="Moderat" panose="020B0604020202020204"/>
                <a:ea typeface="Lato Bold" pitchFamily="34" charset="-122"/>
                <a:cs typeface="Lato Bold" pitchFamily="34" charset="-120"/>
              </a:rPr>
              <a:t>Hold Accountable</a:t>
            </a:r>
          </a:p>
        </p:txBody>
      </p:sp>
      <p:sp>
        <p:nvSpPr>
          <p:cNvPr id="7" name="Text 8">
            <a:extLst>
              <a:ext uri="{FF2B5EF4-FFF2-40B4-BE49-F238E27FC236}">
                <a16:creationId xmlns:a16="http://schemas.microsoft.com/office/drawing/2014/main" id="{9706AB8F-9667-CD60-670D-D3168EC3E36A}"/>
              </a:ext>
            </a:extLst>
          </p:cNvPr>
          <p:cNvSpPr/>
          <p:nvPr/>
        </p:nvSpPr>
        <p:spPr>
          <a:xfrm>
            <a:off x="1392998" y="2581710"/>
            <a:ext cx="3963487" cy="492443"/>
          </a:xfrm>
          <a:prstGeom prst="rect">
            <a:avLst/>
          </a:prstGeom>
          <a:noFill/>
          <a:ln/>
        </p:spPr>
        <p:txBody>
          <a:bodyPr wrap="square" lIns="0" tIns="0" rIns="0" bIns="0" rtlCol="0" anchor="t">
            <a:spAutoFit/>
          </a:bodyPr>
          <a:lstStyle/>
          <a:p>
            <a:pPr>
              <a:spcBef>
                <a:spcPts val="400"/>
              </a:spcBef>
              <a:spcAft>
                <a:spcPts val="400"/>
              </a:spcAft>
            </a:pPr>
            <a:r>
              <a:rPr lang="en-US" sz="1600">
                <a:solidFill>
                  <a:schemeClr val="bg2">
                    <a:lumMod val="25000"/>
                  </a:schemeClr>
                </a:solidFill>
                <a:latin typeface="Moderat" panose="020B0604020202020204"/>
                <a:ea typeface="Lato" pitchFamily="34" charset="-122"/>
                <a:cs typeface="Lato" pitchFamily="34" charset="-120"/>
              </a:rPr>
              <a:t>Hold others accountable without creating fear or mistrust</a:t>
            </a:r>
          </a:p>
        </p:txBody>
      </p:sp>
      <p:sp>
        <p:nvSpPr>
          <p:cNvPr id="8" name="Shape 7">
            <a:extLst>
              <a:ext uri="{FF2B5EF4-FFF2-40B4-BE49-F238E27FC236}">
                <a16:creationId xmlns:a16="http://schemas.microsoft.com/office/drawing/2014/main" id="{B0FCE277-100E-B659-79F6-9FE73B5C828A}"/>
              </a:ext>
            </a:extLst>
          </p:cNvPr>
          <p:cNvSpPr/>
          <p:nvPr/>
        </p:nvSpPr>
        <p:spPr>
          <a:xfrm>
            <a:off x="833463" y="2057492"/>
            <a:ext cx="54000" cy="1215268"/>
          </a:xfrm>
          <a:prstGeom prst="roundRect">
            <a:avLst>
              <a:gd name="adj" fmla="val 0"/>
            </a:avLst>
          </a:prstGeom>
          <a:solidFill>
            <a:schemeClr val="accent5"/>
          </a:solidFill>
          <a:ln>
            <a:noFill/>
          </a:ln>
        </p:spPr>
        <p:txBody>
          <a:bodyPr/>
          <a:lstStyle/>
          <a:p>
            <a:endParaRPr lang="en-IN" sz="1600">
              <a:latin typeface="Moderat" panose="020B0604020202020204"/>
            </a:endParaRPr>
          </a:p>
        </p:txBody>
      </p:sp>
      <p:sp>
        <p:nvSpPr>
          <p:cNvPr id="45" name="Shape 2">
            <a:extLst>
              <a:ext uri="{FF2B5EF4-FFF2-40B4-BE49-F238E27FC236}">
                <a16:creationId xmlns:a16="http://schemas.microsoft.com/office/drawing/2014/main" id="{64EC5D5E-ADFC-0BAF-CF8F-2344231CF541}"/>
              </a:ext>
            </a:extLst>
          </p:cNvPr>
          <p:cNvSpPr/>
          <p:nvPr/>
        </p:nvSpPr>
        <p:spPr>
          <a:xfrm>
            <a:off x="887463" y="3508579"/>
            <a:ext cx="5067731" cy="1215268"/>
          </a:xfrm>
          <a:prstGeom prst="roundRect">
            <a:avLst>
              <a:gd name="adj" fmla="val 2503"/>
            </a:avLst>
          </a:prstGeom>
          <a:solidFill>
            <a:schemeClr val="bg1">
              <a:lumMod val="95000"/>
            </a:schemeClr>
          </a:solidFill>
          <a:ln w="22860">
            <a:noFill/>
            <a:prstDash val="solid"/>
          </a:ln>
        </p:spPr>
        <p:txBody>
          <a:bodyPr/>
          <a:lstStyle/>
          <a:p>
            <a:pPr defTabSz="304770"/>
            <a:endParaRPr lang="en-IN" sz="1600">
              <a:solidFill>
                <a:srgbClr val="000000"/>
              </a:solidFill>
              <a:latin typeface="Moderat" panose="020B0604020202020204"/>
            </a:endParaRPr>
          </a:p>
        </p:txBody>
      </p:sp>
      <p:sp>
        <p:nvSpPr>
          <p:cNvPr id="46" name="Text 7">
            <a:extLst>
              <a:ext uri="{FF2B5EF4-FFF2-40B4-BE49-F238E27FC236}">
                <a16:creationId xmlns:a16="http://schemas.microsoft.com/office/drawing/2014/main" id="{3A1756EB-6B0C-4C8D-2728-F670207034E6}"/>
              </a:ext>
            </a:extLst>
          </p:cNvPr>
          <p:cNvSpPr/>
          <p:nvPr/>
        </p:nvSpPr>
        <p:spPr>
          <a:xfrm>
            <a:off x="1392997" y="3704982"/>
            <a:ext cx="4360097" cy="243656"/>
          </a:xfrm>
          <a:prstGeom prst="rect">
            <a:avLst/>
          </a:prstGeom>
          <a:noFill/>
          <a:ln/>
        </p:spPr>
        <p:txBody>
          <a:bodyPr wrap="square" lIns="0" tIns="0" rIns="0" bIns="0" rtlCol="0" anchor="t">
            <a:spAutoFit/>
          </a:bodyPr>
          <a:lstStyle/>
          <a:p>
            <a:pPr>
              <a:lnSpc>
                <a:spcPts val="1916"/>
              </a:lnSpc>
            </a:pPr>
            <a:r>
              <a:rPr lang="en-US" sz="1600" b="1">
                <a:solidFill>
                  <a:schemeClr val="accent6"/>
                </a:solidFill>
                <a:latin typeface="Moderat" panose="020B0604020202020204"/>
                <a:ea typeface="Lato Bold" pitchFamily="34" charset="-122"/>
                <a:cs typeface="Lato Bold" pitchFamily="34" charset="-120"/>
              </a:rPr>
              <a:t>Gain Alignment</a:t>
            </a:r>
          </a:p>
        </p:txBody>
      </p:sp>
      <p:sp>
        <p:nvSpPr>
          <p:cNvPr id="47" name="Text 8">
            <a:extLst>
              <a:ext uri="{FF2B5EF4-FFF2-40B4-BE49-F238E27FC236}">
                <a16:creationId xmlns:a16="http://schemas.microsoft.com/office/drawing/2014/main" id="{2AF0CDB5-A869-F52A-D139-1084DFFE1964}"/>
              </a:ext>
            </a:extLst>
          </p:cNvPr>
          <p:cNvSpPr/>
          <p:nvPr/>
        </p:nvSpPr>
        <p:spPr>
          <a:xfrm>
            <a:off x="1392998" y="4032797"/>
            <a:ext cx="3963487" cy="492443"/>
          </a:xfrm>
          <a:prstGeom prst="rect">
            <a:avLst/>
          </a:prstGeom>
          <a:noFill/>
          <a:ln/>
        </p:spPr>
        <p:txBody>
          <a:bodyPr wrap="square" lIns="0" tIns="0" rIns="0" bIns="0" rtlCol="0" anchor="t">
            <a:spAutoFit/>
          </a:bodyPr>
          <a:lstStyle/>
          <a:p>
            <a:pPr>
              <a:spcBef>
                <a:spcPts val="400"/>
              </a:spcBef>
              <a:spcAft>
                <a:spcPts val="400"/>
              </a:spcAft>
            </a:pPr>
            <a:r>
              <a:rPr lang="en-US" sz="1600">
                <a:solidFill>
                  <a:schemeClr val="bg2">
                    <a:lumMod val="25000"/>
                  </a:schemeClr>
                </a:solidFill>
                <a:latin typeface="Moderat" panose="020B0604020202020204"/>
                <a:ea typeface="Lato" pitchFamily="34" charset="-122"/>
                <a:cs typeface="Lato" pitchFamily="34" charset="-120"/>
              </a:rPr>
              <a:t>Use negotiation and influence to gain alignment toward target achievement</a:t>
            </a:r>
          </a:p>
        </p:txBody>
      </p:sp>
      <p:sp>
        <p:nvSpPr>
          <p:cNvPr id="48" name="Shape 7">
            <a:extLst>
              <a:ext uri="{FF2B5EF4-FFF2-40B4-BE49-F238E27FC236}">
                <a16:creationId xmlns:a16="http://schemas.microsoft.com/office/drawing/2014/main" id="{D0E5148E-9C80-4E15-8A1A-06D6FAEF37F5}"/>
              </a:ext>
            </a:extLst>
          </p:cNvPr>
          <p:cNvSpPr/>
          <p:nvPr/>
        </p:nvSpPr>
        <p:spPr>
          <a:xfrm>
            <a:off x="833463" y="3508579"/>
            <a:ext cx="54000" cy="1215268"/>
          </a:xfrm>
          <a:prstGeom prst="roundRect">
            <a:avLst>
              <a:gd name="adj" fmla="val 0"/>
            </a:avLst>
          </a:prstGeom>
          <a:solidFill>
            <a:schemeClr val="accent5"/>
          </a:solidFill>
          <a:ln>
            <a:noFill/>
          </a:ln>
        </p:spPr>
        <p:txBody>
          <a:bodyPr/>
          <a:lstStyle/>
          <a:p>
            <a:endParaRPr lang="en-IN" sz="1600">
              <a:latin typeface="Moderat" panose="020B0604020202020204"/>
            </a:endParaRPr>
          </a:p>
        </p:txBody>
      </p:sp>
      <p:sp>
        <p:nvSpPr>
          <p:cNvPr id="70" name="Shape 2">
            <a:extLst>
              <a:ext uri="{FF2B5EF4-FFF2-40B4-BE49-F238E27FC236}">
                <a16:creationId xmlns:a16="http://schemas.microsoft.com/office/drawing/2014/main" id="{8703161F-15A0-938E-E8F8-A0EF0B74E8EC}"/>
              </a:ext>
            </a:extLst>
          </p:cNvPr>
          <p:cNvSpPr/>
          <p:nvPr/>
        </p:nvSpPr>
        <p:spPr>
          <a:xfrm>
            <a:off x="6608332" y="2057492"/>
            <a:ext cx="5067731" cy="1215268"/>
          </a:xfrm>
          <a:prstGeom prst="roundRect">
            <a:avLst>
              <a:gd name="adj" fmla="val 2503"/>
            </a:avLst>
          </a:prstGeom>
          <a:solidFill>
            <a:schemeClr val="bg1">
              <a:lumMod val="95000"/>
            </a:schemeClr>
          </a:solidFill>
          <a:ln w="22860">
            <a:noFill/>
            <a:prstDash val="solid"/>
          </a:ln>
        </p:spPr>
        <p:txBody>
          <a:bodyPr/>
          <a:lstStyle/>
          <a:p>
            <a:pPr defTabSz="304770"/>
            <a:endParaRPr lang="en-IN" sz="1600">
              <a:solidFill>
                <a:srgbClr val="000000"/>
              </a:solidFill>
              <a:latin typeface="Moderat" panose="020B0604020202020204"/>
            </a:endParaRPr>
          </a:p>
        </p:txBody>
      </p:sp>
      <p:sp>
        <p:nvSpPr>
          <p:cNvPr id="71" name="Text 7">
            <a:extLst>
              <a:ext uri="{FF2B5EF4-FFF2-40B4-BE49-F238E27FC236}">
                <a16:creationId xmlns:a16="http://schemas.microsoft.com/office/drawing/2014/main" id="{ACD7C5D7-3196-C5D8-9DD2-4B96503EA27C}"/>
              </a:ext>
            </a:extLst>
          </p:cNvPr>
          <p:cNvSpPr/>
          <p:nvPr/>
        </p:nvSpPr>
        <p:spPr>
          <a:xfrm>
            <a:off x="7113866" y="2253895"/>
            <a:ext cx="4360097" cy="243656"/>
          </a:xfrm>
          <a:prstGeom prst="rect">
            <a:avLst/>
          </a:prstGeom>
          <a:noFill/>
          <a:ln/>
        </p:spPr>
        <p:txBody>
          <a:bodyPr wrap="square" lIns="0" tIns="0" rIns="0" bIns="0" rtlCol="0" anchor="t">
            <a:spAutoFit/>
          </a:bodyPr>
          <a:lstStyle/>
          <a:p>
            <a:pPr>
              <a:lnSpc>
                <a:spcPts val="1916"/>
              </a:lnSpc>
            </a:pPr>
            <a:r>
              <a:rPr lang="en-US" sz="1600" b="1">
                <a:solidFill>
                  <a:schemeClr val="accent6"/>
                </a:solidFill>
                <a:latin typeface="Moderat" panose="020B0604020202020204"/>
                <a:ea typeface="Lato Bold" pitchFamily="34" charset="-122"/>
                <a:cs typeface="Lato Bold" pitchFamily="34" charset="-120"/>
              </a:rPr>
              <a:t>Build Safety</a:t>
            </a:r>
          </a:p>
        </p:txBody>
      </p:sp>
      <p:sp>
        <p:nvSpPr>
          <p:cNvPr id="72" name="Text 8">
            <a:extLst>
              <a:ext uri="{FF2B5EF4-FFF2-40B4-BE49-F238E27FC236}">
                <a16:creationId xmlns:a16="http://schemas.microsoft.com/office/drawing/2014/main" id="{DAC78A74-D698-1A38-A4FD-736DF3B59D6E}"/>
              </a:ext>
            </a:extLst>
          </p:cNvPr>
          <p:cNvSpPr/>
          <p:nvPr/>
        </p:nvSpPr>
        <p:spPr>
          <a:xfrm>
            <a:off x="7113867" y="2581710"/>
            <a:ext cx="3801487" cy="492443"/>
          </a:xfrm>
          <a:prstGeom prst="rect">
            <a:avLst/>
          </a:prstGeom>
          <a:noFill/>
          <a:ln/>
        </p:spPr>
        <p:txBody>
          <a:bodyPr wrap="square" lIns="0" tIns="0" rIns="0" bIns="0" rtlCol="0" anchor="t">
            <a:spAutoFit/>
          </a:bodyPr>
          <a:lstStyle/>
          <a:p>
            <a:pPr>
              <a:spcBef>
                <a:spcPts val="400"/>
              </a:spcBef>
              <a:spcAft>
                <a:spcPts val="400"/>
              </a:spcAft>
            </a:pPr>
            <a:r>
              <a:rPr lang="en-US" sz="1600">
                <a:solidFill>
                  <a:schemeClr val="bg2">
                    <a:lumMod val="25000"/>
                  </a:schemeClr>
                </a:solidFill>
                <a:latin typeface="Moderat" panose="020B0604020202020204"/>
                <a:ea typeface="Lato" pitchFamily="34" charset="-122"/>
                <a:cs typeface="Lato" pitchFamily="34" charset="-120"/>
              </a:rPr>
              <a:t>Build psychologically safe teams that perform at their best</a:t>
            </a:r>
          </a:p>
        </p:txBody>
      </p:sp>
      <p:sp>
        <p:nvSpPr>
          <p:cNvPr id="73" name="Shape 7">
            <a:extLst>
              <a:ext uri="{FF2B5EF4-FFF2-40B4-BE49-F238E27FC236}">
                <a16:creationId xmlns:a16="http://schemas.microsoft.com/office/drawing/2014/main" id="{55F0DB0D-383E-B6EB-A7B1-8ED5A590B12E}"/>
              </a:ext>
            </a:extLst>
          </p:cNvPr>
          <p:cNvSpPr/>
          <p:nvPr/>
        </p:nvSpPr>
        <p:spPr>
          <a:xfrm>
            <a:off x="6554332" y="2057492"/>
            <a:ext cx="54000" cy="1215268"/>
          </a:xfrm>
          <a:prstGeom prst="roundRect">
            <a:avLst>
              <a:gd name="adj" fmla="val 0"/>
            </a:avLst>
          </a:prstGeom>
          <a:solidFill>
            <a:schemeClr val="accent5"/>
          </a:solidFill>
          <a:ln>
            <a:noFill/>
          </a:ln>
        </p:spPr>
        <p:txBody>
          <a:bodyPr/>
          <a:lstStyle/>
          <a:p>
            <a:endParaRPr lang="en-IN" sz="1600">
              <a:latin typeface="Moderat" panose="020B0604020202020204"/>
            </a:endParaRPr>
          </a:p>
        </p:txBody>
      </p:sp>
      <p:sp>
        <p:nvSpPr>
          <p:cNvPr id="95" name="Shape 2">
            <a:extLst>
              <a:ext uri="{FF2B5EF4-FFF2-40B4-BE49-F238E27FC236}">
                <a16:creationId xmlns:a16="http://schemas.microsoft.com/office/drawing/2014/main" id="{0A1300A3-8FA1-E560-3390-713E0D2D11F9}"/>
              </a:ext>
            </a:extLst>
          </p:cNvPr>
          <p:cNvSpPr/>
          <p:nvPr/>
        </p:nvSpPr>
        <p:spPr>
          <a:xfrm>
            <a:off x="6608332" y="3508579"/>
            <a:ext cx="5067731" cy="1215268"/>
          </a:xfrm>
          <a:prstGeom prst="roundRect">
            <a:avLst>
              <a:gd name="adj" fmla="val 2503"/>
            </a:avLst>
          </a:prstGeom>
          <a:solidFill>
            <a:schemeClr val="bg1">
              <a:lumMod val="95000"/>
            </a:schemeClr>
          </a:solidFill>
          <a:ln w="22860">
            <a:noFill/>
            <a:prstDash val="solid"/>
          </a:ln>
        </p:spPr>
        <p:txBody>
          <a:bodyPr/>
          <a:lstStyle/>
          <a:p>
            <a:pPr defTabSz="304770"/>
            <a:endParaRPr lang="en-IN" sz="1600">
              <a:solidFill>
                <a:srgbClr val="000000"/>
              </a:solidFill>
              <a:latin typeface="Moderat" panose="020B0604020202020204"/>
            </a:endParaRPr>
          </a:p>
        </p:txBody>
      </p:sp>
      <p:sp>
        <p:nvSpPr>
          <p:cNvPr id="96" name="Text 7">
            <a:extLst>
              <a:ext uri="{FF2B5EF4-FFF2-40B4-BE49-F238E27FC236}">
                <a16:creationId xmlns:a16="http://schemas.microsoft.com/office/drawing/2014/main" id="{337EB525-FC62-5001-897D-7724BAB83F72}"/>
              </a:ext>
            </a:extLst>
          </p:cNvPr>
          <p:cNvSpPr/>
          <p:nvPr/>
        </p:nvSpPr>
        <p:spPr>
          <a:xfrm>
            <a:off x="7113866" y="3704982"/>
            <a:ext cx="4360097" cy="243656"/>
          </a:xfrm>
          <a:prstGeom prst="rect">
            <a:avLst/>
          </a:prstGeom>
          <a:noFill/>
          <a:ln/>
        </p:spPr>
        <p:txBody>
          <a:bodyPr wrap="square" lIns="0" tIns="0" rIns="0" bIns="0" rtlCol="0" anchor="t">
            <a:spAutoFit/>
          </a:bodyPr>
          <a:lstStyle/>
          <a:p>
            <a:pPr>
              <a:lnSpc>
                <a:spcPts val="1916"/>
              </a:lnSpc>
            </a:pPr>
            <a:r>
              <a:rPr lang="en-US" sz="1600" b="1">
                <a:solidFill>
                  <a:schemeClr val="accent6"/>
                </a:solidFill>
                <a:latin typeface="Moderat" panose="020B0604020202020204"/>
                <a:ea typeface="Lato Bold" pitchFamily="34" charset="-122"/>
                <a:cs typeface="Lato Bold" pitchFamily="34" charset="-120"/>
              </a:rPr>
              <a:t>Navigate Tension</a:t>
            </a:r>
          </a:p>
        </p:txBody>
      </p:sp>
      <p:sp>
        <p:nvSpPr>
          <p:cNvPr id="97" name="Text 8">
            <a:extLst>
              <a:ext uri="{FF2B5EF4-FFF2-40B4-BE49-F238E27FC236}">
                <a16:creationId xmlns:a16="http://schemas.microsoft.com/office/drawing/2014/main" id="{0FC6EB52-CECF-C316-6170-BC2D9EEBB014}"/>
              </a:ext>
            </a:extLst>
          </p:cNvPr>
          <p:cNvSpPr/>
          <p:nvPr/>
        </p:nvSpPr>
        <p:spPr>
          <a:xfrm>
            <a:off x="7113867" y="4032797"/>
            <a:ext cx="4100233" cy="246221"/>
          </a:xfrm>
          <a:prstGeom prst="rect">
            <a:avLst/>
          </a:prstGeom>
          <a:noFill/>
          <a:ln/>
        </p:spPr>
        <p:txBody>
          <a:bodyPr wrap="square" lIns="0" tIns="0" rIns="0" bIns="0" rtlCol="0" anchor="t">
            <a:spAutoFit/>
          </a:bodyPr>
          <a:lstStyle/>
          <a:p>
            <a:pPr>
              <a:spcBef>
                <a:spcPts val="400"/>
              </a:spcBef>
              <a:spcAft>
                <a:spcPts val="400"/>
              </a:spcAft>
            </a:pPr>
            <a:r>
              <a:rPr lang="en-US" sz="1600">
                <a:solidFill>
                  <a:schemeClr val="bg2">
                    <a:lumMod val="25000"/>
                  </a:schemeClr>
                </a:solidFill>
                <a:latin typeface="Moderat" panose="020B0604020202020204"/>
                <a:ea typeface="Lato" pitchFamily="34" charset="-122"/>
                <a:cs typeface="Lato" pitchFamily="34" charset="-120"/>
              </a:rPr>
              <a:t>Navigate tension and resistance with confidence</a:t>
            </a:r>
          </a:p>
        </p:txBody>
      </p:sp>
      <p:sp>
        <p:nvSpPr>
          <p:cNvPr id="98" name="Shape 7">
            <a:extLst>
              <a:ext uri="{FF2B5EF4-FFF2-40B4-BE49-F238E27FC236}">
                <a16:creationId xmlns:a16="http://schemas.microsoft.com/office/drawing/2014/main" id="{C6B09ADF-E9D2-506B-6322-0912C6E0F9F7}"/>
              </a:ext>
            </a:extLst>
          </p:cNvPr>
          <p:cNvSpPr/>
          <p:nvPr/>
        </p:nvSpPr>
        <p:spPr>
          <a:xfrm>
            <a:off x="6554332" y="3508579"/>
            <a:ext cx="54000" cy="1215268"/>
          </a:xfrm>
          <a:prstGeom prst="roundRect">
            <a:avLst>
              <a:gd name="adj" fmla="val 0"/>
            </a:avLst>
          </a:prstGeom>
          <a:solidFill>
            <a:schemeClr val="accent5"/>
          </a:solidFill>
          <a:ln>
            <a:noFill/>
          </a:ln>
        </p:spPr>
        <p:txBody>
          <a:bodyPr/>
          <a:lstStyle/>
          <a:p>
            <a:endParaRPr lang="en-IN" sz="1600">
              <a:latin typeface="Moderat" panose="020B0604020202020204"/>
            </a:endParaRPr>
          </a:p>
        </p:txBody>
      </p:sp>
      <p:grpSp>
        <p:nvGrpSpPr>
          <p:cNvPr id="135" name="Group 134">
            <a:extLst>
              <a:ext uri="{FF2B5EF4-FFF2-40B4-BE49-F238E27FC236}">
                <a16:creationId xmlns:a16="http://schemas.microsoft.com/office/drawing/2014/main" id="{E622CD91-457D-2866-74D5-85100FF5C384}"/>
              </a:ext>
            </a:extLst>
          </p:cNvPr>
          <p:cNvGrpSpPr/>
          <p:nvPr/>
        </p:nvGrpSpPr>
        <p:grpSpPr>
          <a:xfrm>
            <a:off x="515936" y="2320599"/>
            <a:ext cx="689054" cy="689054"/>
            <a:chOff x="515936" y="2612699"/>
            <a:chExt cx="689054" cy="689054"/>
          </a:xfrm>
        </p:grpSpPr>
        <p:sp>
          <p:nvSpPr>
            <p:cNvPr id="14" name="Oval 13">
              <a:extLst>
                <a:ext uri="{FF2B5EF4-FFF2-40B4-BE49-F238E27FC236}">
                  <a16:creationId xmlns:a16="http://schemas.microsoft.com/office/drawing/2014/main" id="{4B566B5D-022A-5C83-E954-548359221514}"/>
                </a:ext>
              </a:extLst>
            </p:cNvPr>
            <p:cNvSpPr>
              <a:spLocks noChangeAspect="1"/>
            </p:cNvSpPr>
            <p:nvPr/>
          </p:nvSpPr>
          <p:spPr>
            <a:xfrm>
              <a:off x="515936" y="2612699"/>
              <a:ext cx="689054" cy="68905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Moderat" panose="020B0604020202020204"/>
              </a:endParaRPr>
            </a:p>
          </p:txBody>
        </p:sp>
        <p:pic>
          <p:nvPicPr>
            <p:cNvPr id="131" name="Image 0" descr="Connected with solid fill">
              <a:extLst>
                <a:ext uri="{FF2B5EF4-FFF2-40B4-BE49-F238E27FC236}">
                  <a16:creationId xmlns:a16="http://schemas.microsoft.com/office/drawing/2014/main" id="{F1F4F3B0-7018-C04D-84CB-1DB779A3503F}"/>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10644" y="2707407"/>
              <a:ext cx="499638" cy="499638"/>
            </a:xfrm>
            <a:prstGeom prst="rect">
              <a:avLst/>
            </a:prstGeom>
          </p:spPr>
        </p:pic>
      </p:grpSp>
      <p:grpSp>
        <p:nvGrpSpPr>
          <p:cNvPr id="138" name="Group 137">
            <a:extLst>
              <a:ext uri="{FF2B5EF4-FFF2-40B4-BE49-F238E27FC236}">
                <a16:creationId xmlns:a16="http://schemas.microsoft.com/office/drawing/2014/main" id="{A722738A-2EA1-49E5-F8DB-6583FCFD3757}"/>
              </a:ext>
            </a:extLst>
          </p:cNvPr>
          <p:cNvGrpSpPr/>
          <p:nvPr/>
        </p:nvGrpSpPr>
        <p:grpSpPr>
          <a:xfrm>
            <a:off x="6236805" y="2320599"/>
            <a:ext cx="689054" cy="689054"/>
            <a:chOff x="6236805" y="2612699"/>
            <a:chExt cx="689054" cy="689054"/>
          </a:xfrm>
        </p:grpSpPr>
        <p:sp>
          <p:nvSpPr>
            <p:cNvPr id="74" name="Oval 73">
              <a:extLst>
                <a:ext uri="{FF2B5EF4-FFF2-40B4-BE49-F238E27FC236}">
                  <a16:creationId xmlns:a16="http://schemas.microsoft.com/office/drawing/2014/main" id="{EBD7848E-4D5E-21E5-C205-4AB0301D4CD8}"/>
                </a:ext>
              </a:extLst>
            </p:cNvPr>
            <p:cNvSpPr>
              <a:spLocks noChangeAspect="1"/>
            </p:cNvSpPr>
            <p:nvPr/>
          </p:nvSpPr>
          <p:spPr>
            <a:xfrm>
              <a:off x="6236805" y="2612699"/>
              <a:ext cx="689054" cy="68905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Moderat" panose="020B0604020202020204"/>
              </a:endParaRPr>
            </a:p>
          </p:txBody>
        </p:sp>
        <p:pic>
          <p:nvPicPr>
            <p:cNvPr id="132" name="Image 1" descr="Shield Tick outline">
              <a:extLst>
                <a:ext uri="{FF2B5EF4-FFF2-40B4-BE49-F238E27FC236}">
                  <a16:creationId xmlns:a16="http://schemas.microsoft.com/office/drawing/2014/main" id="{8AFD09EE-2BB3-DE09-FAE5-DE4A20F0546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306531" y="2682425"/>
              <a:ext cx="549602" cy="549602"/>
            </a:xfrm>
            <a:prstGeom prst="rect">
              <a:avLst/>
            </a:prstGeom>
          </p:spPr>
        </p:pic>
      </p:grpSp>
      <p:grpSp>
        <p:nvGrpSpPr>
          <p:cNvPr id="137" name="Group 136">
            <a:extLst>
              <a:ext uri="{FF2B5EF4-FFF2-40B4-BE49-F238E27FC236}">
                <a16:creationId xmlns:a16="http://schemas.microsoft.com/office/drawing/2014/main" id="{55E43388-7659-A740-F236-6D522F1AA6B4}"/>
              </a:ext>
            </a:extLst>
          </p:cNvPr>
          <p:cNvGrpSpPr/>
          <p:nvPr/>
        </p:nvGrpSpPr>
        <p:grpSpPr>
          <a:xfrm>
            <a:off x="6236805" y="3771686"/>
            <a:ext cx="689054" cy="689054"/>
            <a:chOff x="6236805" y="4063786"/>
            <a:chExt cx="689054" cy="689054"/>
          </a:xfrm>
        </p:grpSpPr>
        <p:sp>
          <p:nvSpPr>
            <p:cNvPr id="99" name="Oval 98">
              <a:extLst>
                <a:ext uri="{FF2B5EF4-FFF2-40B4-BE49-F238E27FC236}">
                  <a16:creationId xmlns:a16="http://schemas.microsoft.com/office/drawing/2014/main" id="{04C9578C-17AB-753D-AFA2-01347A7D519E}"/>
                </a:ext>
              </a:extLst>
            </p:cNvPr>
            <p:cNvSpPr>
              <a:spLocks noChangeAspect="1"/>
            </p:cNvSpPr>
            <p:nvPr/>
          </p:nvSpPr>
          <p:spPr>
            <a:xfrm>
              <a:off x="6236805" y="4063786"/>
              <a:ext cx="689054" cy="68905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Moderat" panose="020B0604020202020204"/>
              </a:endParaRPr>
            </a:p>
          </p:txBody>
        </p:sp>
        <p:pic>
          <p:nvPicPr>
            <p:cNvPr id="133" name="Image 3" descr="Spinning Plates with solid fill">
              <a:extLst>
                <a:ext uri="{FF2B5EF4-FFF2-40B4-BE49-F238E27FC236}">
                  <a16:creationId xmlns:a16="http://schemas.microsoft.com/office/drawing/2014/main" id="{5A2A18CE-AF2D-17E2-4390-ED65C2B887C9}"/>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6331513" y="4158494"/>
              <a:ext cx="499638" cy="499638"/>
            </a:xfrm>
            <a:prstGeom prst="rect">
              <a:avLst/>
            </a:prstGeom>
          </p:spPr>
        </p:pic>
      </p:grpSp>
      <p:grpSp>
        <p:nvGrpSpPr>
          <p:cNvPr id="136" name="Group 135">
            <a:extLst>
              <a:ext uri="{FF2B5EF4-FFF2-40B4-BE49-F238E27FC236}">
                <a16:creationId xmlns:a16="http://schemas.microsoft.com/office/drawing/2014/main" id="{DA1D36E3-F8F2-45B2-5348-825512F7DA37}"/>
              </a:ext>
            </a:extLst>
          </p:cNvPr>
          <p:cNvGrpSpPr/>
          <p:nvPr/>
        </p:nvGrpSpPr>
        <p:grpSpPr>
          <a:xfrm>
            <a:off x="515936" y="3771686"/>
            <a:ext cx="689054" cy="689054"/>
            <a:chOff x="515936" y="4063786"/>
            <a:chExt cx="689054" cy="689054"/>
          </a:xfrm>
        </p:grpSpPr>
        <p:sp>
          <p:nvSpPr>
            <p:cNvPr id="49" name="Oval 48">
              <a:extLst>
                <a:ext uri="{FF2B5EF4-FFF2-40B4-BE49-F238E27FC236}">
                  <a16:creationId xmlns:a16="http://schemas.microsoft.com/office/drawing/2014/main" id="{3C5FD46F-95E0-5952-E34F-2D767A204EFA}"/>
                </a:ext>
              </a:extLst>
            </p:cNvPr>
            <p:cNvSpPr>
              <a:spLocks noChangeAspect="1"/>
            </p:cNvSpPr>
            <p:nvPr/>
          </p:nvSpPr>
          <p:spPr>
            <a:xfrm>
              <a:off x="515936" y="4063786"/>
              <a:ext cx="689054" cy="68905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Moderat" panose="020B0604020202020204"/>
              </a:endParaRPr>
            </a:p>
          </p:txBody>
        </p:sp>
        <p:pic>
          <p:nvPicPr>
            <p:cNvPr id="134" name="Image 2" descr="Abacus with solid fill">
              <a:extLst>
                <a:ext uri="{FF2B5EF4-FFF2-40B4-BE49-F238E27FC236}">
                  <a16:creationId xmlns:a16="http://schemas.microsoft.com/office/drawing/2014/main" id="{4E8EAFA3-3027-B7B5-E6A6-622E78D3F596}"/>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633355" y="4181205"/>
              <a:ext cx="454216" cy="454216"/>
            </a:xfrm>
            <a:prstGeom prst="rect">
              <a:avLst/>
            </a:prstGeom>
          </p:spPr>
        </p:pic>
      </p:grpSp>
    </p:spTree>
    <p:extLst>
      <p:ext uri="{BB962C8B-B14F-4D97-AF65-F5344CB8AC3E}">
        <p14:creationId xmlns:p14="http://schemas.microsoft.com/office/powerpoint/2010/main" val="28683762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6D0ACA-CF8B-CCBD-8B74-7A23C0D64487}"/>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17D08C2-BF78-1DCD-7FF1-E0203097EA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think-cell data - do not delete" hidden="1">
                        <a:extLst>
                          <a:ext uri="{FF2B5EF4-FFF2-40B4-BE49-F238E27FC236}">
                            <a16:creationId xmlns:a16="http://schemas.microsoft.com/office/drawing/2014/main" id="{D17D08C2-BF78-1DCD-7FF1-E0203097EA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D7F7F0F-90D8-945C-10E2-7D256F529A2E}"/>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latin typeface="Moderat" pitchFamily="2" charset="77"/>
              </a:rPr>
              <a:t>People Leader Academy (pipeline to director)</a:t>
            </a:r>
          </a:p>
        </p:txBody>
      </p:sp>
      <p:grpSp>
        <p:nvGrpSpPr>
          <p:cNvPr id="3" name="Group 2">
            <a:extLst>
              <a:ext uri="{FF2B5EF4-FFF2-40B4-BE49-F238E27FC236}">
                <a16:creationId xmlns:a16="http://schemas.microsoft.com/office/drawing/2014/main" id="{2A269BFC-D865-269B-2655-B630860AF06E}"/>
              </a:ext>
            </a:extLst>
          </p:cNvPr>
          <p:cNvGrpSpPr/>
          <p:nvPr/>
        </p:nvGrpSpPr>
        <p:grpSpPr>
          <a:xfrm>
            <a:off x="384526" y="5158182"/>
            <a:ext cx="3241476" cy="1178719"/>
            <a:chOff x="928330" y="6372344"/>
            <a:chExt cx="4123253" cy="1178719"/>
          </a:xfrm>
        </p:grpSpPr>
        <p:sp>
          <p:nvSpPr>
            <p:cNvPr id="4" name="Shape 14">
              <a:extLst>
                <a:ext uri="{FF2B5EF4-FFF2-40B4-BE49-F238E27FC236}">
                  <a16:creationId xmlns:a16="http://schemas.microsoft.com/office/drawing/2014/main" id="{A663BE5B-FFDE-0E83-0F11-F9EC0E183658}"/>
                </a:ext>
              </a:extLst>
            </p:cNvPr>
            <p:cNvSpPr/>
            <p:nvPr/>
          </p:nvSpPr>
          <p:spPr>
            <a:xfrm>
              <a:off x="928330" y="6372344"/>
              <a:ext cx="4123253" cy="1178719"/>
            </a:xfrm>
            <a:prstGeom prst="roundRect">
              <a:avLst>
                <a:gd name="adj" fmla="val 7196"/>
              </a:avLst>
            </a:prstGeom>
            <a:solidFill>
              <a:srgbClr val="015465"/>
            </a:solidFill>
            <a:ln w="7620">
              <a:solidFill>
                <a:srgbClr val="1A6D7E"/>
              </a:solidFill>
              <a:prstDash val="solid"/>
            </a:ln>
          </p:spPr>
          <p:txBody>
            <a:bodyPr/>
            <a:lstStyle/>
            <a:p>
              <a:endParaRPr lang="en-US"/>
            </a:p>
          </p:txBody>
        </p:sp>
        <p:sp>
          <p:nvSpPr>
            <p:cNvPr id="5" name="Text 15">
              <a:extLst>
                <a:ext uri="{FF2B5EF4-FFF2-40B4-BE49-F238E27FC236}">
                  <a16:creationId xmlns:a16="http://schemas.microsoft.com/office/drawing/2014/main" id="{80BE6112-2561-5929-B272-C2922F5FF9C0}"/>
                </a:ext>
              </a:extLst>
            </p:cNvPr>
            <p:cNvSpPr/>
            <p:nvPr/>
          </p:nvSpPr>
          <p:spPr>
            <a:xfrm>
              <a:off x="1137880" y="6581894"/>
              <a:ext cx="2524363" cy="315516"/>
            </a:xfrm>
            <a:prstGeom prst="rect">
              <a:avLst/>
            </a:prstGeom>
            <a:noFill/>
            <a:ln/>
          </p:spPr>
          <p:txBody>
            <a:bodyPr wrap="none" lIns="0" tIns="0" rIns="0" bIns="0" rtlCol="0" anchor="t"/>
            <a:lstStyle/>
            <a:p>
              <a:pPr marL="0" indent="0" algn="l">
                <a:lnSpc>
                  <a:spcPts val="2450"/>
                </a:lnSpc>
                <a:buNone/>
              </a:pPr>
              <a:r>
                <a:rPr lang="en-US" sz="1950" b="1">
                  <a:solidFill>
                    <a:srgbClr val="FFFFFF"/>
                  </a:solidFill>
                  <a:latin typeface="Inter Bold" pitchFamily="34" charset="0"/>
                  <a:ea typeface="Inter Bold" pitchFamily="34" charset="-122"/>
                  <a:cs typeface="Inter Bold" pitchFamily="34" charset="-120"/>
                </a:rPr>
                <a:t>Systems Thinking</a:t>
              </a:r>
              <a:endParaRPr lang="en-US" sz="1950"/>
            </a:p>
          </p:txBody>
        </p:sp>
        <p:sp>
          <p:nvSpPr>
            <p:cNvPr id="7" name="Text 16">
              <a:extLst>
                <a:ext uri="{FF2B5EF4-FFF2-40B4-BE49-F238E27FC236}">
                  <a16:creationId xmlns:a16="http://schemas.microsoft.com/office/drawing/2014/main" id="{D982AB76-865B-4239-FBF1-50F83230DC9D}"/>
                </a:ext>
              </a:extLst>
            </p:cNvPr>
            <p:cNvSpPr/>
            <p:nvPr/>
          </p:nvSpPr>
          <p:spPr>
            <a:xfrm>
              <a:off x="1137880" y="7018496"/>
              <a:ext cx="3704153" cy="323017"/>
            </a:xfrm>
            <a:prstGeom prst="rect">
              <a:avLst/>
            </a:prstGeom>
            <a:noFill/>
            <a:ln/>
          </p:spPr>
          <p:txBody>
            <a:bodyPr wrap="none" lIns="0" tIns="0" rIns="0" bIns="0" rtlCol="0" anchor="t"/>
            <a:lstStyle/>
            <a:p>
              <a:pPr marL="0" indent="0" algn="l">
                <a:lnSpc>
                  <a:spcPts val="2500"/>
                </a:lnSpc>
                <a:buNone/>
              </a:pPr>
              <a:r>
                <a:rPr lang="en-US" sz="1550">
                  <a:solidFill>
                    <a:srgbClr val="FFFFFF"/>
                  </a:solidFill>
                  <a:latin typeface="Inter" pitchFamily="34" charset="0"/>
                  <a:ea typeface="Inter" pitchFamily="34" charset="-122"/>
                  <a:cs typeface="Inter" pitchFamily="34" charset="-120"/>
                </a:rPr>
                <a:t>Enterprise-level strategic perspective</a:t>
              </a:r>
              <a:endParaRPr lang="en-US" sz="1550"/>
            </a:p>
          </p:txBody>
        </p:sp>
      </p:grpSp>
      <p:grpSp>
        <p:nvGrpSpPr>
          <p:cNvPr id="9" name="Group 8">
            <a:extLst>
              <a:ext uri="{FF2B5EF4-FFF2-40B4-BE49-F238E27FC236}">
                <a16:creationId xmlns:a16="http://schemas.microsoft.com/office/drawing/2014/main" id="{F7106144-8F58-DC95-9054-85BD3FF54845}"/>
              </a:ext>
            </a:extLst>
          </p:cNvPr>
          <p:cNvGrpSpPr/>
          <p:nvPr/>
        </p:nvGrpSpPr>
        <p:grpSpPr>
          <a:xfrm>
            <a:off x="4409510" y="5158182"/>
            <a:ext cx="3241476" cy="1178719"/>
            <a:chOff x="5253514" y="6372344"/>
            <a:chExt cx="4123253" cy="1178719"/>
          </a:xfrm>
        </p:grpSpPr>
        <p:sp>
          <p:nvSpPr>
            <p:cNvPr id="10" name="Shape 17">
              <a:extLst>
                <a:ext uri="{FF2B5EF4-FFF2-40B4-BE49-F238E27FC236}">
                  <a16:creationId xmlns:a16="http://schemas.microsoft.com/office/drawing/2014/main" id="{09DF297E-D502-679F-E59A-1587C01B2DAD}"/>
                </a:ext>
              </a:extLst>
            </p:cNvPr>
            <p:cNvSpPr/>
            <p:nvPr/>
          </p:nvSpPr>
          <p:spPr>
            <a:xfrm>
              <a:off x="5253514" y="6372344"/>
              <a:ext cx="4123253" cy="1178719"/>
            </a:xfrm>
            <a:prstGeom prst="roundRect">
              <a:avLst>
                <a:gd name="adj" fmla="val 7196"/>
              </a:avLst>
            </a:prstGeom>
            <a:solidFill>
              <a:srgbClr val="015465"/>
            </a:solidFill>
            <a:ln w="7620">
              <a:solidFill>
                <a:srgbClr val="1A6D7E"/>
              </a:solidFill>
              <a:prstDash val="solid"/>
            </a:ln>
          </p:spPr>
          <p:txBody>
            <a:bodyPr/>
            <a:lstStyle/>
            <a:p>
              <a:endParaRPr lang="en-US"/>
            </a:p>
          </p:txBody>
        </p:sp>
        <p:sp>
          <p:nvSpPr>
            <p:cNvPr id="14" name="Text 18">
              <a:extLst>
                <a:ext uri="{FF2B5EF4-FFF2-40B4-BE49-F238E27FC236}">
                  <a16:creationId xmlns:a16="http://schemas.microsoft.com/office/drawing/2014/main" id="{8A5631E5-CEAC-16B7-2ACF-1E0079A1890A}"/>
                </a:ext>
              </a:extLst>
            </p:cNvPr>
            <p:cNvSpPr/>
            <p:nvPr/>
          </p:nvSpPr>
          <p:spPr>
            <a:xfrm>
              <a:off x="5463064" y="6581894"/>
              <a:ext cx="2524363" cy="315516"/>
            </a:xfrm>
            <a:prstGeom prst="rect">
              <a:avLst/>
            </a:prstGeom>
            <a:noFill/>
            <a:ln/>
          </p:spPr>
          <p:txBody>
            <a:bodyPr wrap="none" lIns="0" tIns="0" rIns="0" bIns="0" rtlCol="0" anchor="t"/>
            <a:lstStyle/>
            <a:p>
              <a:pPr marL="0" indent="0" algn="l">
                <a:lnSpc>
                  <a:spcPts val="2450"/>
                </a:lnSpc>
                <a:buNone/>
              </a:pPr>
              <a:r>
                <a:rPr lang="en-US" sz="1950" b="1">
                  <a:solidFill>
                    <a:srgbClr val="FFFFFF"/>
                  </a:solidFill>
                  <a:latin typeface="Inter Bold" pitchFamily="34" charset="0"/>
                  <a:ea typeface="Inter Bold" pitchFamily="34" charset="-122"/>
                  <a:cs typeface="Inter Bold" pitchFamily="34" charset="-120"/>
                </a:rPr>
                <a:t>Leadership Labs</a:t>
              </a:r>
              <a:endParaRPr lang="en-US" sz="1950"/>
            </a:p>
          </p:txBody>
        </p:sp>
        <p:sp>
          <p:nvSpPr>
            <p:cNvPr id="16" name="Text 19">
              <a:extLst>
                <a:ext uri="{FF2B5EF4-FFF2-40B4-BE49-F238E27FC236}">
                  <a16:creationId xmlns:a16="http://schemas.microsoft.com/office/drawing/2014/main" id="{A3CE8CE2-4E1D-7678-4F7C-881E06611003}"/>
                </a:ext>
              </a:extLst>
            </p:cNvPr>
            <p:cNvSpPr/>
            <p:nvPr/>
          </p:nvSpPr>
          <p:spPr>
            <a:xfrm>
              <a:off x="5463064" y="7018496"/>
              <a:ext cx="3704153" cy="323017"/>
            </a:xfrm>
            <a:prstGeom prst="rect">
              <a:avLst/>
            </a:prstGeom>
            <a:noFill/>
            <a:ln/>
          </p:spPr>
          <p:txBody>
            <a:bodyPr wrap="none" lIns="0" tIns="0" rIns="0" bIns="0" rtlCol="0" anchor="t"/>
            <a:lstStyle/>
            <a:p>
              <a:pPr marL="0" indent="0" algn="l">
                <a:lnSpc>
                  <a:spcPts val="2500"/>
                </a:lnSpc>
                <a:buNone/>
              </a:pPr>
              <a:r>
                <a:rPr lang="en-US" sz="1550">
                  <a:solidFill>
                    <a:srgbClr val="FFFFFF"/>
                  </a:solidFill>
                  <a:latin typeface="Inter" pitchFamily="34" charset="0"/>
                  <a:ea typeface="Inter" pitchFamily="34" charset="-122"/>
                  <a:cs typeface="Inter" pitchFamily="34" charset="-120"/>
                </a:rPr>
                <a:t>Scenario practice &amp; real cases</a:t>
              </a:r>
              <a:endParaRPr lang="en-US" sz="1550"/>
            </a:p>
          </p:txBody>
        </p:sp>
      </p:grpSp>
      <p:grpSp>
        <p:nvGrpSpPr>
          <p:cNvPr id="18" name="Group 17">
            <a:extLst>
              <a:ext uri="{FF2B5EF4-FFF2-40B4-BE49-F238E27FC236}">
                <a16:creationId xmlns:a16="http://schemas.microsoft.com/office/drawing/2014/main" id="{2EC8EC04-6A6E-85B9-5E15-BE4496A2E849}"/>
              </a:ext>
            </a:extLst>
          </p:cNvPr>
          <p:cNvGrpSpPr/>
          <p:nvPr/>
        </p:nvGrpSpPr>
        <p:grpSpPr>
          <a:xfrm>
            <a:off x="8434493" y="5158182"/>
            <a:ext cx="3241570" cy="1178719"/>
            <a:chOff x="9578697" y="6372344"/>
            <a:chExt cx="4123373" cy="1178719"/>
          </a:xfrm>
        </p:grpSpPr>
        <p:sp>
          <p:nvSpPr>
            <p:cNvPr id="24" name="Shape 20">
              <a:extLst>
                <a:ext uri="{FF2B5EF4-FFF2-40B4-BE49-F238E27FC236}">
                  <a16:creationId xmlns:a16="http://schemas.microsoft.com/office/drawing/2014/main" id="{76EACD98-6450-7926-1690-40A18FB283AD}"/>
                </a:ext>
              </a:extLst>
            </p:cNvPr>
            <p:cNvSpPr/>
            <p:nvPr/>
          </p:nvSpPr>
          <p:spPr>
            <a:xfrm>
              <a:off x="9578697" y="6372344"/>
              <a:ext cx="4123373" cy="1178719"/>
            </a:xfrm>
            <a:prstGeom prst="roundRect">
              <a:avLst>
                <a:gd name="adj" fmla="val 7196"/>
              </a:avLst>
            </a:prstGeom>
            <a:solidFill>
              <a:srgbClr val="015465"/>
            </a:solidFill>
            <a:ln w="7620">
              <a:solidFill>
                <a:srgbClr val="1A6D7E"/>
              </a:solidFill>
              <a:prstDash val="solid"/>
            </a:ln>
          </p:spPr>
          <p:txBody>
            <a:bodyPr/>
            <a:lstStyle/>
            <a:p>
              <a:endParaRPr lang="en-US"/>
            </a:p>
          </p:txBody>
        </p:sp>
        <p:sp>
          <p:nvSpPr>
            <p:cNvPr id="25" name="Text 21">
              <a:extLst>
                <a:ext uri="{FF2B5EF4-FFF2-40B4-BE49-F238E27FC236}">
                  <a16:creationId xmlns:a16="http://schemas.microsoft.com/office/drawing/2014/main" id="{60B7AA05-56E7-0C7D-3526-7626908DE845}"/>
                </a:ext>
              </a:extLst>
            </p:cNvPr>
            <p:cNvSpPr/>
            <p:nvPr/>
          </p:nvSpPr>
          <p:spPr>
            <a:xfrm>
              <a:off x="9788247" y="6581894"/>
              <a:ext cx="2524363" cy="315516"/>
            </a:xfrm>
            <a:prstGeom prst="rect">
              <a:avLst/>
            </a:prstGeom>
            <a:noFill/>
            <a:ln/>
          </p:spPr>
          <p:txBody>
            <a:bodyPr wrap="none" lIns="0" tIns="0" rIns="0" bIns="0" rtlCol="0" anchor="t"/>
            <a:lstStyle/>
            <a:p>
              <a:pPr marL="0" indent="0" algn="l">
                <a:lnSpc>
                  <a:spcPts val="2450"/>
                </a:lnSpc>
                <a:buNone/>
              </a:pPr>
              <a:r>
                <a:rPr lang="en-US" sz="1950" b="1">
                  <a:solidFill>
                    <a:srgbClr val="FFFFFF"/>
                  </a:solidFill>
                  <a:latin typeface="Inter Bold" pitchFamily="34" charset="0"/>
                  <a:ea typeface="Inter Bold" pitchFamily="34" charset="-122"/>
                  <a:cs typeface="Inter Bold" pitchFamily="34" charset="-120"/>
                </a:rPr>
                <a:t>Ready-Now Pipeline</a:t>
              </a:r>
              <a:endParaRPr lang="en-US" sz="1950"/>
            </a:p>
          </p:txBody>
        </p:sp>
        <p:sp>
          <p:nvSpPr>
            <p:cNvPr id="26" name="Text 22">
              <a:extLst>
                <a:ext uri="{FF2B5EF4-FFF2-40B4-BE49-F238E27FC236}">
                  <a16:creationId xmlns:a16="http://schemas.microsoft.com/office/drawing/2014/main" id="{DB2CCFC5-1021-5581-1C02-6167F09E5FB6}"/>
                </a:ext>
              </a:extLst>
            </p:cNvPr>
            <p:cNvSpPr/>
            <p:nvPr/>
          </p:nvSpPr>
          <p:spPr>
            <a:xfrm>
              <a:off x="9788247" y="7018496"/>
              <a:ext cx="3704273" cy="323017"/>
            </a:xfrm>
            <a:prstGeom prst="rect">
              <a:avLst/>
            </a:prstGeom>
            <a:noFill/>
            <a:ln/>
          </p:spPr>
          <p:txBody>
            <a:bodyPr wrap="none" lIns="0" tIns="0" rIns="0" bIns="0" rtlCol="0" anchor="t"/>
            <a:lstStyle/>
            <a:p>
              <a:pPr marL="0" indent="0" algn="l">
                <a:lnSpc>
                  <a:spcPts val="2500"/>
                </a:lnSpc>
                <a:buNone/>
              </a:pPr>
              <a:r>
                <a:rPr lang="en-US" sz="1550">
                  <a:solidFill>
                    <a:srgbClr val="FFFFFF"/>
                  </a:solidFill>
                  <a:latin typeface="Inter" pitchFamily="34" charset="0"/>
                  <a:ea typeface="Inter" pitchFamily="34" charset="-122"/>
                  <a:cs typeface="Inter" pitchFamily="34" charset="-120"/>
                </a:rPr>
                <a:t>Unified leadership language</a:t>
              </a:r>
              <a:endParaRPr lang="en-US" sz="1550"/>
            </a:p>
          </p:txBody>
        </p:sp>
      </p:grpSp>
      <p:sp>
        <p:nvSpPr>
          <p:cNvPr id="50" name="Rounded Rectangle 49">
            <a:extLst>
              <a:ext uri="{FF2B5EF4-FFF2-40B4-BE49-F238E27FC236}">
                <a16:creationId xmlns:a16="http://schemas.microsoft.com/office/drawing/2014/main" id="{90FB70FC-C94B-7FB6-F8BF-AE2E1FD8C4C9}"/>
              </a:ext>
            </a:extLst>
          </p:cNvPr>
          <p:cNvSpPr/>
          <p:nvPr/>
        </p:nvSpPr>
        <p:spPr>
          <a:xfrm>
            <a:off x="169839" y="1260433"/>
            <a:ext cx="5481661" cy="3783449"/>
          </a:xfrm>
          <a:prstGeom prst="round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ounded Rectangle 50">
            <a:extLst>
              <a:ext uri="{FF2B5EF4-FFF2-40B4-BE49-F238E27FC236}">
                <a16:creationId xmlns:a16="http://schemas.microsoft.com/office/drawing/2014/main" id="{2BF27BEF-95C5-3278-74BA-DB0B28A75F94}"/>
              </a:ext>
            </a:extLst>
          </p:cNvPr>
          <p:cNvSpPr/>
          <p:nvPr/>
        </p:nvSpPr>
        <p:spPr>
          <a:xfrm>
            <a:off x="6540229" y="1260433"/>
            <a:ext cx="5481661" cy="3783449"/>
          </a:xfrm>
          <a:prstGeom prst="round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9" name="Picture 68" descr="A diagram of a diagram&#10;&#10;AI-generated content may be incorrect.">
            <a:extLst>
              <a:ext uri="{FF2B5EF4-FFF2-40B4-BE49-F238E27FC236}">
                <a16:creationId xmlns:a16="http://schemas.microsoft.com/office/drawing/2014/main" id="{CB0C24CE-A787-6A90-C489-BB3798A3C872}"/>
              </a:ext>
            </a:extLst>
          </p:cNvPr>
          <p:cNvPicPr>
            <a:picLocks noChangeAspect="1"/>
          </p:cNvPicPr>
          <p:nvPr/>
        </p:nvPicPr>
        <p:blipFill>
          <a:blip r:embed="rId5"/>
          <a:stretch>
            <a:fillRect/>
          </a:stretch>
        </p:blipFill>
        <p:spPr>
          <a:xfrm>
            <a:off x="6636907" y="1394720"/>
            <a:ext cx="5481661" cy="3487244"/>
          </a:xfrm>
          <a:prstGeom prst="rect">
            <a:avLst/>
          </a:prstGeom>
        </p:spPr>
      </p:pic>
      <p:pic>
        <p:nvPicPr>
          <p:cNvPr id="73" name="Picture 72" descr="A diagram of a diagram&#10;&#10;AI-generated content may be incorrect.">
            <a:extLst>
              <a:ext uri="{FF2B5EF4-FFF2-40B4-BE49-F238E27FC236}">
                <a16:creationId xmlns:a16="http://schemas.microsoft.com/office/drawing/2014/main" id="{6F7C3380-9DE4-95B7-297A-CEB5CCA32078}"/>
              </a:ext>
            </a:extLst>
          </p:cNvPr>
          <p:cNvPicPr>
            <a:picLocks noChangeAspect="1"/>
          </p:cNvPicPr>
          <p:nvPr/>
        </p:nvPicPr>
        <p:blipFill>
          <a:blip r:embed="rId6"/>
          <a:stretch>
            <a:fillRect/>
          </a:stretch>
        </p:blipFill>
        <p:spPr>
          <a:xfrm>
            <a:off x="-265948" y="1453493"/>
            <a:ext cx="6435502" cy="3428471"/>
          </a:xfrm>
          <a:prstGeom prst="rect">
            <a:avLst/>
          </a:prstGeom>
        </p:spPr>
      </p:pic>
    </p:spTree>
    <p:extLst>
      <p:ext uri="{BB962C8B-B14F-4D97-AF65-F5344CB8AC3E}">
        <p14:creationId xmlns:p14="http://schemas.microsoft.com/office/powerpoint/2010/main" val="22223056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5FCBA71-635C-605B-7697-425E7C23425D}"/>
              </a:ext>
            </a:extLst>
          </p:cNvPr>
          <p:cNvGraphicFramePr>
            <a:graphicFrameLocks noChangeAspect="1"/>
          </p:cNvGraphicFramePr>
          <p:nvPr>
            <p:custDataLst>
              <p:tags r:id="rId1"/>
            </p:custDataLst>
            <p:extLst>
              <p:ext uri="{D42A27DB-BD31-4B8C-83A1-F6EECF244321}">
                <p14:modId xmlns:p14="http://schemas.microsoft.com/office/powerpoint/2010/main" val="2120478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think-cell data - do not delete" hidden="1">
                        <a:extLst>
                          <a:ext uri="{FF2B5EF4-FFF2-40B4-BE49-F238E27FC236}">
                            <a16:creationId xmlns:a16="http://schemas.microsoft.com/office/drawing/2014/main" id="{A5FCBA71-635C-605B-7697-425E7C2342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5791D46-46B2-851F-C88B-3C8B469E9926}"/>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latin typeface="Moderat" pitchFamily="2" charset="77"/>
              </a:rPr>
              <a:t>Coaching Next Line Leaders</a:t>
            </a:r>
          </a:p>
        </p:txBody>
      </p:sp>
      <p:sp>
        <p:nvSpPr>
          <p:cNvPr id="3" name="Text 3">
            <a:extLst>
              <a:ext uri="{FF2B5EF4-FFF2-40B4-BE49-F238E27FC236}">
                <a16:creationId xmlns:a16="http://schemas.microsoft.com/office/drawing/2014/main" id="{72852D27-1439-B63E-DDC1-CEBA03F2EDE4}"/>
              </a:ext>
            </a:extLst>
          </p:cNvPr>
          <p:cNvSpPr/>
          <p:nvPr/>
        </p:nvSpPr>
        <p:spPr>
          <a:xfrm>
            <a:off x="515938" y="1284952"/>
            <a:ext cx="11402259" cy="317313"/>
          </a:xfrm>
          <a:prstGeom prst="rect">
            <a:avLst/>
          </a:prstGeom>
          <a:noFill/>
          <a:ln/>
        </p:spPr>
        <p:txBody>
          <a:bodyPr wrap="square" lIns="0" tIns="0" rIns="0" bIns="0" rtlCol="0" anchor="t"/>
          <a:lstStyle/>
          <a:p>
            <a:pPr marL="0" indent="0" algn="l">
              <a:lnSpc>
                <a:spcPts val="1950"/>
              </a:lnSpc>
              <a:buNone/>
            </a:pPr>
            <a:r>
              <a:rPr lang="en-US">
                <a:solidFill>
                  <a:srgbClr val="333333"/>
                </a:solidFill>
                <a:latin typeface="Inter" pitchFamily="34" charset="0"/>
                <a:ea typeface="Inter" pitchFamily="34" charset="-122"/>
                <a:cs typeface="Inter" pitchFamily="34" charset="-120"/>
              </a:rPr>
              <a:t>Transform your leaders from performance managers into people developers who are creating a sustainable talent pipeline that drives retention, succession, and long-term growth.</a:t>
            </a:r>
            <a:endParaRPr lang="en-US"/>
          </a:p>
        </p:txBody>
      </p:sp>
      <p:sp>
        <p:nvSpPr>
          <p:cNvPr id="4" name="Text 4">
            <a:extLst>
              <a:ext uri="{FF2B5EF4-FFF2-40B4-BE49-F238E27FC236}">
                <a16:creationId xmlns:a16="http://schemas.microsoft.com/office/drawing/2014/main" id="{2BE99FC9-677F-6F61-2A29-1AC48B77885D}"/>
              </a:ext>
            </a:extLst>
          </p:cNvPr>
          <p:cNvSpPr/>
          <p:nvPr/>
        </p:nvSpPr>
        <p:spPr>
          <a:xfrm>
            <a:off x="515938" y="2076620"/>
            <a:ext cx="1980962" cy="247650"/>
          </a:xfrm>
          <a:prstGeom prst="rect">
            <a:avLst/>
          </a:prstGeom>
          <a:noFill/>
          <a:ln/>
        </p:spPr>
        <p:txBody>
          <a:bodyPr wrap="none" lIns="0" tIns="0" rIns="0" bIns="0" rtlCol="0" anchor="t"/>
          <a:lstStyle/>
          <a:p>
            <a:pPr marL="0" indent="0" algn="l">
              <a:lnSpc>
                <a:spcPts val="1900"/>
              </a:lnSpc>
              <a:buNone/>
            </a:pPr>
            <a:r>
              <a:rPr lang="en-US" sz="1550" b="1">
                <a:solidFill>
                  <a:srgbClr val="12676B"/>
                </a:solidFill>
                <a:latin typeface="Inter Bold" pitchFamily="34" charset="0"/>
                <a:ea typeface="Inter Bold" pitchFamily="34" charset="-122"/>
                <a:cs typeface="Inter Bold" pitchFamily="34" charset="-120"/>
              </a:rPr>
              <a:t>Why It Matters</a:t>
            </a:r>
            <a:endParaRPr lang="en-US" sz="1550"/>
          </a:p>
        </p:txBody>
      </p:sp>
      <p:sp>
        <p:nvSpPr>
          <p:cNvPr id="5" name="Text 5">
            <a:extLst>
              <a:ext uri="{FF2B5EF4-FFF2-40B4-BE49-F238E27FC236}">
                <a16:creationId xmlns:a16="http://schemas.microsoft.com/office/drawing/2014/main" id="{8D7533B0-268A-F1DD-CB08-70C3F136968E}"/>
              </a:ext>
            </a:extLst>
          </p:cNvPr>
          <p:cNvSpPr/>
          <p:nvPr/>
        </p:nvSpPr>
        <p:spPr>
          <a:xfrm>
            <a:off x="515939" y="2374256"/>
            <a:ext cx="3429000" cy="1013936"/>
          </a:xfrm>
          <a:prstGeom prst="rect">
            <a:avLst/>
          </a:prstGeom>
          <a:noFill/>
          <a:ln/>
        </p:spPr>
        <p:txBody>
          <a:bodyPr wrap="square" lIns="0" tIns="0" rIns="0" bIns="0" rtlCol="0" anchor="t"/>
          <a:lstStyle/>
          <a:p>
            <a:pPr marL="0" indent="0" algn="l">
              <a:lnSpc>
                <a:spcPts val="1950"/>
              </a:lnSpc>
              <a:buNone/>
            </a:pPr>
            <a:r>
              <a:rPr lang="en-US" sz="1600" b="1">
                <a:solidFill>
                  <a:srgbClr val="333333"/>
                </a:solidFill>
                <a:latin typeface="Inter" pitchFamily="34" charset="0"/>
                <a:ea typeface="Inter" pitchFamily="34" charset="-122"/>
                <a:cs typeface="Inter" pitchFamily="34" charset="-120"/>
              </a:rPr>
              <a:t>Growth demands leadership evolution.</a:t>
            </a:r>
            <a:r>
              <a:rPr lang="en-US" sz="1600">
                <a:solidFill>
                  <a:srgbClr val="333333"/>
                </a:solidFill>
                <a:latin typeface="Inter" pitchFamily="34" charset="0"/>
                <a:ea typeface="Inter" pitchFamily="34" charset="-122"/>
                <a:cs typeface="Inter" pitchFamily="34" charset="-120"/>
              </a:rPr>
              <a:t> As organizations scale, traditional management falls short causing retention risks to spike and succession gaps to widen without intentional people development.</a:t>
            </a:r>
            <a:endParaRPr lang="en-US" sz="1600"/>
          </a:p>
        </p:txBody>
      </p:sp>
      <p:sp>
        <p:nvSpPr>
          <p:cNvPr id="7" name="Text 6">
            <a:extLst>
              <a:ext uri="{FF2B5EF4-FFF2-40B4-BE49-F238E27FC236}">
                <a16:creationId xmlns:a16="http://schemas.microsoft.com/office/drawing/2014/main" id="{BB2F990D-5187-EB4F-0360-9B2E73ED1645}"/>
              </a:ext>
            </a:extLst>
          </p:cNvPr>
          <p:cNvSpPr/>
          <p:nvPr/>
        </p:nvSpPr>
        <p:spPr>
          <a:xfrm>
            <a:off x="4527415" y="2076620"/>
            <a:ext cx="1980962" cy="247650"/>
          </a:xfrm>
          <a:prstGeom prst="rect">
            <a:avLst/>
          </a:prstGeom>
          <a:noFill/>
          <a:ln/>
        </p:spPr>
        <p:txBody>
          <a:bodyPr wrap="none" lIns="0" tIns="0" rIns="0" bIns="0" rtlCol="0" anchor="t"/>
          <a:lstStyle/>
          <a:p>
            <a:pPr marL="0" indent="0" algn="l">
              <a:lnSpc>
                <a:spcPts val="1900"/>
              </a:lnSpc>
              <a:buNone/>
            </a:pPr>
            <a:r>
              <a:rPr lang="en-US" sz="1550" b="1">
                <a:solidFill>
                  <a:srgbClr val="12676B"/>
                </a:solidFill>
                <a:latin typeface="Inter Bold" pitchFamily="34" charset="0"/>
                <a:ea typeface="Inter Bold" pitchFamily="34" charset="-122"/>
                <a:cs typeface="Inter Bold" pitchFamily="34" charset="-120"/>
              </a:rPr>
              <a:t>What We're Building</a:t>
            </a:r>
            <a:endParaRPr lang="en-US" sz="1550"/>
          </a:p>
        </p:txBody>
      </p:sp>
      <p:sp>
        <p:nvSpPr>
          <p:cNvPr id="9" name="Text 7">
            <a:extLst>
              <a:ext uri="{FF2B5EF4-FFF2-40B4-BE49-F238E27FC236}">
                <a16:creationId xmlns:a16="http://schemas.microsoft.com/office/drawing/2014/main" id="{A71369FE-F184-2F66-CD03-082C46463CAA}"/>
              </a:ext>
            </a:extLst>
          </p:cNvPr>
          <p:cNvSpPr/>
          <p:nvPr/>
        </p:nvSpPr>
        <p:spPr>
          <a:xfrm>
            <a:off x="4527415" y="2374256"/>
            <a:ext cx="3429000" cy="1013936"/>
          </a:xfrm>
          <a:prstGeom prst="rect">
            <a:avLst/>
          </a:prstGeom>
          <a:noFill/>
          <a:ln/>
        </p:spPr>
        <p:txBody>
          <a:bodyPr wrap="square" lIns="0" tIns="0" rIns="0" bIns="0" rtlCol="0" anchor="t"/>
          <a:lstStyle/>
          <a:p>
            <a:pPr marL="0" indent="0" algn="l">
              <a:lnSpc>
                <a:spcPts val="1950"/>
              </a:lnSpc>
              <a:buNone/>
            </a:pPr>
            <a:r>
              <a:rPr lang="en-US" sz="1600" b="1">
                <a:solidFill>
                  <a:srgbClr val="333333"/>
                </a:solidFill>
                <a:latin typeface="Inter" pitchFamily="34" charset="0"/>
                <a:ea typeface="Inter" pitchFamily="34" charset="-122"/>
                <a:cs typeface="Inter" pitchFamily="34" charset="-120"/>
              </a:rPr>
              <a:t>Modern talent development approach.</a:t>
            </a:r>
            <a:r>
              <a:rPr lang="en-US" sz="1600">
                <a:solidFill>
                  <a:srgbClr val="333333"/>
                </a:solidFill>
                <a:latin typeface="Inter" pitchFamily="34" charset="0"/>
                <a:ea typeface="Inter" pitchFamily="34" charset="-122"/>
                <a:cs typeface="Inter" pitchFamily="34" charset="-120"/>
              </a:rPr>
              <a:t> Moving beyond GROW coaching to practical frameworks that identify strengths, create meaningful stretch opportunities, and build leadership bench strength.</a:t>
            </a:r>
            <a:endParaRPr lang="en-US" sz="1600"/>
          </a:p>
        </p:txBody>
      </p:sp>
      <p:sp>
        <p:nvSpPr>
          <p:cNvPr id="10" name="Text 8">
            <a:extLst>
              <a:ext uri="{FF2B5EF4-FFF2-40B4-BE49-F238E27FC236}">
                <a16:creationId xmlns:a16="http://schemas.microsoft.com/office/drawing/2014/main" id="{EBDC1891-CF59-1A6C-365D-9D61B7595263}"/>
              </a:ext>
            </a:extLst>
          </p:cNvPr>
          <p:cNvSpPr/>
          <p:nvPr/>
        </p:nvSpPr>
        <p:spPr>
          <a:xfrm>
            <a:off x="8538892" y="2076620"/>
            <a:ext cx="1980962" cy="247650"/>
          </a:xfrm>
          <a:prstGeom prst="rect">
            <a:avLst/>
          </a:prstGeom>
          <a:noFill/>
          <a:ln/>
        </p:spPr>
        <p:txBody>
          <a:bodyPr wrap="none" lIns="0" tIns="0" rIns="0" bIns="0" rtlCol="0" anchor="t"/>
          <a:lstStyle/>
          <a:p>
            <a:pPr marL="0" indent="0" algn="l">
              <a:lnSpc>
                <a:spcPts val="1900"/>
              </a:lnSpc>
              <a:buNone/>
            </a:pPr>
            <a:r>
              <a:rPr lang="en-US" sz="1550" b="1">
                <a:solidFill>
                  <a:srgbClr val="12676B"/>
                </a:solidFill>
                <a:latin typeface="Inter Bold" pitchFamily="34" charset="0"/>
                <a:ea typeface="Inter Bold" pitchFamily="34" charset="-122"/>
                <a:cs typeface="Inter Bold" pitchFamily="34" charset="-120"/>
              </a:rPr>
              <a:t>How It Works</a:t>
            </a:r>
            <a:endParaRPr lang="en-US" sz="1550"/>
          </a:p>
        </p:txBody>
      </p:sp>
      <p:sp>
        <p:nvSpPr>
          <p:cNvPr id="14" name="Text 9">
            <a:extLst>
              <a:ext uri="{FF2B5EF4-FFF2-40B4-BE49-F238E27FC236}">
                <a16:creationId xmlns:a16="http://schemas.microsoft.com/office/drawing/2014/main" id="{6578E653-CCBC-4F0A-45C9-9F05EAC37F37}"/>
              </a:ext>
            </a:extLst>
          </p:cNvPr>
          <p:cNvSpPr/>
          <p:nvPr/>
        </p:nvSpPr>
        <p:spPr>
          <a:xfrm>
            <a:off x="8538892" y="2374256"/>
            <a:ext cx="3429000" cy="1013936"/>
          </a:xfrm>
          <a:prstGeom prst="rect">
            <a:avLst/>
          </a:prstGeom>
          <a:noFill/>
          <a:ln/>
        </p:spPr>
        <p:txBody>
          <a:bodyPr wrap="square" lIns="0" tIns="0" rIns="0" bIns="0" rtlCol="0" anchor="t"/>
          <a:lstStyle/>
          <a:p>
            <a:pPr marL="0" indent="0" algn="l">
              <a:lnSpc>
                <a:spcPts val="1950"/>
              </a:lnSpc>
              <a:buNone/>
            </a:pPr>
            <a:r>
              <a:rPr lang="en-US" sz="1600" b="1">
                <a:solidFill>
                  <a:srgbClr val="333333"/>
                </a:solidFill>
                <a:latin typeface="Inter" pitchFamily="34" charset="0"/>
                <a:ea typeface="Inter" pitchFamily="34" charset="-122"/>
                <a:cs typeface="Inter" pitchFamily="34" charset="-120"/>
              </a:rPr>
              <a:t>Embedded, practical application.</a:t>
            </a:r>
            <a:r>
              <a:rPr lang="en-US" sz="1600">
                <a:solidFill>
                  <a:srgbClr val="333333"/>
                </a:solidFill>
                <a:latin typeface="Inter" pitchFamily="34" charset="0"/>
                <a:ea typeface="Inter" pitchFamily="34" charset="-122"/>
                <a:cs typeface="Inter" pitchFamily="34" charset="-120"/>
              </a:rPr>
              <a:t> Live practice sessions, readiness assessments, and calibrated challenges integrated into existing workflows.</a:t>
            </a:r>
            <a:endParaRPr lang="en-US" sz="1600"/>
          </a:p>
        </p:txBody>
      </p:sp>
      <p:sp>
        <p:nvSpPr>
          <p:cNvPr id="16" name="Text 10">
            <a:extLst>
              <a:ext uri="{FF2B5EF4-FFF2-40B4-BE49-F238E27FC236}">
                <a16:creationId xmlns:a16="http://schemas.microsoft.com/office/drawing/2014/main" id="{B75BF30B-7B5F-BB24-A0D6-130CC19B1F03}"/>
              </a:ext>
            </a:extLst>
          </p:cNvPr>
          <p:cNvSpPr/>
          <p:nvPr/>
        </p:nvSpPr>
        <p:spPr>
          <a:xfrm>
            <a:off x="515938" y="4098205"/>
            <a:ext cx="3429000" cy="522922"/>
          </a:xfrm>
          <a:prstGeom prst="rect">
            <a:avLst/>
          </a:prstGeom>
          <a:noFill/>
          <a:ln/>
        </p:spPr>
        <p:txBody>
          <a:bodyPr wrap="none" lIns="0" tIns="0" rIns="0" bIns="0" rtlCol="0" anchor="t"/>
          <a:lstStyle/>
          <a:p>
            <a:pPr marL="0" indent="0" algn="ctr">
              <a:lnSpc>
                <a:spcPts val="4100"/>
              </a:lnSpc>
              <a:buNone/>
            </a:pPr>
            <a:r>
              <a:rPr lang="en-US" sz="4100" b="1">
                <a:solidFill>
                  <a:schemeClr val="accent3"/>
                </a:solidFill>
                <a:latin typeface="Inter Bold" pitchFamily="34" charset="0"/>
                <a:ea typeface="Inter Bold" pitchFamily="34" charset="-122"/>
                <a:cs typeface="Inter Bold" pitchFamily="34" charset="-120"/>
              </a:rPr>
              <a:t>3x</a:t>
            </a:r>
            <a:endParaRPr lang="en-US" sz="4100">
              <a:solidFill>
                <a:schemeClr val="accent3"/>
              </a:solidFill>
            </a:endParaRPr>
          </a:p>
        </p:txBody>
      </p:sp>
      <p:sp>
        <p:nvSpPr>
          <p:cNvPr id="18" name="Text 11">
            <a:extLst>
              <a:ext uri="{FF2B5EF4-FFF2-40B4-BE49-F238E27FC236}">
                <a16:creationId xmlns:a16="http://schemas.microsoft.com/office/drawing/2014/main" id="{04360E2A-89EF-27EF-F5EC-2E1FCED13AD7}"/>
              </a:ext>
            </a:extLst>
          </p:cNvPr>
          <p:cNvSpPr/>
          <p:nvPr/>
        </p:nvSpPr>
        <p:spPr>
          <a:xfrm>
            <a:off x="1239957" y="4601360"/>
            <a:ext cx="1980962" cy="247650"/>
          </a:xfrm>
          <a:prstGeom prst="rect">
            <a:avLst/>
          </a:prstGeom>
          <a:noFill/>
          <a:ln/>
        </p:spPr>
        <p:txBody>
          <a:bodyPr wrap="none" lIns="0" tIns="0" rIns="0" bIns="0" rtlCol="0" anchor="t"/>
          <a:lstStyle/>
          <a:p>
            <a:pPr marL="0" indent="0" algn="ctr">
              <a:lnSpc>
                <a:spcPts val="1900"/>
              </a:lnSpc>
              <a:buNone/>
            </a:pPr>
            <a:r>
              <a:rPr lang="en-US" sz="1550" b="1">
                <a:solidFill>
                  <a:schemeClr val="accent6"/>
                </a:solidFill>
                <a:latin typeface="Inter Bold" pitchFamily="34" charset="0"/>
                <a:ea typeface="Inter Bold" pitchFamily="34" charset="-122"/>
                <a:cs typeface="Inter Bold" pitchFamily="34" charset="-120"/>
              </a:rPr>
              <a:t>Retention Impact</a:t>
            </a:r>
            <a:endParaRPr lang="en-US" sz="1550">
              <a:solidFill>
                <a:schemeClr val="accent6"/>
              </a:solidFill>
            </a:endParaRPr>
          </a:p>
        </p:txBody>
      </p:sp>
      <p:sp>
        <p:nvSpPr>
          <p:cNvPr id="24" name="Text 12">
            <a:extLst>
              <a:ext uri="{FF2B5EF4-FFF2-40B4-BE49-F238E27FC236}">
                <a16:creationId xmlns:a16="http://schemas.microsoft.com/office/drawing/2014/main" id="{96008A0E-1BEA-EC09-BFA2-7F2FB8164E7C}"/>
              </a:ext>
            </a:extLst>
          </p:cNvPr>
          <p:cNvSpPr/>
          <p:nvPr/>
        </p:nvSpPr>
        <p:spPr>
          <a:xfrm>
            <a:off x="515938" y="4913822"/>
            <a:ext cx="3429000" cy="506968"/>
          </a:xfrm>
          <a:prstGeom prst="rect">
            <a:avLst/>
          </a:prstGeom>
          <a:noFill/>
          <a:ln/>
        </p:spPr>
        <p:txBody>
          <a:bodyPr wrap="square" lIns="0" tIns="0" rIns="0" bIns="0" rtlCol="0" anchor="t"/>
          <a:lstStyle/>
          <a:p>
            <a:pPr marL="0" indent="0" algn="ctr">
              <a:lnSpc>
                <a:spcPts val="1950"/>
              </a:lnSpc>
              <a:buNone/>
            </a:pPr>
            <a:r>
              <a:rPr lang="en-US" sz="1400">
                <a:solidFill>
                  <a:srgbClr val="333333"/>
                </a:solidFill>
                <a:latin typeface="Inter" pitchFamily="34" charset="0"/>
                <a:ea typeface="Inter" pitchFamily="34" charset="-122"/>
                <a:cs typeface="Inter" pitchFamily="34" charset="-120"/>
              </a:rPr>
              <a:t>Organizations with strong coaching cultures see 3x higher retention of high performers</a:t>
            </a:r>
            <a:endParaRPr lang="en-US" sz="1400"/>
          </a:p>
        </p:txBody>
      </p:sp>
      <p:sp>
        <p:nvSpPr>
          <p:cNvPr id="25" name="Text 13">
            <a:extLst>
              <a:ext uri="{FF2B5EF4-FFF2-40B4-BE49-F238E27FC236}">
                <a16:creationId xmlns:a16="http://schemas.microsoft.com/office/drawing/2014/main" id="{D193651B-AD45-35E4-E735-BC75E4C916AF}"/>
              </a:ext>
            </a:extLst>
          </p:cNvPr>
          <p:cNvSpPr/>
          <p:nvPr/>
        </p:nvSpPr>
        <p:spPr>
          <a:xfrm>
            <a:off x="4381500" y="4098205"/>
            <a:ext cx="3429000" cy="522922"/>
          </a:xfrm>
          <a:prstGeom prst="rect">
            <a:avLst/>
          </a:prstGeom>
          <a:noFill/>
          <a:ln/>
        </p:spPr>
        <p:txBody>
          <a:bodyPr wrap="none" lIns="0" tIns="0" rIns="0" bIns="0" rtlCol="0" anchor="t"/>
          <a:lstStyle/>
          <a:p>
            <a:pPr marL="0" indent="0" algn="ctr">
              <a:lnSpc>
                <a:spcPts val="4100"/>
              </a:lnSpc>
              <a:buNone/>
            </a:pPr>
            <a:r>
              <a:rPr lang="en-US" sz="4100" b="1">
                <a:solidFill>
                  <a:schemeClr val="accent3"/>
                </a:solidFill>
                <a:latin typeface="Inter Bold" pitchFamily="34" charset="0"/>
                <a:ea typeface="Inter Bold" pitchFamily="34" charset="-122"/>
                <a:cs typeface="Inter Bold" pitchFamily="34" charset="-120"/>
              </a:rPr>
              <a:t>70%</a:t>
            </a:r>
            <a:endParaRPr lang="en-US" sz="4100">
              <a:solidFill>
                <a:schemeClr val="accent3"/>
              </a:solidFill>
            </a:endParaRPr>
          </a:p>
        </p:txBody>
      </p:sp>
      <p:sp>
        <p:nvSpPr>
          <p:cNvPr id="26" name="Text 14">
            <a:extLst>
              <a:ext uri="{FF2B5EF4-FFF2-40B4-BE49-F238E27FC236}">
                <a16:creationId xmlns:a16="http://schemas.microsoft.com/office/drawing/2014/main" id="{7188481C-3159-A50C-003E-F88716DED93F}"/>
              </a:ext>
            </a:extLst>
          </p:cNvPr>
          <p:cNvSpPr/>
          <p:nvPr/>
        </p:nvSpPr>
        <p:spPr>
          <a:xfrm>
            <a:off x="5105519" y="4601360"/>
            <a:ext cx="1980962" cy="247650"/>
          </a:xfrm>
          <a:prstGeom prst="rect">
            <a:avLst/>
          </a:prstGeom>
          <a:noFill/>
          <a:ln/>
        </p:spPr>
        <p:txBody>
          <a:bodyPr wrap="none" lIns="0" tIns="0" rIns="0" bIns="0" rtlCol="0" anchor="t"/>
          <a:lstStyle/>
          <a:p>
            <a:pPr marL="0" indent="0" algn="ctr">
              <a:lnSpc>
                <a:spcPts val="1900"/>
              </a:lnSpc>
              <a:buNone/>
            </a:pPr>
            <a:r>
              <a:rPr lang="en-US" sz="1550" b="1">
                <a:solidFill>
                  <a:schemeClr val="accent6"/>
                </a:solidFill>
                <a:latin typeface="Inter Bold" pitchFamily="34" charset="0"/>
                <a:ea typeface="Inter Bold" pitchFamily="34" charset="-122"/>
                <a:cs typeface="Inter Bold" pitchFamily="34" charset="-120"/>
              </a:rPr>
              <a:t>Leadership Gap</a:t>
            </a:r>
            <a:endParaRPr lang="en-US" sz="1550">
              <a:solidFill>
                <a:schemeClr val="accent6"/>
              </a:solidFill>
            </a:endParaRPr>
          </a:p>
        </p:txBody>
      </p:sp>
      <p:sp>
        <p:nvSpPr>
          <p:cNvPr id="27" name="Text 15">
            <a:extLst>
              <a:ext uri="{FF2B5EF4-FFF2-40B4-BE49-F238E27FC236}">
                <a16:creationId xmlns:a16="http://schemas.microsoft.com/office/drawing/2014/main" id="{1C11EF83-D65D-C706-E7B1-3F903E747A63}"/>
              </a:ext>
            </a:extLst>
          </p:cNvPr>
          <p:cNvSpPr/>
          <p:nvPr/>
        </p:nvSpPr>
        <p:spPr>
          <a:xfrm>
            <a:off x="4527415" y="4894708"/>
            <a:ext cx="3429000" cy="506968"/>
          </a:xfrm>
          <a:prstGeom prst="rect">
            <a:avLst/>
          </a:prstGeom>
          <a:noFill/>
          <a:ln/>
        </p:spPr>
        <p:txBody>
          <a:bodyPr wrap="square" lIns="0" tIns="0" rIns="0" bIns="0" rtlCol="0" anchor="t"/>
          <a:lstStyle/>
          <a:p>
            <a:pPr marL="0" indent="0" algn="ctr">
              <a:lnSpc>
                <a:spcPts val="1950"/>
              </a:lnSpc>
              <a:buNone/>
            </a:pPr>
            <a:r>
              <a:rPr lang="en-US" sz="1400">
                <a:solidFill>
                  <a:srgbClr val="333333"/>
                </a:solidFill>
                <a:latin typeface="Inter" pitchFamily="34" charset="0"/>
                <a:ea typeface="Inter" pitchFamily="34" charset="-122"/>
                <a:cs typeface="Inter" pitchFamily="34" charset="-120"/>
              </a:rPr>
              <a:t>Of companies report insufficient leadership bench strength for future needs</a:t>
            </a:r>
            <a:endParaRPr lang="en-US" sz="1400"/>
          </a:p>
        </p:txBody>
      </p:sp>
      <p:sp>
        <p:nvSpPr>
          <p:cNvPr id="37" name="Text 16">
            <a:extLst>
              <a:ext uri="{FF2B5EF4-FFF2-40B4-BE49-F238E27FC236}">
                <a16:creationId xmlns:a16="http://schemas.microsoft.com/office/drawing/2014/main" id="{30AE1E7B-9350-B7E6-B7F8-20B8B73D9B64}"/>
              </a:ext>
            </a:extLst>
          </p:cNvPr>
          <p:cNvSpPr/>
          <p:nvPr/>
        </p:nvSpPr>
        <p:spPr>
          <a:xfrm>
            <a:off x="8538892" y="4098205"/>
            <a:ext cx="3429000" cy="522922"/>
          </a:xfrm>
          <a:prstGeom prst="rect">
            <a:avLst/>
          </a:prstGeom>
          <a:noFill/>
          <a:ln/>
        </p:spPr>
        <p:txBody>
          <a:bodyPr wrap="none" lIns="0" tIns="0" rIns="0" bIns="0" rtlCol="0" anchor="t"/>
          <a:lstStyle/>
          <a:p>
            <a:pPr marL="0" indent="0" algn="ctr">
              <a:lnSpc>
                <a:spcPts val="4100"/>
              </a:lnSpc>
              <a:buNone/>
            </a:pPr>
            <a:r>
              <a:rPr lang="en-US" sz="4100" b="1">
                <a:solidFill>
                  <a:schemeClr val="accent3"/>
                </a:solidFill>
                <a:latin typeface="Inter Bold" pitchFamily="34" charset="0"/>
                <a:ea typeface="Inter Bold" pitchFamily="34" charset="-122"/>
                <a:cs typeface="Inter Bold" pitchFamily="34" charset="-120"/>
              </a:rPr>
              <a:t>15min</a:t>
            </a:r>
            <a:endParaRPr lang="en-US" sz="4100">
              <a:solidFill>
                <a:schemeClr val="accent3"/>
              </a:solidFill>
            </a:endParaRPr>
          </a:p>
        </p:txBody>
      </p:sp>
      <p:sp>
        <p:nvSpPr>
          <p:cNvPr id="38" name="Text 17">
            <a:extLst>
              <a:ext uri="{FF2B5EF4-FFF2-40B4-BE49-F238E27FC236}">
                <a16:creationId xmlns:a16="http://schemas.microsoft.com/office/drawing/2014/main" id="{E0C936DF-C12C-63BF-208F-F0442DF6C35B}"/>
              </a:ext>
            </a:extLst>
          </p:cNvPr>
          <p:cNvSpPr/>
          <p:nvPr/>
        </p:nvSpPr>
        <p:spPr>
          <a:xfrm>
            <a:off x="9253537" y="4601360"/>
            <a:ext cx="1980962" cy="247650"/>
          </a:xfrm>
          <a:prstGeom prst="rect">
            <a:avLst/>
          </a:prstGeom>
          <a:noFill/>
          <a:ln/>
        </p:spPr>
        <p:txBody>
          <a:bodyPr wrap="none" lIns="0" tIns="0" rIns="0" bIns="0" rtlCol="0" anchor="t"/>
          <a:lstStyle/>
          <a:p>
            <a:pPr marL="0" indent="0" algn="ctr">
              <a:lnSpc>
                <a:spcPts val="1900"/>
              </a:lnSpc>
              <a:buNone/>
            </a:pPr>
            <a:r>
              <a:rPr lang="en-US" sz="1550" b="1">
                <a:solidFill>
                  <a:schemeClr val="accent6"/>
                </a:solidFill>
                <a:latin typeface="Inter Bold" pitchFamily="34" charset="0"/>
                <a:ea typeface="Inter Bold" pitchFamily="34" charset="-122"/>
                <a:cs typeface="Inter Bold" pitchFamily="34" charset="-120"/>
              </a:rPr>
              <a:t>Weekly Investment</a:t>
            </a:r>
            <a:endParaRPr lang="en-US" sz="1550">
              <a:solidFill>
                <a:schemeClr val="accent6"/>
              </a:solidFill>
            </a:endParaRPr>
          </a:p>
        </p:txBody>
      </p:sp>
      <p:sp>
        <p:nvSpPr>
          <p:cNvPr id="39" name="Text 18">
            <a:extLst>
              <a:ext uri="{FF2B5EF4-FFF2-40B4-BE49-F238E27FC236}">
                <a16:creationId xmlns:a16="http://schemas.microsoft.com/office/drawing/2014/main" id="{AAC15349-A61A-5DDA-DAA7-5C953F3C7325}"/>
              </a:ext>
            </a:extLst>
          </p:cNvPr>
          <p:cNvSpPr/>
          <p:nvPr/>
        </p:nvSpPr>
        <p:spPr>
          <a:xfrm>
            <a:off x="8538892" y="4913822"/>
            <a:ext cx="3429000" cy="506968"/>
          </a:xfrm>
          <a:prstGeom prst="rect">
            <a:avLst/>
          </a:prstGeom>
          <a:noFill/>
          <a:ln/>
        </p:spPr>
        <p:txBody>
          <a:bodyPr wrap="square" lIns="0" tIns="0" rIns="0" bIns="0" rtlCol="0" anchor="t"/>
          <a:lstStyle/>
          <a:p>
            <a:pPr marL="0" indent="0" algn="ctr">
              <a:lnSpc>
                <a:spcPts val="1950"/>
              </a:lnSpc>
              <a:buNone/>
            </a:pPr>
            <a:r>
              <a:rPr lang="en-US" sz="1400">
                <a:solidFill>
                  <a:srgbClr val="333333"/>
                </a:solidFill>
                <a:latin typeface="Inter" pitchFamily="34" charset="0"/>
                <a:ea typeface="Inter" pitchFamily="34" charset="-122"/>
                <a:cs typeface="Inter" pitchFamily="34" charset="-120"/>
              </a:rPr>
              <a:t>Regular coaching integrated into existing 1-on-1 rhythms</a:t>
            </a:r>
            <a:endParaRPr lang="en-US" sz="1400"/>
          </a:p>
        </p:txBody>
      </p:sp>
      <p:sp>
        <p:nvSpPr>
          <p:cNvPr id="40" name="Text 19">
            <a:extLst>
              <a:ext uri="{FF2B5EF4-FFF2-40B4-BE49-F238E27FC236}">
                <a16:creationId xmlns:a16="http://schemas.microsoft.com/office/drawing/2014/main" id="{D335F0E5-519C-B549-CFEC-694D945E318C}"/>
              </a:ext>
            </a:extLst>
          </p:cNvPr>
          <p:cNvSpPr/>
          <p:nvPr/>
        </p:nvSpPr>
        <p:spPr>
          <a:xfrm>
            <a:off x="753587" y="5696149"/>
            <a:ext cx="11214305" cy="506968"/>
          </a:xfrm>
          <a:prstGeom prst="rect">
            <a:avLst/>
          </a:prstGeom>
          <a:noFill/>
          <a:ln/>
        </p:spPr>
        <p:txBody>
          <a:bodyPr wrap="square" lIns="0" tIns="0" rIns="0" bIns="0" rtlCol="0" anchor="ctr"/>
          <a:lstStyle/>
          <a:p>
            <a:pPr marL="0" indent="0" algn="ctr">
              <a:buNone/>
            </a:pPr>
            <a:r>
              <a:rPr lang="en-US" sz="1600" b="1">
                <a:solidFill>
                  <a:schemeClr val="accent1"/>
                </a:solidFill>
                <a:latin typeface="Inter" pitchFamily="34" charset="0"/>
                <a:ea typeface="Inter" pitchFamily="34" charset="-122"/>
                <a:cs typeface="Inter" pitchFamily="34" charset="-120"/>
              </a:rPr>
              <a:t>When leaders coach for development, performance becomes a natural byproduct of engaged, growing teams.</a:t>
            </a:r>
            <a:endParaRPr lang="en-US" sz="1600" b="1">
              <a:solidFill>
                <a:schemeClr val="accent1"/>
              </a:solidFill>
            </a:endParaRPr>
          </a:p>
        </p:txBody>
      </p:sp>
      <p:sp>
        <p:nvSpPr>
          <p:cNvPr id="41" name="Shape 20">
            <a:extLst>
              <a:ext uri="{FF2B5EF4-FFF2-40B4-BE49-F238E27FC236}">
                <a16:creationId xmlns:a16="http://schemas.microsoft.com/office/drawing/2014/main" id="{EA7C39C1-C364-E852-7EF0-52FD10A7DAF1}"/>
              </a:ext>
            </a:extLst>
          </p:cNvPr>
          <p:cNvSpPr/>
          <p:nvPr/>
        </p:nvSpPr>
        <p:spPr>
          <a:xfrm>
            <a:off x="515938" y="5676515"/>
            <a:ext cx="22860" cy="548640"/>
          </a:xfrm>
          <a:prstGeom prst="rect">
            <a:avLst/>
          </a:prstGeom>
          <a:solidFill>
            <a:srgbClr val="015465"/>
          </a:solidFill>
          <a:ln/>
        </p:spPr>
        <p:txBody>
          <a:bodyPr/>
          <a:lstStyle/>
          <a:p>
            <a:endParaRPr lang="en-US"/>
          </a:p>
        </p:txBody>
      </p:sp>
      <p:sp>
        <p:nvSpPr>
          <p:cNvPr id="42" name="Text 21">
            <a:extLst>
              <a:ext uri="{FF2B5EF4-FFF2-40B4-BE49-F238E27FC236}">
                <a16:creationId xmlns:a16="http://schemas.microsoft.com/office/drawing/2014/main" id="{0E7230D0-D28B-7FAB-9B41-FE7930C385A2}"/>
              </a:ext>
            </a:extLst>
          </p:cNvPr>
          <p:cNvSpPr/>
          <p:nvPr/>
        </p:nvSpPr>
        <p:spPr>
          <a:xfrm>
            <a:off x="515938" y="6485722"/>
            <a:ext cx="13045678" cy="253484"/>
          </a:xfrm>
          <a:prstGeom prst="rect">
            <a:avLst/>
          </a:prstGeom>
          <a:noFill/>
          <a:ln/>
        </p:spPr>
        <p:txBody>
          <a:bodyPr wrap="none" lIns="0" tIns="0" rIns="0" bIns="0" rtlCol="0" anchor="t"/>
          <a:lstStyle/>
          <a:p>
            <a:pPr marL="0" indent="0" algn="l">
              <a:lnSpc>
                <a:spcPts val="1950"/>
              </a:lnSpc>
              <a:buNone/>
            </a:pPr>
            <a:endParaRPr lang="en-US" sz="1200"/>
          </a:p>
        </p:txBody>
      </p:sp>
    </p:spTree>
    <p:extLst>
      <p:ext uri="{BB962C8B-B14F-4D97-AF65-F5344CB8AC3E}">
        <p14:creationId xmlns:p14="http://schemas.microsoft.com/office/powerpoint/2010/main" val="10589055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5FCBA71-635C-605B-7697-425E7C2342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think-cell data - do not delete" hidden="1">
                        <a:extLst>
                          <a:ext uri="{FF2B5EF4-FFF2-40B4-BE49-F238E27FC236}">
                            <a16:creationId xmlns:a16="http://schemas.microsoft.com/office/drawing/2014/main" id="{A5FCBA71-635C-605B-7697-425E7C2342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5791D46-46B2-851F-C88B-3C8B469E9926}"/>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latin typeface="Moderat" pitchFamily="2" charset="77"/>
              </a:rPr>
              <a:t>Leading Change at Scale</a:t>
            </a:r>
          </a:p>
        </p:txBody>
      </p:sp>
      <p:sp>
        <p:nvSpPr>
          <p:cNvPr id="3" name="Text 8">
            <a:extLst>
              <a:ext uri="{FF2B5EF4-FFF2-40B4-BE49-F238E27FC236}">
                <a16:creationId xmlns:a16="http://schemas.microsoft.com/office/drawing/2014/main" id="{946F39CE-8DC9-6B54-FAC8-D7D7236F6009}"/>
              </a:ext>
            </a:extLst>
          </p:cNvPr>
          <p:cNvSpPr/>
          <p:nvPr/>
        </p:nvSpPr>
        <p:spPr>
          <a:xfrm>
            <a:off x="515936" y="1431925"/>
            <a:ext cx="11160127" cy="492443"/>
          </a:xfrm>
          <a:prstGeom prst="rect">
            <a:avLst/>
          </a:prstGeom>
          <a:noFill/>
          <a:ln/>
        </p:spPr>
        <p:txBody>
          <a:bodyPr wrap="square" lIns="0" tIns="0" rIns="0" bIns="0" rtlCol="0" anchor="t">
            <a:spAutoFit/>
          </a:bodyPr>
          <a:lstStyle/>
          <a:p>
            <a:pPr>
              <a:spcBef>
                <a:spcPts val="400"/>
              </a:spcBef>
              <a:spcAft>
                <a:spcPts val="400"/>
              </a:spcAft>
            </a:pPr>
            <a:r>
              <a:rPr lang="en-US" sz="1600">
                <a:solidFill>
                  <a:schemeClr val="bg2">
                    <a:lumMod val="25000"/>
                  </a:schemeClr>
                </a:solidFill>
                <a:latin typeface="Moderat" pitchFamily="2" charset="77"/>
                <a:ea typeface="Lato" pitchFamily="34" charset="-122"/>
                <a:cs typeface="Lato" pitchFamily="34" charset="-120"/>
              </a:rPr>
              <a:t>A proven, three-phase approach designed for high-complexity operational environments where culture must translate directly into employee and customer experience</a:t>
            </a:r>
          </a:p>
        </p:txBody>
      </p:sp>
      <p:sp>
        <p:nvSpPr>
          <p:cNvPr id="4" name="Shape 20">
            <a:extLst>
              <a:ext uri="{FF2B5EF4-FFF2-40B4-BE49-F238E27FC236}">
                <a16:creationId xmlns:a16="http://schemas.microsoft.com/office/drawing/2014/main" id="{5059FF12-5A3B-B02E-8ADE-E8A3405DCEB1}"/>
              </a:ext>
            </a:extLst>
          </p:cNvPr>
          <p:cNvSpPr/>
          <p:nvPr/>
        </p:nvSpPr>
        <p:spPr>
          <a:xfrm rot="5400000">
            <a:off x="4905115" y="2015541"/>
            <a:ext cx="2303996" cy="3532189"/>
          </a:xfrm>
          <a:prstGeom prst="roundRect">
            <a:avLst>
              <a:gd name="adj" fmla="val 0"/>
            </a:avLst>
          </a:prstGeom>
          <a:solidFill>
            <a:schemeClr val="bg1">
              <a:lumMod val="95000"/>
            </a:schemeClr>
          </a:solidFill>
          <a:ln w="22860">
            <a:noFill/>
            <a:prstDash val="solid"/>
          </a:ln>
        </p:spPr>
        <p:txBody>
          <a:bodyPr/>
          <a:lstStyle/>
          <a:p>
            <a:endParaRPr lang="en-IN" sz="1600">
              <a:solidFill>
                <a:schemeClr val="bg1"/>
              </a:solidFill>
              <a:latin typeface="Moderat" pitchFamily="2" charset="77"/>
            </a:endParaRPr>
          </a:p>
        </p:txBody>
      </p:sp>
      <p:sp>
        <p:nvSpPr>
          <p:cNvPr id="5" name="Text 7">
            <a:extLst>
              <a:ext uri="{FF2B5EF4-FFF2-40B4-BE49-F238E27FC236}">
                <a16:creationId xmlns:a16="http://schemas.microsoft.com/office/drawing/2014/main" id="{A3EF0748-316C-E765-47BA-D9E34732210F}"/>
              </a:ext>
            </a:extLst>
          </p:cNvPr>
          <p:cNvSpPr/>
          <p:nvPr/>
        </p:nvSpPr>
        <p:spPr>
          <a:xfrm>
            <a:off x="4520424" y="2816520"/>
            <a:ext cx="2335085" cy="250453"/>
          </a:xfrm>
          <a:prstGeom prst="rect">
            <a:avLst/>
          </a:prstGeom>
          <a:noFill/>
          <a:ln/>
        </p:spPr>
        <p:txBody>
          <a:bodyPr wrap="square" lIns="0" tIns="0" rIns="0" bIns="0" rtlCol="0" anchor="t">
            <a:spAutoFit/>
          </a:bodyPr>
          <a:lstStyle/>
          <a:p>
            <a:pPr>
              <a:lnSpc>
                <a:spcPts val="1916"/>
              </a:lnSpc>
            </a:pPr>
            <a:r>
              <a:rPr lang="en-US" b="1">
                <a:solidFill>
                  <a:schemeClr val="accent6"/>
                </a:solidFill>
                <a:latin typeface="Moderat" pitchFamily="2" charset="77"/>
                <a:ea typeface="Lato Bold" pitchFamily="34" charset="-122"/>
                <a:cs typeface="Lato Bold" pitchFamily="34" charset="-120"/>
              </a:rPr>
              <a:t>Translate</a:t>
            </a:r>
          </a:p>
        </p:txBody>
      </p:sp>
      <p:sp>
        <p:nvSpPr>
          <p:cNvPr id="6" name="Shape 20">
            <a:extLst>
              <a:ext uri="{FF2B5EF4-FFF2-40B4-BE49-F238E27FC236}">
                <a16:creationId xmlns:a16="http://schemas.microsoft.com/office/drawing/2014/main" id="{EC1A1337-8927-0342-86FD-47E15AA3B8C2}"/>
              </a:ext>
            </a:extLst>
          </p:cNvPr>
          <p:cNvSpPr/>
          <p:nvPr/>
        </p:nvSpPr>
        <p:spPr>
          <a:xfrm rot="5400000">
            <a:off x="8673688" y="2015542"/>
            <a:ext cx="2303997" cy="3532189"/>
          </a:xfrm>
          <a:prstGeom prst="roundRect">
            <a:avLst>
              <a:gd name="adj" fmla="val 0"/>
            </a:avLst>
          </a:prstGeom>
          <a:solidFill>
            <a:schemeClr val="bg1">
              <a:lumMod val="95000"/>
            </a:schemeClr>
          </a:solidFill>
          <a:ln w="22860">
            <a:noFill/>
            <a:prstDash val="solid"/>
          </a:ln>
        </p:spPr>
        <p:txBody>
          <a:bodyPr/>
          <a:lstStyle/>
          <a:p>
            <a:endParaRPr lang="en-IN" sz="1600">
              <a:solidFill>
                <a:schemeClr val="bg1"/>
              </a:solidFill>
              <a:latin typeface="Moderat" pitchFamily="2" charset="77"/>
            </a:endParaRPr>
          </a:p>
        </p:txBody>
      </p:sp>
      <p:sp>
        <p:nvSpPr>
          <p:cNvPr id="7" name="Text 7">
            <a:extLst>
              <a:ext uri="{FF2B5EF4-FFF2-40B4-BE49-F238E27FC236}">
                <a16:creationId xmlns:a16="http://schemas.microsoft.com/office/drawing/2014/main" id="{354E3EAE-C3AD-06F7-029C-2769BE0112DF}"/>
              </a:ext>
            </a:extLst>
          </p:cNvPr>
          <p:cNvSpPr/>
          <p:nvPr/>
        </p:nvSpPr>
        <p:spPr>
          <a:xfrm>
            <a:off x="8286150" y="2816520"/>
            <a:ext cx="2335085" cy="250453"/>
          </a:xfrm>
          <a:prstGeom prst="rect">
            <a:avLst/>
          </a:prstGeom>
          <a:noFill/>
          <a:ln/>
        </p:spPr>
        <p:txBody>
          <a:bodyPr wrap="square" lIns="0" tIns="0" rIns="0" bIns="0" rtlCol="0" anchor="t">
            <a:spAutoFit/>
          </a:bodyPr>
          <a:lstStyle/>
          <a:p>
            <a:pPr>
              <a:lnSpc>
                <a:spcPts val="1916"/>
              </a:lnSpc>
            </a:pPr>
            <a:r>
              <a:rPr lang="en-US" b="1">
                <a:solidFill>
                  <a:schemeClr val="accent6"/>
                </a:solidFill>
                <a:latin typeface="Moderat" pitchFamily="2" charset="77"/>
                <a:ea typeface="Lato Bold" pitchFamily="34" charset="-122"/>
                <a:cs typeface="Lato Bold" pitchFamily="34" charset="-120"/>
              </a:rPr>
              <a:t>Amplify</a:t>
            </a:r>
          </a:p>
        </p:txBody>
      </p:sp>
      <p:sp>
        <p:nvSpPr>
          <p:cNvPr id="8" name="Shape 20">
            <a:extLst>
              <a:ext uri="{FF2B5EF4-FFF2-40B4-BE49-F238E27FC236}">
                <a16:creationId xmlns:a16="http://schemas.microsoft.com/office/drawing/2014/main" id="{6C3D9489-AAA3-6F4C-16BC-5A8B697C290C}"/>
              </a:ext>
            </a:extLst>
          </p:cNvPr>
          <p:cNvSpPr/>
          <p:nvPr/>
        </p:nvSpPr>
        <p:spPr>
          <a:xfrm rot="5400000">
            <a:off x="1136539" y="2015543"/>
            <a:ext cx="2303990" cy="3532189"/>
          </a:xfrm>
          <a:prstGeom prst="roundRect">
            <a:avLst>
              <a:gd name="adj" fmla="val 0"/>
            </a:avLst>
          </a:prstGeom>
          <a:solidFill>
            <a:schemeClr val="bg1">
              <a:lumMod val="95000"/>
            </a:schemeClr>
          </a:solidFill>
          <a:ln w="22860">
            <a:noFill/>
            <a:prstDash val="solid"/>
          </a:ln>
        </p:spPr>
        <p:txBody>
          <a:bodyPr/>
          <a:lstStyle/>
          <a:p>
            <a:endParaRPr lang="en-IN" sz="1600">
              <a:solidFill>
                <a:schemeClr val="bg1"/>
              </a:solidFill>
              <a:latin typeface="Moderat" pitchFamily="2" charset="77"/>
            </a:endParaRPr>
          </a:p>
        </p:txBody>
      </p:sp>
      <p:sp>
        <p:nvSpPr>
          <p:cNvPr id="9" name="Text 7">
            <a:extLst>
              <a:ext uri="{FF2B5EF4-FFF2-40B4-BE49-F238E27FC236}">
                <a16:creationId xmlns:a16="http://schemas.microsoft.com/office/drawing/2014/main" id="{AE4CEB1F-9A8C-783E-86F9-9938726A4D38}"/>
              </a:ext>
            </a:extLst>
          </p:cNvPr>
          <p:cNvSpPr/>
          <p:nvPr/>
        </p:nvSpPr>
        <p:spPr>
          <a:xfrm>
            <a:off x="715589" y="2816520"/>
            <a:ext cx="2335085" cy="243656"/>
          </a:xfrm>
          <a:prstGeom prst="rect">
            <a:avLst/>
          </a:prstGeom>
          <a:noFill/>
          <a:ln/>
        </p:spPr>
        <p:txBody>
          <a:bodyPr wrap="square" lIns="0" tIns="0" rIns="0" bIns="0" rtlCol="0" anchor="t">
            <a:spAutoFit/>
          </a:bodyPr>
          <a:lstStyle/>
          <a:p>
            <a:pPr>
              <a:lnSpc>
                <a:spcPts val="1916"/>
              </a:lnSpc>
            </a:pPr>
            <a:r>
              <a:rPr lang="en-US" b="1">
                <a:solidFill>
                  <a:schemeClr val="accent6"/>
                </a:solidFill>
                <a:latin typeface="Moderat" pitchFamily="2" charset="77"/>
                <a:ea typeface="Lato Bold" pitchFamily="34" charset="-122"/>
                <a:cs typeface="Lato Bold" pitchFamily="34" charset="-120"/>
              </a:rPr>
              <a:t>Unlearn</a:t>
            </a:r>
          </a:p>
        </p:txBody>
      </p:sp>
      <p:sp>
        <p:nvSpPr>
          <p:cNvPr id="10" name="Chevron 21">
            <a:extLst>
              <a:ext uri="{FF2B5EF4-FFF2-40B4-BE49-F238E27FC236}">
                <a16:creationId xmlns:a16="http://schemas.microsoft.com/office/drawing/2014/main" id="{B6BAC7D2-932E-51BA-4B79-8533C53639F9}"/>
              </a:ext>
            </a:extLst>
          </p:cNvPr>
          <p:cNvSpPr/>
          <p:nvPr/>
        </p:nvSpPr>
        <p:spPr>
          <a:xfrm>
            <a:off x="522442" y="2161340"/>
            <a:ext cx="3622972" cy="468299"/>
          </a:xfrm>
          <a:prstGeom prst="homePlate">
            <a:avLst>
              <a:gd name="adj" fmla="val 18325"/>
            </a:avLst>
          </a:prstGeom>
          <a:solidFill>
            <a:schemeClr val="accent3"/>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vert="horz" lIns="114300" tIns="0" bIns="57150" rtlCol="0" anchor="ctr" anchorCtr="0"/>
          <a:lst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a:lstStyle>
          <a:p>
            <a:pPr algn="ctr" defTabSz="845753">
              <a:spcAft>
                <a:spcPts val="500"/>
              </a:spcAft>
            </a:pPr>
            <a:r>
              <a:rPr lang="en-US" sz="1800" b="1">
                <a:solidFill>
                  <a:schemeClr val="bg1"/>
                </a:solidFill>
                <a:latin typeface="Moderat" pitchFamily="2" charset="77"/>
              </a:rPr>
              <a:t>Phase 1</a:t>
            </a:r>
          </a:p>
        </p:txBody>
      </p:sp>
      <p:sp>
        <p:nvSpPr>
          <p:cNvPr id="12" name="Chevron 21">
            <a:extLst>
              <a:ext uri="{FF2B5EF4-FFF2-40B4-BE49-F238E27FC236}">
                <a16:creationId xmlns:a16="http://schemas.microsoft.com/office/drawing/2014/main" id="{735AAC0E-1204-FD65-D5D4-54F1C1282CAA}"/>
              </a:ext>
            </a:extLst>
          </p:cNvPr>
          <p:cNvSpPr/>
          <p:nvPr/>
        </p:nvSpPr>
        <p:spPr>
          <a:xfrm>
            <a:off x="4291019" y="2161340"/>
            <a:ext cx="3622972" cy="468299"/>
          </a:xfrm>
          <a:prstGeom prst="chevron">
            <a:avLst>
              <a:gd name="adj" fmla="val 18325"/>
            </a:avLst>
          </a:prstGeom>
          <a:solidFill>
            <a:schemeClr val="accent3"/>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vert="horz" lIns="114300" tIns="0" bIns="57150" rtlCol="0" anchor="ctr" anchorCtr="0"/>
          <a:lst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a:lstStyle>
          <a:p>
            <a:pPr algn="ctr" defTabSz="845753">
              <a:spcAft>
                <a:spcPts val="500"/>
              </a:spcAft>
            </a:pPr>
            <a:r>
              <a:rPr lang="en-US" sz="1800" b="1">
                <a:solidFill>
                  <a:schemeClr val="bg1"/>
                </a:solidFill>
                <a:latin typeface="Moderat" pitchFamily="2" charset="77"/>
              </a:rPr>
              <a:t>Phase 2</a:t>
            </a:r>
          </a:p>
        </p:txBody>
      </p:sp>
      <p:sp>
        <p:nvSpPr>
          <p:cNvPr id="13" name="Chevron 21">
            <a:extLst>
              <a:ext uri="{FF2B5EF4-FFF2-40B4-BE49-F238E27FC236}">
                <a16:creationId xmlns:a16="http://schemas.microsoft.com/office/drawing/2014/main" id="{E9E46888-9CB9-02A8-36C6-6452C8DB7649}"/>
              </a:ext>
            </a:extLst>
          </p:cNvPr>
          <p:cNvSpPr/>
          <p:nvPr/>
        </p:nvSpPr>
        <p:spPr>
          <a:xfrm>
            <a:off x="8059595" y="2161340"/>
            <a:ext cx="3622972" cy="468299"/>
          </a:xfrm>
          <a:prstGeom prst="chevron">
            <a:avLst>
              <a:gd name="adj" fmla="val 18325"/>
            </a:avLst>
          </a:prstGeom>
          <a:solidFill>
            <a:schemeClr val="accent3"/>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vert="horz" lIns="114300" tIns="0" bIns="57150" rtlCol="0" anchor="ctr" anchorCtr="0"/>
          <a:lst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a:lstStyle>
          <a:p>
            <a:pPr algn="ctr" defTabSz="845753">
              <a:spcAft>
                <a:spcPts val="500"/>
              </a:spcAft>
            </a:pPr>
            <a:r>
              <a:rPr lang="en-US" sz="1800" b="1">
                <a:solidFill>
                  <a:schemeClr val="bg1"/>
                </a:solidFill>
                <a:latin typeface="Moderat" pitchFamily="2" charset="77"/>
              </a:rPr>
              <a:t>Phase 3</a:t>
            </a:r>
          </a:p>
        </p:txBody>
      </p:sp>
      <p:sp>
        <p:nvSpPr>
          <p:cNvPr id="14" name="Text 5">
            <a:extLst>
              <a:ext uri="{FF2B5EF4-FFF2-40B4-BE49-F238E27FC236}">
                <a16:creationId xmlns:a16="http://schemas.microsoft.com/office/drawing/2014/main" id="{DCAE8414-F1BC-6675-6995-2D44A818FE5F}"/>
              </a:ext>
            </a:extLst>
          </p:cNvPr>
          <p:cNvSpPr/>
          <p:nvPr/>
        </p:nvSpPr>
        <p:spPr>
          <a:xfrm>
            <a:off x="711156" y="3133884"/>
            <a:ext cx="3164158" cy="1601327"/>
          </a:xfrm>
          <a:prstGeom prst="rect">
            <a:avLst/>
          </a:prstGeom>
          <a:noFill/>
          <a:ln/>
        </p:spPr>
        <p:txBody>
          <a:bodyPr wrap="square" lIns="0" tIns="36000" rIns="0" bIns="36000" rtlCol="0" anchor="t">
            <a:spAutoFit/>
          </a:bodyPr>
          <a:lstStyle/>
          <a:p>
            <a:pPr marL="171450" indent="-171450" defTabSz="571500">
              <a:spcAft>
                <a:spcPts val="200"/>
              </a:spcAft>
              <a:buClr>
                <a:schemeClr val="accent5"/>
              </a:buClr>
              <a:buSzPct val="100000"/>
              <a:buFont typeface="Arial" panose="020B0604020202020204" pitchFamily="34" charset="0"/>
              <a:buChar char="•"/>
            </a:pPr>
            <a:r>
              <a:rPr lang="en-US" sz="1600">
                <a:solidFill>
                  <a:srgbClr val="4A4A45"/>
                </a:solidFill>
                <a:latin typeface="Moderat" pitchFamily="2" charset="77"/>
              </a:rPr>
              <a:t>Replace outdated norms with current vision</a:t>
            </a:r>
          </a:p>
          <a:p>
            <a:pPr marL="171450" indent="-171450" defTabSz="571500">
              <a:spcAft>
                <a:spcPts val="200"/>
              </a:spcAft>
              <a:buClr>
                <a:schemeClr val="accent5"/>
              </a:buClr>
              <a:buSzPct val="100000"/>
              <a:buFont typeface="Arial" panose="020B0604020202020204" pitchFamily="34" charset="0"/>
              <a:buChar char="•"/>
            </a:pPr>
            <a:r>
              <a:rPr lang="en-US" sz="1600">
                <a:solidFill>
                  <a:srgbClr val="4A4A45"/>
                </a:solidFill>
                <a:latin typeface="Moderat" pitchFamily="2" charset="77"/>
              </a:rPr>
              <a:t>Build psychological safety for change</a:t>
            </a:r>
          </a:p>
          <a:p>
            <a:pPr marL="171450" indent="-171450" defTabSz="571500">
              <a:spcAft>
                <a:spcPts val="200"/>
              </a:spcAft>
              <a:buClr>
                <a:schemeClr val="accent5"/>
              </a:buClr>
              <a:buSzPct val="100000"/>
              <a:buFont typeface="Arial" panose="020B0604020202020204" pitchFamily="34" charset="0"/>
              <a:buChar char="•"/>
            </a:pPr>
            <a:r>
              <a:rPr lang="en-US" sz="1600">
                <a:solidFill>
                  <a:srgbClr val="4A4A45"/>
                </a:solidFill>
                <a:latin typeface="Moderat" pitchFamily="2" charset="77"/>
              </a:rPr>
              <a:t>Create space for new behaviors to emerge</a:t>
            </a:r>
          </a:p>
        </p:txBody>
      </p:sp>
      <p:sp>
        <p:nvSpPr>
          <p:cNvPr id="15" name="Text 5">
            <a:extLst>
              <a:ext uri="{FF2B5EF4-FFF2-40B4-BE49-F238E27FC236}">
                <a16:creationId xmlns:a16="http://schemas.microsoft.com/office/drawing/2014/main" id="{243B21F8-0DFD-BD86-EE84-DA2E6EFBC0FD}"/>
              </a:ext>
            </a:extLst>
          </p:cNvPr>
          <p:cNvSpPr/>
          <p:nvPr/>
        </p:nvSpPr>
        <p:spPr>
          <a:xfrm>
            <a:off x="4520424" y="3133884"/>
            <a:ext cx="3164158" cy="1355105"/>
          </a:xfrm>
          <a:prstGeom prst="rect">
            <a:avLst/>
          </a:prstGeom>
          <a:noFill/>
          <a:ln/>
        </p:spPr>
        <p:txBody>
          <a:bodyPr wrap="square" lIns="0" tIns="36000" rIns="0" bIns="36000" rtlCol="0" anchor="t">
            <a:spAutoFit/>
          </a:bodyPr>
          <a:lstStyle/>
          <a:p>
            <a:pPr marL="171450" indent="-171450" defTabSz="571500">
              <a:spcAft>
                <a:spcPts val="200"/>
              </a:spcAft>
              <a:buClr>
                <a:schemeClr val="accent5"/>
              </a:buClr>
              <a:buSzPct val="100000"/>
              <a:buFont typeface="Arial" panose="020B0604020202020204" pitchFamily="34" charset="0"/>
              <a:buChar char="•"/>
            </a:pPr>
            <a:r>
              <a:rPr lang="en-US" sz="1600">
                <a:solidFill>
                  <a:srgbClr val="4A4A45"/>
                </a:solidFill>
                <a:latin typeface="Moderat" pitchFamily="2" charset="77"/>
              </a:rPr>
              <a:t>Co-create observable micro-behaviors </a:t>
            </a:r>
          </a:p>
          <a:p>
            <a:pPr marL="171450" indent="-171450" defTabSz="571500">
              <a:spcAft>
                <a:spcPts val="200"/>
              </a:spcAft>
              <a:buClr>
                <a:schemeClr val="accent5"/>
              </a:buClr>
              <a:buSzPct val="100000"/>
              <a:buFont typeface="Arial" panose="020B0604020202020204" pitchFamily="34" charset="0"/>
              <a:buChar char="•"/>
            </a:pPr>
            <a:r>
              <a:rPr lang="en-US" sz="1600">
                <a:solidFill>
                  <a:srgbClr val="4A4A45"/>
                </a:solidFill>
                <a:latin typeface="Moderat" pitchFamily="2" charset="77"/>
              </a:rPr>
              <a:t>Enable leaders to model authentically</a:t>
            </a:r>
          </a:p>
          <a:p>
            <a:pPr marL="171450" indent="-171450" defTabSz="571500">
              <a:spcAft>
                <a:spcPts val="200"/>
              </a:spcAft>
              <a:buClr>
                <a:schemeClr val="accent5"/>
              </a:buClr>
              <a:buSzPct val="100000"/>
              <a:buFont typeface="Arial" panose="020B0604020202020204" pitchFamily="34" charset="0"/>
              <a:buChar char="•"/>
            </a:pPr>
            <a:r>
              <a:rPr lang="en-US" sz="1600">
                <a:solidFill>
                  <a:srgbClr val="4A4A45"/>
                </a:solidFill>
                <a:latin typeface="Moderat" pitchFamily="2" charset="77"/>
              </a:rPr>
              <a:t>Connect values to real operations</a:t>
            </a:r>
          </a:p>
        </p:txBody>
      </p:sp>
      <p:sp>
        <p:nvSpPr>
          <p:cNvPr id="16" name="Text 5">
            <a:extLst>
              <a:ext uri="{FF2B5EF4-FFF2-40B4-BE49-F238E27FC236}">
                <a16:creationId xmlns:a16="http://schemas.microsoft.com/office/drawing/2014/main" id="{E00E62DC-EA2B-605E-9062-F4B9F2FD6072}"/>
              </a:ext>
            </a:extLst>
          </p:cNvPr>
          <p:cNvSpPr/>
          <p:nvPr/>
        </p:nvSpPr>
        <p:spPr>
          <a:xfrm>
            <a:off x="8286150" y="3133884"/>
            <a:ext cx="3164158" cy="1355105"/>
          </a:xfrm>
          <a:prstGeom prst="rect">
            <a:avLst/>
          </a:prstGeom>
          <a:noFill/>
          <a:ln/>
        </p:spPr>
        <p:txBody>
          <a:bodyPr wrap="square" lIns="0" tIns="36000" rIns="0" bIns="36000" rtlCol="0" anchor="t">
            <a:spAutoFit/>
          </a:bodyPr>
          <a:lstStyle/>
          <a:p>
            <a:pPr marL="171450" indent="-171450" defTabSz="571500">
              <a:spcAft>
                <a:spcPts val="200"/>
              </a:spcAft>
              <a:buClr>
                <a:schemeClr val="accent5"/>
              </a:buClr>
              <a:buSzPct val="100000"/>
              <a:buFont typeface="Arial" panose="020B0604020202020204" pitchFamily="34" charset="0"/>
              <a:buChar char="•"/>
            </a:pPr>
            <a:r>
              <a:rPr lang="en-US" sz="1600">
                <a:solidFill>
                  <a:srgbClr val="4A4A45"/>
                </a:solidFill>
                <a:latin typeface="Moderat" pitchFamily="2" charset="77"/>
              </a:rPr>
              <a:t>Build cross-functional ambassador network</a:t>
            </a:r>
          </a:p>
          <a:p>
            <a:pPr marL="171450" indent="-171450" defTabSz="571500">
              <a:spcAft>
                <a:spcPts val="200"/>
              </a:spcAft>
              <a:buClr>
                <a:schemeClr val="accent5"/>
              </a:buClr>
              <a:buSzPct val="100000"/>
              <a:buFont typeface="Arial" panose="020B0604020202020204" pitchFamily="34" charset="0"/>
              <a:buChar char="•"/>
            </a:pPr>
            <a:r>
              <a:rPr lang="en-US" sz="1600">
                <a:solidFill>
                  <a:srgbClr val="4A4A45"/>
                </a:solidFill>
                <a:latin typeface="Moderat" pitchFamily="2" charset="77"/>
              </a:rPr>
              <a:t>Equip champions with influence tools</a:t>
            </a:r>
          </a:p>
          <a:p>
            <a:pPr marL="171450" indent="-171450" defTabSz="571500">
              <a:spcAft>
                <a:spcPts val="200"/>
              </a:spcAft>
              <a:buClr>
                <a:schemeClr val="accent5"/>
              </a:buClr>
              <a:buSzPct val="100000"/>
              <a:buFont typeface="Arial" panose="020B0604020202020204" pitchFamily="34" charset="0"/>
              <a:buChar char="•"/>
            </a:pPr>
            <a:r>
              <a:rPr lang="en-US" sz="1600">
                <a:solidFill>
                  <a:srgbClr val="4A4A45"/>
                </a:solidFill>
                <a:latin typeface="Moderat" pitchFamily="2" charset="77"/>
              </a:rPr>
              <a:t>Create peer to peer reinforcement</a:t>
            </a:r>
          </a:p>
        </p:txBody>
      </p:sp>
      <p:sp>
        <p:nvSpPr>
          <p:cNvPr id="18" name="Text 8">
            <a:extLst>
              <a:ext uri="{FF2B5EF4-FFF2-40B4-BE49-F238E27FC236}">
                <a16:creationId xmlns:a16="http://schemas.microsoft.com/office/drawing/2014/main" id="{D53979AD-7278-7137-4123-9CC9FAFDE8FD}"/>
              </a:ext>
            </a:extLst>
          </p:cNvPr>
          <p:cNvSpPr/>
          <p:nvPr/>
        </p:nvSpPr>
        <p:spPr>
          <a:xfrm>
            <a:off x="515936" y="5239453"/>
            <a:ext cx="11160127" cy="492443"/>
          </a:xfrm>
          <a:prstGeom prst="rect">
            <a:avLst/>
          </a:prstGeom>
          <a:noFill/>
          <a:ln/>
        </p:spPr>
        <p:txBody>
          <a:bodyPr wrap="square" lIns="0" tIns="0" rIns="0" bIns="0" rtlCol="0" anchor="t">
            <a:spAutoFit/>
          </a:bodyPr>
          <a:lstStyle/>
          <a:p>
            <a:pPr>
              <a:spcBef>
                <a:spcPts val="400"/>
              </a:spcBef>
              <a:spcAft>
                <a:spcPts val="400"/>
              </a:spcAft>
            </a:pPr>
            <a:r>
              <a:rPr lang="en-US" sz="1600">
                <a:solidFill>
                  <a:schemeClr val="bg2">
                    <a:lumMod val="25000"/>
                  </a:schemeClr>
                </a:solidFill>
                <a:latin typeface="Moderat" pitchFamily="2" charset="77"/>
                <a:ea typeface="Lato" pitchFamily="34" charset="-122"/>
                <a:cs typeface="Lato" pitchFamily="34" charset="-120"/>
              </a:rPr>
              <a:t>This framework blends proven methodologies—ADKAR, Kotter, and our proprietary micro-behavior modeling—specifically adapted for environments where operational excellence and culture are inseparable</a:t>
            </a:r>
          </a:p>
        </p:txBody>
      </p:sp>
    </p:spTree>
    <p:extLst>
      <p:ext uri="{BB962C8B-B14F-4D97-AF65-F5344CB8AC3E}">
        <p14:creationId xmlns:p14="http://schemas.microsoft.com/office/powerpoint/2010/main" val="5451819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B54D6D4-331C-42DE-6F20-F0463625EDDC}"/>
              </a:ext>
            </a:extLst>
          </p:cNvPr>
          <p:cNvSpPr txBox="1"/>
          <p:nvPr/>
        </p:nvSpPr>
        <p:spPr>
          <a:xfrm>
            <a:off x="887831" y="3573601"/>
            <a:ext cx="3186863" cy="523220"/>
          </a:xfrm>
          <a:prstGeom prst="rect">
            <a:avLst/>
          </a:prstGeom>
          <a:noFill/>
        </p:spPr>
        <p:txBody>
          <a:bodyPr wrap="square" rtlCol="0" anchor="ctr">
            <a:spAutoFit/>
          </a:bodyPr>
          <a:lstStyle/>
          <a:p>
            <a:r>
              <a:rPr lang="en-US" sz="2800">
                <a:solidFill>
                  <a:schemeClr val="bg1"/>
                </a:solidFill>
                <a:latin typeface="Moderat" pitchFamily="2" charset="77"/>
                <a:ea typeface="Roboto" pitchFamily="34" charset="-122"/>
              </a:rPr>
              <a:t>Executive Courses</a:t>
            </a:r>
          </a:p>
        </p:txBody>
      </p:sp>
    </p:spTree>
    <p:extLst>
      <p:ext uri="{BB962C8B-B14F-4D97-AF65-F5344CB8AC3E}">
        <p14:creationId xmlns:p14="http://schemas.microsoft.com/office/powerpoint/2010/main" val="8588195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AD40FD-C778-A94E-286A-FB457BB65A6A}"/>
            </a:ext>
          </a:extLst>
        </p:cNvPr>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75EEBE72-F2D9-8C17-5594-7BD6AA5177F8}"/>
              </a:ext>
            </a:extLst>
          </p:cNvPr>
          <p:cNvGraphicFramePr>
            <a:graphicFrameLocks noChangeAspect="1"/>
          </p:cNvGraphicFramePr>
          <p:nvPr>
            <p:custDataLst>
              <p:tags r:id="rId1"/>
            </p:custDataLst>
            <p:extLst>
              <p:ext uri="{D42A27DB-BD31-4B8C-83A1-F6EECF244321}">
                <p14:modId xmlns:p14="http://schemas.microsoft.com/office/powerpoint/2010/main" val="45227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26" name="think-cell data - do not delete" hidden="1">
                        <a:extLst>
                          <a:ext uri="{FF2B5EF4-FFF2-40B4-BE49-F238E27FC236}">
                            <a16:creationId xmlns:a16="http://schemas.microsoft.com/office/drawing/2014/main" id="{75EEBE72-F2D9-8C17-5594-7BD6AA5177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8C13EF8-0B8C-9EBB-665F-B51511DBC12F}"/>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latin typeface="Moderat" pitchFamily="2" charset="77"/>
              </a:rPr>
              <a:t>One Voice, One Message, One Direction</a:t>
            </a:r>
          </a:p>
        </p:txBody>
      </p:sp>
      <p:sp>
        <p:nvSpPr>
          <p:cNvPr id="4" name="Text 1">
            <a:extLst>
              <a:ext uri="{FF2B5EF4-FFF2-40B4-BE49-F238E27FC236}">
                <a16:creationId xmlns:a16="http://schemas.microsoft.com/office/drawing/2014/main" id="{F307F96D-CD64-1C76-694A-CC5DEAA3DB41}"/>
              </a:ext>
            </a:extLst>
          </p:cNvPr>
          <p:cNvSpPr/>
          <p:nvPr/>
        </p:nvSpPr>
        <p:spPr>
          <a:xfrm>
            <a:off x="515938" y="1222623"/>
            <a:ext cx="11141074" cy="214802"/>
          </a:xfrm>
          <a:prstGeom prst="rect">
            <a:avLst/>
          </a:prstGeom>
          <a:noFill/>
          <a:ln/>
        </p:spPr>
        <p:txBody>
          <a:bodyPr wrap="square" lIns="0" tIns="0" rIns="0" bIns="0" rtlCol="0" anchor="t">
            <a:spAutoFit/>
          </a:bodyPr>
          <a:lstStyle/>
          <a:p>
            <a:pPr defTabSz="571500">
              <a:lnSpc>
                <a:spcPts val="1563"/>
              </a:lnSpc>
            </a:pPr>
            <a:r>
              <a:rPr lang="en-US" b="1">
                <a:solidFill>
                  <a:schemeClr val="accent6"/>
                </a:solidFill>
                <a:latin typeface="Moderat" pitchFamily="2" charset="77"/>
                <a:ea typeface="Source Serif 4" pitchFamily="34" charset="-122"/>
                <a:cs typeface="Source Serif 4" pitchFamily="34" charset="-120"/>
              </a:rPr>
              <a:t>Executive alignment for unified leadership action</a:t>
            </a:r>
          </a:p>
        </p:txBody>
      </p:sp>
      <p:sp>
        <p:nvSpPr>
          <p:cNvPr id="8" name="Text 8">
            <a:extLst>
              <a:ext uri="{FF2B5EF4-FFF2-40B4-BE49-F238E27FC236}">
                <a16:creationId xmlns:a16="http://schemas.microsoft.com/office/drawing/2014/main" id="{9AD99A97-4166-8E39-6C7F-8ABE62936432}"/>
              </a:ext>
            </a:extLst>
          </p:cNvPr>
          <p:cNvSpPr/>
          <p:nvPr/>
        </p:nvSpPr>
        <p:spPr>
          <a:xfrm>
            <a:off x="515938" y="1645977"/>
            <a:ext cx="11141074" cy="553998"/>
          </a:xfrm>
          <a:prstGeom prst="rect">
            <a:avLst/>
          </a:prstGeom>
          <a:noFill/>
          <a:ln/>
        </p:spPr>
        <p:txBody>
          <a:bodyPr wrap="square" lIns="0" tIns="0" rIns="0" bIns="0" rtlCol="0" anchor="t">
            <a:spAutoFit/>
          </a:bodyPr>
          <a:lstStyle/>
          <a:p>
            <a:pPr>
              <a:spcBef>
                <a:spcPts val="400"/>
              </a:spcBef>
              <a:spcAft>
                <a:spcPts val="400"/>
              </a:spcAft>
            </a:pPr>
            <a:r>
              <a:rPr lang="en-US">
                <a:solidFill>
                  <a:schemeClr val="bg2">
                    <a:lumMod val="25000"/>
                  </a:schemeClr>
                </a:solidFill>
                <a:latin typeface="Moderat" pitchFamily="2" charset="77"/>
                <a:ea typeface="Lato" pitchFamily="34" charset="-122"/>
                <a:cs typeface="Lato" pitchFamily="34" charset="-120"/>
              </a:rPr>
              <a:t>Align leaders on priorities, expected behaviors, and communication norms so the entire organization moves in the same direction with clarity and confidence</a:t>
            </a:r>
          </a:p>
        </p:txBody>
      </p:sp>
      <p:sp>
        <p:nvSpPr>
          <p:cNvPr id="18" name="Freeform: Shape 17">
            <a:extLst>
              <a:ext uri="{FF2B5EF4-FFF2-40B4-BE49-F238E27FC236}">
                <a16:creationId xmlns:a16="http://schemas.microsoft.com/office/drawing/2014/main" id="{82ED135C-8AFE-AF01-D070-17D3074E0D49}"/>
              </a:ext>
            </a:extLst>
          </p:cNvPr>
          <p:cNvSpPr/>
          <p:nvPr/>
        </p:nvSpPr>
        <p:spPr>
          <a:xfrm>
            <a:off x="518162" y="2467008"/>
            <a:ext cx="830597" cy="3514692"/>
          </a:xfrm>
          <a:custGeom>
            <a:avLst/>
            <a:gdLst>
              <a:gd name="connsiteX0" fmla="*/ 15240 w 762000"/>
              <a:gd name="connsiteY0" fmla="*/ 0 h 3009900"/>
              <a:gd name="connsiteX1" fmla="*/ 762000 w 762000"/>
              <a:gd name="connsiteY1" fmla="*/ 1866900 h 3009900"/>
              <a:gd name="connsiteX2" fmla="*/ 0 w 762000"/>
              <a:gd name="connsiteY2" fmla="*/ 3009900 h 3009900"/>
              <a:gd name="connsiteX0" fmla="*/ 15240 w 15240"/>
              <a:gd name="connsiteY0" fmla="*/ 0 h 3009900"/>
              <a:gd name="connsiteX1" fmla="*/ 0 w 15240"/>
              <a:gd name="connsiteY1" fmla="*/ 3009900 h 3009900"/>
              <a:gd name="connsiteX0" fmla="*/ 15240 w 203244"/>
              <a:gd name="connsiteY0" fmla="*/ 0 h 3009900"/>
              <a:gd name="connsiteX1" fmla="*/ 0 w 203244"/>
              <a:gd name="connsiteY1" fmla="*/ 3009900 h 3009900"/>
              <a:gd name="connsiteX0" fmla="*/ 15240 w 375943"/>
              <a:gd name="connsiteY0" fmla="*/ 0 h 3009900"/>
              <a:gd name="connsiteX1" fmla="*/ 0 w 375943"/>
              <a:gd name="connsiteY1" fmla="*/ 3009900 h 3009900"/>
              <a:gd name="connsiteX0" fmla="*/ 15240 w 467926"/>
              <a:gd name="connsiteY0" fmla="*/ 0 h 3009900"/>
              <a:gd name="connsiteX1" fmla="*/ 0 w 467926"/>
              <a:gd name="connsiteY1" fmla="*/ 3009900 h 3009900"/>
              <a:gd name="connsiteX0" fmla="*/ 15240 w 588554"/>
              <a:gd name="connsiteY0" fmla="*/ 0 h 3009900"/>
              <a:gd name="connsiteX1" fmla="*/ 0 w 588554"/>
              <a:gd name="connsiteY1" fmla="*/ 3009900 h 3009900"/>
              <a:gd name="connsiteX0" fmla="*/ 15240 w 633412"/>
              <a:gd name="connsiteY0" fmla="*/ 0 h 3009900"/>
              <a:gd name="connsiteX1" fmla="*/ 0 w 633412"/>
              <a:gd name="connsiteY1" fmla="*/ 3009900 h 3009900"/>
              <a:gd name="connsiteX0" fmla="*/ 15240 w 688748"/>
              <a:gd name="connsiteY0" fmla="*/ 0 h 3009900"/>
              <a:gd name="connsiteX1" fmla="*/ 0 w 688748"/>
              <a:gd name="connsiteY1" fmla="*/ 3009900 h 3009900"/>
              <a:gd name="connsiteX0" fmla="*/ 15240 w 739814"/>
              <a:gd name="connsiteY0" fmla="*/ 0 h 3009900"/>
              <a:gd name="connsiteX1" fmla="*/ 0 w 739814"/>
              <a:gd name="connsiteY1" fmla="*/ 3009900 h 3009900"/>
              <a:gd name="connsiteX0" fmla="*/ 15240 w 772065"/>
              <a:gd name="connsiteY0" fmla="*/ 0 h 3009900"/>
              <a:gd name="connsiteX1" fmla="*/ 0 w 772065"/>
              <a:gd name="connsiteY1" fmla="*/ 3009900 h 3009900"/>
              <a:gd name="connsiteX0" fmla="*/ 15240 w 799628"/>
              <a:gd name="connsiteY0" fmla="*/ 0 h 3009900"/>
              <a:gd name="connsiteX1" fmla="*/ 0 w 799628"/>
              <a:gd name="connsiteY1" fmla="*/ 3009900 h 3009900"/>
              <a:gd name="connsiteX0" fmla="*/ 15240 w 830597"/>
              <a:gd name="connsiteY0" fmla="*/ 0 h 3009900"/>
              <a:gd name="connsiteX1" fmla="*/ 0 w 830597"/>
              <a:gd name="connsiteY1" fmla="*/ 3009900 h 3009900"/>
            </a:gdLst>
            <a:ahLst/>
            <a:cxnLst>
              <a:cxn ang="0">
                <a:pos x="connsiteX0" y="connsiteY0"/>
              </a:cxn>
              <a:cxn ang="0">
                <a:pos x="connsiteX1" y="connsiteY1"/>
              </a:cxn>
            </a:cxnLst>
            <a:rect l="l" t="t" r="r" b="b"/>
            <a:pathLst>
              <a:path w="830597" h="3009900">
                <a:moveTo>
                  <a:pt x="15240" y="0"/>
                </a:moveTo>
                <a:cubicBezTo>
                  <a:pt x="1107440" y="789940"/>
                  <a:pt x="1102360" y="2364740"/>
                  <a:pt x="0" y="3009900"/>
                </a:cubicBezTo>
              </a:path>
            </a:pathLst>
          </a:cu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Moderat" panose="020B0604020202020204"/>
            </a:endParaRPr>
          </a:p>
        </p:txBody>
      </p:sp>
      <p:sp>
        <p:nvSpPr>
          <p:cNvPr id="19" name="Shape 2">
            <a:extLst>
              <a:ext uri="{FF2B5EF4-FFF2-40B4-BE49-F238E27FC236}">
                <a16:creationId xmlns:a16="http://schemas.microsoft.com/office/drawing/2014/main" id="{9D14D1BE-9357-6626-FD0E-140A7A4FDA3C}"/>
              </a:ext>
            </a:extLst>
          </p:cNvPr>
          <p:cNvSpPr/>
          <p:nvPr/>
        </p:nvSpPr>
        <p:spPr>
          <a:xfrm>
            <a:off x="1149790" y="2680881"/>
            <a:ext cx="10507221" cy="833755"/>
          </a:xfrm>
          <a:prstGeom prst="roundRect">
            <a:avLst>
              <a:gd name="adj" fmla="val 10119"/>
            </a:avLst>
          </a:prstGeom>
          <a:solidFill>
            <a:schemeClr val="bg1">
              <a:lumMod val="95000"/>
            </a:schemeClr>
          </a:solidFill>
          <a:ln w="22860">
            <a:noFill/>
            <a:prstDash val="solid"/>
          </a:ln>
        </p:spPr>
        <p:txBody>
          <a:bodyPr/>
          <a:lstStyle/>
          <a:p>
            <a:pPr defTabSz="304770"/>
            <a:endParaRPr lang="en-IN" sz="1600">
              <a:solidFill>
                <a:srgbClr val="000000"/>
              </a:solidFill>
              <a:latin typeface="Moderat" panose="020B0604020202020204"/>
            </a:endParaRPr>
          </a:p>
        </p:txBody>
      </p:sp>
      <p:sp>
        <p:nvSpPr>
          <p:cNvPr id="21" name="Text 8">
            <a:extLst>
              <a:ext uri="{FF2B5EF4-FFF2-40B4-BE49-F238E27FC236}">
                <a16:creationId xmlns:a16="http://schemas.microsoft.com/office/drawing/2014/main" id="{6AE6593D-F23D-9593-E780-619572324157}"/>
              </a:ext>
            </a:extLst>
          </p:cNvPr>
          <p:cNvSpPr/>
          <p:nvPr/>
        </p:nvSpPr>
        <p:spPr>
          <a:xfrm>
            <a:off x="1730617" y="2820759"/>
            <a:ext cx="9728472" cy="553998"/>
          </a:xfrm>
          <a:prstGeom prst="rect">
            <a:avLst/>
          </a:prstGeom>
          <a:noFill/>
          <a:ln/>
        </p:spPr>
        <p:txBody>
          <a:bodyPr wrap="square" lIns="0" tIns="0" rIns="0" bIns="0" rtlCol="0" anchor="ctr">
            <a:spAutoFit/>
          </a:bodyPr>
          <a:lstStyle/>
          <a:p>
            <a:pPr>
              <a:spcBef>
                <a:spcPts val="400"/>
              </a:spcBef>
              <a:spcAft>
                <a:spcPts val="400"/>
              </a:spcAft>
            </a:pPr>
            <a:r>
              <a:rPr lang="en-US">
                <a:solidFill>
                  <a:schemeClr val="bg2">
                    <a:lumMod val="25000"/>
                  </a:schemeClr>
                </a:solidFill>
                <a:latin typeface="Moderat" panose="020B0604020202020204"/>
                <a:ea typeface="Lato" pitchFamily="34" charset="-122"/>
                <a:cs typeface="Lato" pitchFamily="34" charset="-120"/>
              </a:rPr>
              <a:t>Leaders will gain a unified leadership narrative that helps them deliver consistent messaging and clear priorities to the organization</a:t>
            </a:r>
          </a:p>
        </p:txBody>
      </p:sp>
      <p:sp>
        <p:nvSpPr>
          <p:cNvPr id="25" name="Shape 2">
            <a:extLst>
              <a:ext uri="{FF2B5EF4-FFF2-40B4-BE49-F238E27FC236}">
                <a16:creationId xmlns:a16="http://schemas.microsoft.com/office/drawing/2014/main" id="{792C2056-420D-B713-89A1-23CF934FFD0A}"/>
              </a:ext>
            </a:extLst>
          </p:cNvPr>
          <p:cNvSpPr/>
          <p:nvPr/>
        </p:nvSpPr>
        <p:spPr>
          <a:xfrm>
            <a:off x="1348759" y="3838778"/>
            <a:ext cx="10308252" cy="833755"/>
          </a:xfrm>
          <a:prstGeom prst="roundRect">
            <a:avLst>
              <a:gd name="adj" fmla="val 10300"/>
            </a:avLst>
          </a:prstGeom>
          <a:solidFill>
            <a:schemeClr val="bg1">
              <a:lumMod val="95000"/>
            </a:schemeClr>
          </a:solidFill>
          <a:ln w="22860">
            <a:noFill/>
            <a:prstDash val="solid"/>
          </a:ln>
        </p:spPr>
        <p:txBody>
          <a:bodyPr/>
          <a:lstStyle/>
          <a:p>
            <a:pPr defTabSz="304770"/>
            <a:endParaRPr lang="en-IN" sz="1600">
              <a:solidFill>
                <a:srgbClr val="000000"/>
              </a:solidFill>
              <a:latin typeface="Moderat" panose="020B0604020202020204"/>
            </a:endParaRPr>
          </a:p>
        </p:txBody>
      </p:sp>
      <p:sp>
        <p:nvSpPr>
          <p:cNvPr id="27" name="Shape 2">
            <a:extLst>
              <a:ext uri="{FF2B5EF4-FFF2-40B4-BE49-F238E27FC236}">
                <a16:creationId xmlns:a16="http://schemas.microsoft.com/office/drawing/2014/main" id="{6BC17DBE-1311-E467-11A4-744A90D232BC}"/>
              </a:ext>
            </a:extLst>
          </p:cNvPr>
          <p:cNvSpPr/>
          <p:nvPr/>
        </p:nvSpPr>
        <p:spPr>
          <a:xfrm>
            <a:off x="1149790" y="4996676"/>
            <a:ext cx="10507221" cy="833755"/>
          </a:xfrm>
          <a:prstGeom prst="roundRect">
            <a:avLst>
              <a:gd name="adj" fmla="val 10119"/>
            </a:avLst>
          </a:prstGeom>
          <a:solidFill>
            <a:schemeClr val="bg1">
              <a:lumMod val="95000"/>
            </a:schemeClr>
          </a:solidFill>
          <a:ln w="22860">
            <a:noFill/>
            <a:prstDash val="solid"/>
          </a:ln>
        </p:spPr>
        <p:txBody>
          <a:bodyPr/>
          <a:lstStyle/>
          <a:p>
            <a:pPr defTabSz="304770"/>
            <a:endParaRPr lang="en-IN" sz="1600">
              <a:solidFill>
                <a:srgbClr val="000000"/>
              </a:solidFill>
              <a:latin typeface="Moderat" panose="020B0604020202020204"/>
            </a:endParaRPr>
          </a:p>
        </p:txBody>
      </p:sp>
      <p:sp>
        <p:nvSpPr>
          <p:cNvPr id="28" name="Text 8">
            <a:extLst>
              <a:ext uri="{FF2B5EF4-FFF2-40B4-BE49-F238E27FC236}">
                <a16:creationId xmlns:a16="http://schemas.microsoft.com/office/drawing/2014/main" id="{667B802F-26B2-867A-1737-F72F00795413}"/>
              </a:ext>
            </a:extLst>
          </p:cNvPr>
          <p:cNvSpPr/>
          <p:nvPr/>
        </p:nvSpPr>
        <p:spPr>
          <a:xfrm>
            <a:off x="1996440" y="3978657"/>
            <a:ext cx="9467949" cy="553998"/>
          </a:xfrm>
          <a:prstGeom prst="rect">
            <a:avLst/>
          </a:prstGeom>
          <a:noFill/>
          <a:ln/>
        </p:spPr>
        <p:txBody>
          <a:bodyPr wrap="square" lIns="0" tIns="0" rIns="0" bIns="0" rtlCol="0" anchor="ctr">
            <a:spAutoFit/>
          </a:bodyPr>
          <a:lstStyle/>
          <a:p>
            <a:pPr>
              <a:spcBef>
                <a:spcPts val="400"/>
              </a:spcBef>
              <a:spcAft>
                <a:spcPts val="400"/>
              </a:spcAft>
            </a:pPr>
            <a:r>
              <a:rPr lang="en-US">
                <a:solidFill>
                  <a:schemeClr val="bg2">
                    <a:lumMod val="25000"/>
                  </a:schemeClr>
                </a:solidFill>
                <a:latin typeface="Moderat" panose="020B0604020202020204"/>
                <a:ea typeface="Lato" pitchFamily="34" charset="-122"/>
                <a:cs typeface="Lato" pitchFamily="34" charset="-120"/>
              </a:rPr>
              <a:t>By following a clear structure, leaders will identify shared priorities, define their leadership identity, and commit to a course of action</a:t>
            </a:r>
          </a:p>
        </p:txBody>
      </p:sp>
      <p:sp>
        <p:nvSpPr>
          <p:cNvPr id="29" name="Text 8">
            <a:extLst>
              <a:ext uri="{FF2B5EF4-FFF2-40B4-BE49-F238E27FC236}">
                <a16:creationId xmlns:a16="http://schemas.microsoft.com/office/drawing/2014/main" id="{C540D173-E8F0-6493-7C3E-65C28AFBA783}"/>
              </a:ext>
            </a:extLst>
          </p:cNvPr>
          <p:cNvSpPr/>
          <p:nvPr/>
        </p:nvSpPr>
        <p:spPr>
          <a:xfrm>
            <a:off x="1730617" y="5136555"/>
            <a:ext cx="9728472" cy="553998"/>
          </a:xfrm>
          <a:prstGeom prst="rect">
            <a:avLst/>
          </a:prstGeom>
          <a:noFill/>
          <a:ln/>
        </p:spPr>
        <p:txBody>
          <a:bodyPr wrap="square" lIns="0" tIns="0" rIns="0" bIns="0" rtlCol="0" anchor="ctr">
            <a:spAutoFit/>
          </a:bodyPr>
          <a:lstStyle/>
          <a:p>
            <a:pPr>
              <a:spcBef>
                <a:spcPts val="400"/>
              </a:spcBef>
              <a:spcAft>
                <a:spcPts val="400"/>
              </a:spcAft>
            </a:pPr>
            <a:r>
              <a:rPr lang="en-US">
                <a:solidFill>
                  <a:schemeClr val="bg2">
                    <a:lumMod val="25000"/>
                  </a:schemeClr>
                </a:solidFill>
                <a:latin typeface="Moderat" panose="020B0604020202020204"/>
                <a:ea typeface="Lato" pitchFamily="34" charset="-122"/>
                <a:cs typeface="Lato" pitchFamily="34" charset="-120"/>
              </a:rPr>
              <a:t>Tangible takeaways will include their leadership messaging, success measures, priority focus areas, quick wins, and individual commitments</a:t>
            </a:r>
          </a:p>
        </p:txBody>
      </p:sp>
      <p:grpSp>
        <p:nvGrpSpPr>
          <p:cNvPr id="60" name="Group 59">
            <a:extLst>
              <a:ext uri="{FF2B5EF4-FFF2-40B4-BE49-F238E27FC236}">
                <a16:creationId xmlns:a16="http://schemas.microsoft.com/office/drawing/2014/main" id="{3CFB3EB1-2AAA-573D-CCA0-7ACD94AB5FB8}"/>
              </a:ext>
            </a:extLst>
          </p:cNvPr>
          <p:cNvGrpSpPr/>
          <p:nvPr/>
        </p:nvGrpSpPr>
        <p:grpSpPr>
          <a:xfrm>
            <a:off x="707512" y="2680881"/>
            <a:ext cx="833755" cy="833755"/>
            <a:chOff x="707512" y="2680881"/>
            <a:chExt cx="833755" cy="833755"/>
          </a:xfrm>
        </p:grpSpPr>
        <p:sp>
          <p:nvSpPr>
            <p:cNvPr id="22" name="Oval 21">
              <a:extLst>
                <a:ext uri="{FF2B5EF4-FFF2-40B4-BE49-F238E27FC236}">
                  <a16:creationId xmlns:a16="http://schemas.microsoft.com/office/drawing/2014/main" id="{3DD7CCB9-B9E7-334C-499B-D42AF010D44D}"/>
                </a:ext>
              </a:extLst>
            </p:cNvPr>
            <p:cNvSpPr>
              <a:spLocks noChangeAspect="1"/>
            </p:cNvSpPr>
            <p:nvPr/>
          </p:nvSpPr>
          <p:spPr>
            <a:xfrm>
              <a:off x="707512" y="2680881"/>
              <a:ext cx="833755" cy="833755"/>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Moderat" panose="020B0604020202020204"/>
              </a:endParaRPr>
            </a:p>
          </p:txBody>
        </p:sp>
        <p:grpSp>
          <p:nvGrpSpPr>
            <p:cNvPr id="30" name="Group 29">
              <a:extLst>
                <a:ext uri="{FF2B5EF4-FFF2-40B4-BE49-F238E27FC236}">
                  <a16:creationId xmlns:a16="http://schemas.microsoft.com/office/drawing/2014/main" id="{F0E3FD46-3EF3-C811-AC97-65B5B8DC6EF1}"/>
                </a:ext>
              </a:extLst>
            </p:cNvPr>
            <p:cNvGrpSpPr>
              <a:grpSpLocks noChangeAspect="1"/>
            </p:cNvGrpSpPr>
            <p:nvPr/>
          </p:nvGrpSpPr>
          <p:grpSpPr>
            <a:xfrm>
              <a:off x="863186" y="2836555"/>
              <a:ext cx="522408" cy="522407"/>
              <a:chOff x="8018462" y="1000124"/>
              <a:chExt cx="695325" cy="695324"/>
            </a:xfrm>
            <a:solidFill>
              <a:schemeClr val="bg1"/>
            </a:solidFill>
          </p:grpSpPr>
          <p:sp>
            <p:nvSpPr>
              <p:cNvPr id="44" name="Freeform: Shape 43">
                <a:extLst>
                  <a:ext uri="{FF2B5EF4-FFF2-40B4-BE49-F238E27FC236}">
                    <a16:creationId xmlns:a16="http://schemas.microsoft.com/office/drawing/2014/main" id="{AE3B466E-0DF9-05B1-A637-B9FD2595536C}"/>
                  </a:ext>
                </a:extLst>
              </p:cNvPr>
              <p:cNvSpPr/>
              <p:nvPr/>
            </p:nvSpPr>
            <p:spPr>
              <a:xfrm>
                <a:off x="8458473" y="1069430"/>
                <a:ext cx="182258" cy="183268"/>
              </a:xfrm>
              <a:custGeom>
                <a:avLst/>
                <a:gdLst>
                  <a:gd name="csX0" fmla="*/ 162044 w 182258"/>
                  <a:gd name="csY0" fmla="*/ 183269 h 183268"/>
                  <a:gd name="csX1" fmla="*/ 168115 w 182258"/>
                  <a:gd name="csY1" fmla="*/ 179682 h 183268"/>
                  <a:gd name="csX2" fmla="*/ 182258 w 182258"/>
                  <a:gd name="csY2" fmla="*/ 175312 h 183268"/>
                  <a:gd name="csX3" fmla="*/ 0 w 182258"/>
                  <a:gd name="csY3" fmla="*/ 0 h 183268"/>
                  <a:gd name="csX4" fmla="*/ 0 w 182258"/>
                  <a:gd name="csY4" fmla="*/ 22939 h 183268"/>
                  <a:gd name="csX5" fmla="*/ 162044 w 182258"/>
                  <a:gd name="csY5" fmla="*/ 183269 h 183268"/>
                </a:gdLst>
                <a:ahLst/>
                <a:cxnLst>
                  <a:cxn ang="0">
                    <a:pos x="csX0" y="csY0"/>
                  </a:cxn>
                  <a:cxn ang="0">
                    <a:pos x="csX1" y="csY1"/>
                  </a:cxn>
                  <a:cxn ang="0">
                    <a:pos x="csX2" y="csY2"/>
                  </a:cxn>
                  <a:cxn ang="0">
                    <a:pos x="csX3" y="csY3"/>
                  </a:cxn>
                  <a:cxn ang="0">
                    <a:pos x="csX4" y="csY4"/>
                  </a:cxn>
                  <a:cxn ang="0">
                    <a:pos x="csX5" y="csY5"/>
                  </a:cxn>
                </a:cxnLst>
                <a:rect l="l" t="t" r="r" b="b"/>
                <a:pathLst>
                  <a:path w="182258" h="183268">
                    <a:moveTo>
                      <a:pt x="162044" y="183269"/>
                    </a:moveTo>
                    <a:lnTo>
                      <a:pt x="168115" y="179682"/>
                    </a:lnTo>
                    <a:cubicBezTo>
                      <a:pt x="172431" y="177156"/>
                      <a:pt x="177270" y="175661"/>
                      <a:pt x="182258" y="175312"/>
                    </a:cubicBezTo>
                    <a:cubicBezTo>
                      <a:pt x="150939" y="92453"/>
                      <a:pt x="84012" y="28077"/>
                      <a:pt x="0" y="0"/>
                    </a:cubicBezTo>
                    <a:lnTo>
                      <a:pt x="0" y="22939"/>
                    </a:lnTo>
                    <a:cubicBezTo>
                      <a:pt x="74813" y="50191"/>
                      <a:pt x="133997" y="108750"/>
                      <a:pt x="162044" y="183269"/>
                    </a:cubicBezTo>
                    <a:close/>
                  </a:path>
                </a:pathLst>
              </a:custGeom>
              <a:grpFill/>
              <a:ln w="543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5" name="Freeform: Shape 44">
                <a:extLst>
                  <a:ext uri="{FF2B5EF4-FFF2-40B4-BE49-F238E27FC236}">
                    <a16:creationId xmlns:a16="http://schemas.microsoft.com/office/drawing/2014/main" id="{2E406DA8-D1D9-700B-A70E-E74625DB8D2C}"/>
                  </a:ext>
                </a:extLst>
              </p:cNvPr>
              <p:cNvSpPr/>
              <p:nvPr/>
            </p:nvSpPr>
            <p:spPr>
              <a:xfrm>
                <a:off x="8091519" y="1069430"/>
                <a:ext cx="182258" cy="183268"/>
              </a:xfrm>
              <a:custGeom>
                <a:avLst/>
                <a:gdLst>
                  <a:gd name="csX0" fmla="*/ 20214 w 182258"/>
                  <a:gd name="csY0" fmla="*/ 183269 h 183268"/>
                  <a:gd name="csX1" fmla="*/ 182258 w 182258"/>
                  <a:gd name="csY1" fmla="*/ 22939 h 183268"/>
                  <a:gd name="csX2" fmla="*/ 182258 w 182258"/>
                  <a:gd name="csY2" fmla="*/ 0 h 183268"/>
                  <a:gd name="csX3" fmla="*/ 0 w 182258"/>
                  <a:gd name="csY3" fmla="*/ 175312 h 183268"/>
                  <a:gd name="csX4" fmla="*/ 14143 w 182258"/>
                  <a:gd name="csY4" fmla="*/ 179682 h 183268"/>
                </a:gdLst>
                <a:ahLst/>
                <a:cxnLst>
                  <a:cxn ang="0">
                    <a:pos x="csX0" y="csY0"/>
                  </a:cxn>
                  <a:cxn ang="0">
                    <a:pos x="csX1" y="csY1"/>
                  </a:cxn>
                  <a:cxn ang="0">
                    <a:pos x="csX2" y="csY2"/>
                  </a:cxn>
                  <a:cxn ang="0">
                    <a:pos x="csX3" y="csY3"/>
                  </a:cxn>
                  <a:cxn ang="0">
                    <a:pos x="csX4" y="csY4"/>
                  </a:cxn>
                </a:cxnLst>
                <a:rect l="l" t="t" r="r" b="b"/>
                <a:pathLst>
                  <a:path w="182258" h="183268">
                    <a:moveTo>
                      <a:pt x="20214" y="183269"/>
                    </a:moveTo>
                    <a:cubicBezTo>
                      <a:pt x="48261" y="108750"/>
                      <a:pt x="107446" y="50191"/>
                      <a:pt x="182258" y="22939"/>
                    </a:cubicBezTo>
                    <a:lnTo>
                      <a:pt x="182258" y="0"/>
                    </a:lnTo>
                    <a:cubicBezTo>
                      <a:pt x="98246" y="28077"/>
                      <a:pt x="31319" y="92453"/>
                      <a:pt x="0" y="175312"/>
                    </a:cubicBezTo>
                    <a:cubicBezTo>
                      <a:pt x="4988" y="175661"/>
                      <a:pt x="9828" y="177156"/>
                      <a:pt x="14143" y="179682"/>
                    </a:cubicBezTo>
                    <a:close/>
                  </a:path>
                </a:pathLst>
              </a:custGeom>
              <a:grpFill/>
              <a:ln w="543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6" name="Freeform: Shape 45">
                <a:extLst>
                  <a:ext uri="{FF2B5EF4-FFF2-40B4-BE49-F238E27FC236}">
                    <a16:creationId xmlns:a16="http://schemas.microsoft.com/office/drawing/2014/main" id="{A36A4933-7416-975B-AFC8-20FEBF119C86}"/>
                  </a:ext>
                </a:extLst>
              </p:cNvPr>
              <p:cNvSpPr/>
              <p:nvPr/>
            </p:nvSpPr>
            <p:spPr>
              <a:xfrm>
                <a:off x="8458473" y="1442885"/>
                <a:ext cx="182258" cy="183269"/>
              </a:xfrm>
              <a:custGeom>
                <a:avLst/>
                <a:gdLst>
                  <a:gd name="csX0" fmla="*/ 162044 w 182258"/>
                  <a:gd name="csY0" fmla="*/ 0 h 183269"/>
                  <a:gd name="csX1" fmla="*/ 0 w 182258"/>
                  <a:gd name="csY1" fmla="*/ 160331 h 183269"/>
                  <a:gd name="csX2" fmla="*/ 0 w 182258"/>
                  <a:gd name="csY2" fmla="*/ 183269 h 183269"/>
                  <a:gd name="csX3" fmla="*/ 182258 w 182258"/>
                  <a:gd name="csY3" fmla="*/ 7958 h 183269"/>
                  <a:gd name="csX4" fmla="*/ 168113 w 182258"/>
                  <a:gd name="csY4" fmla="*/ 3586 h 183269"/>
                </a:gdLst>
                <a:ahLst/>
                <a:cxnLst>
                  <a:cxn ang="0">
                    <a:pos x="csX0" y="csY0"/>
                  </a:cxn>
                  <a:cxn ang="0">
                    <a:pos x="csX1" y="csY1"/>
                  </a:cxn>
                  <a:cxn ang="0">
                    <a:pos x="csX2" y="csY2"/>
                  </a:cxn>
                  <a:cxn ang="0">
                    <a:pos x="csX3" y="csY3"/>
                  </a:cxn>
                  <a:cxn ang="0">
                    <a:pos x="csX4" y="csY4"/>
                  </a:cxn>
                </a:cxnLst>
                <a:rect l="l" t="t" r="r" b="b"/>
                <a:pathLst>
                  <a:path w="182258" h="183269">
                    <a:moveTo>
                      <a:pt x="162044" y="0"/>
                    </a:moveTo>
                    <a:cubicBezTo>
                      <a:pt x="133997" y="74519"/>
                      <a:pt x="74813" y="133078"/>
                      <a:pt x="0" y="160331"/>
                    </a:cubicBezTo>
                    <a:lnTo>
                      <a:pt x="0" y="183269"/>
                    </a:lnTo>
                    <a:cubicBezTo>
                      <a:pt x="84012" y="155191"/>
                      <a:pt x="150939" y="90815"/>
                      <a:pt x="182258" y="7958"/>
                    </a:cubicBezTo>
                    <a:cubicBezTo>
                      <a:pt x="177270" y="7608"/>
                      <a:pt x="172429" y="6112"/>
                      <a:pt x="168113" y="3586"/>
                    </a:cubicBezTo>
                    <a:close/>
                  </a:path>
                </a:pathLst>
              </a:custGeom>
              <a:grpFill/>
              <a:ln w="543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7" name="Freeform: Shape 46">
                <a:extLst>
                  <a:ext uri="{FF2B5EF4-FFF2-40B4-BE49-F238E27FC236}">
                    <a16:creationId xmlns:a16="http://schemas.microsoft.com/office/drawing/2014/main" id="{446B1757-3475-56BB-879B-FA8620439972}"/>
                  </a:ext>
                </a:extLst>
              </p:cNvPr>
              <p:cNvSpPr/>
              <p:nvPr/>
            </p:nvSpPr>
            <p:spPr>
              <a:xfrm>
                <a:off x="8091519" y="1442885"/>
                <a:ext cx="182258" cy="183269"/>
              </a:xfrm>
              <a:custGeom>
                <a:avLst/>
                <a:gdLst>
                  <a:gd name="csX0" fmla="*/ 20214 w 182258"/>
                  <a:gd name="csY0" fmla="*/ 0 h 183269"/>
                  <a:gd name="csX1" fmla="*/ 14146 w 182258"/>
                  <a:gd name="csY1" fmla="*/ 3586 h 183269"/>
                  <a:gd name="csX2" fmla="*/ 0 w 182258"/>
                  <a:gd name="csY2" fmla="*/ 7958 h 183269"/>
                  <a:gd name="csX3" fmla="*/ 182258 w 182258"/>
                  <a:gd name="csY3" fmla="*/ 183269 h 183269"/>
                  <a:gd name="csX4" fmla="*/ 182258 w 182258"/>
                  <a:gd name="csY4" fmla="*/ 160331 h 183269"/>
                  <a:gd name="csX5" fmla="*/ 20214 w 182258"/>
                  <a:gd name="csY5" fmla="*/ 0 h 183269"/>
                </a:gdLst>
                <a:ahLst/>
                <a:cxnLst>
                  <a:cxn ang="0">
                    <a:pos x="csX0" y="csY0"/>
                  </a:cxn>
                  <a:cxn ang="0">
                    <a:pos x="csX1" y="csY1"/>
                  </a:cxn>
                  <a:cxn ang="0">
                    <a:pos x="csX2" y="csY2"/>
                  </a:cxn>
                  <a:cxn ang="0">
                    <a:pos x="csX3" y="csY3"/>
                  </a:cxn>
                  <a:cxn ang="0">
                    <a:pos x="csX4" y="csY4"/>
                  </a:cxn>
                  <a:cxn ang="0">
                    <a:pos x="csX5" y="csY5"/>
                  </a:cxn>
                </a:cxnLst>
                <a:rect l="l" t="t" r="r" b="b"/>
                <a:pathLst>
                  <a:path w="182258" h="183269">
                    <a:moveTo>
                      <a:pt x="20214" y="0"/>
                    </a:moveTo>
                    <a:lnTo>
                      <a:pt x="14146" y="3586"/>
                    </a:lnTo>
                    <a:cubicBezTo>
                      <a:pt x="9829" y="6112"/>
                      <a:pt x="4989" y="7608"/>
                      <a:pt x="0" y="7958"/>
                    </a:cubicBezTo>
                    <a:cubicBezTo>
                      <a:pt x="31320" y="90815"/>
                      <a:pt x="98247" y="155191"/>
                      <a:pt x="182258" y="183269"/>
                    </a:cubicBezTo>
                    <a:lnTo>
                      <a:pt x="182258" y="160331"/>
                    </a:lnTo>
                    <a:cubicBezTo>
                      <a:pt x="107446" y="133078"/>
                      <a:pt x="48261" y="74519"/>
                      <a:pt x="20214" y="0"/>
                    </a:cubicBezTo>
                    <a:close/>
                  </a:path>
                </a:pathLst>
              </a:custGeom>
              <a:grpFill/>
              <a:ln w="543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8" name="Freeform: Shape 47">
                <a:extLst>
                  <a:ext uri="{FF2B5EF4-FFF2-40B4-BE49-F238E27FC236}">
                    <a16:creationId xmlns:a16="http://schemas.microsoft.com/office/drawing/2014/main" id="{3D8FDA81-0C24-7AEF-0831-D5F919D9ADA8}"/>
                  </a:ext>
                </a:extLst>
              </p:cNvPr>
              <p:cNvSpPr/>
              <p:nvPr/>
            </p:nvSpPr>
            <p:spPr>
              <a:xfrm>
                <a:off x="8295506" y="1000124"/>
                <a:ext cx="141237" cy="162951"/>
              </a:xfrm>
              <a:custGeom>
                <a:avLst/>
                <a:gdLst>
                  <a:gd name="csX0" fmla="*/ 5337 w 141237"/>
                  <a:gd name="csY0" fmla="*/ 126140 h 162951"/>
                  <a:gd name="csX1" fmla="*/ 65091 w 141237"/>
                  <a:gd name="csY1" fmla="*/ 161455 h 162951"/>
                  <a:gd name="csX2" fmla="*/ 76147 w 141237"/>
                  <a:gd name="csY2" fmla="*/ 161455 h 162951"/>
                  <a:gd name="csX3" fmla="*/ 135901 w 141237"/>
                  <a:gd name="csY3" fmla="*/ 126140 h 162951"/>
                  <a:gd name="csX4" fmla="*/ 141238 w 141237"/>
                  <a:gd name="csY4" fmla="*/ 116788 h 162951"/>
                  <a:gd name="csX5" fmla="*/ 141238 w 141237"/>
                  <a:gd name="csY5" fmla="*/ 46174 h 162951"/>
                  <a:gd name="csX6" fmla="*/ 135901 w 141237"/>
                  <a:gd name="csY6" fmla="*/ 36821 h 162951"/>
                  <a:gd name="csX7" fmla="*/ 76147 w 141237"/>
                  <a:gd name="csY7" fmla="*/ 1512 h 162951"/>
                  <a:gd name="csX8" fmla="*/ 65091 w 141237"/>
                  <a:gd name="csY8" fmla="*/ 1512 h 162951"/>
                  <a:gd name="csX9" fmla="*/ 5337 w 141237"/>
                  <a:gd name="csY9" fmla="*/ 36821 h 162951"/>
                  <a:gd name="csX10" fmla="*/ 0 w 141237"/>
                  <a:gd name="csY10" fmla="*/ 46174 h 162951"/>
                  <a:gd name="csX11" fmla="*/ 0 w 141237"/>
                  <a:gd name="csY11" fmla="*/ 116788 h 162951"/>
                  <a:gd name="csX12" fmla="*/ 5337 w 141237"/>
                  <a:gd name="csY12" fmla="*/ 126140 h 162951"/>
                  <a:gd name="csX13" fmla="*/ 21729 w 141237"/>
                  <a:gd name="csY13" fmla="*/ 52370 h 162951"/>
                  <a:gd name="csX14" fmla="*/ 70619 w 141237"/>
                  <a:gd name="csY14" fmla="*/ 23485 h 162951"/>
                  <a:gd name="csX15" fmla="*/ 119509 w 141237"/>
                  <a:gd name="csY15" fmla="*/ 52370 h 162951"/>
                  <a:gd name="csX16" fmla="*/ 119509 w 141237"/>
                  <a:gd name="csY16" fmla="*/ 110592 h 162951"/>
                  <a:gd name="csX17" fmla="*/ 70619 w 141237"/>
                  <a:gd name="csY17" fmla="*/ 139482 h 162951"/>
                  <a:gd name="csX18" fmla="*/ 21729 w 141237"/>
                  <a:gd name="csY18" fmla="*/ 110592 h 16295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141237" h="162951">
                    <a:moveTo>
                      <a:pt x="5337" y="126140"/>
                    </a:moveTo>
                    <a:lnTo>
                      <a:pt x="65091" y="161455"/>
                    </a:lnTo>
                    <a:cubicBezTo>
                      <a:pt x="68506" y="163450"/>
                      <a:pt x="72731" y="163450"/>
                      <a:pt x="76147" y="161455"/>
                    </a:cubicBezTo>
                    <a:lnTo>
                      <a:pt x="135901" y="126140"/>
                    </a:lnTo>
                    <a:cubicBezTo>
                      <a:pt x="139210" y="124187"/>
                      <a:pt x="141240" y="120630"/>
                      <a:pt x="141238" y="116788"/>
                    </a:cubicBezTo>
                    <a:lnTo>
                      <a:pt x="141238" y="46174"/>
                    </a:lnTo>
                    <a:cubicBezTo>
                      <a:pt x="141240" y="42332"/>
                      <a:pt x="139210" y="38775"/>
                      <a:pt x="135901" y="36821"/>
                    </a:cubicBezTo>
                    <a:lnTo>
                      <a:pt x="76147" y="1512"/>
                    </a:lnTo>
                    <a:cubicBezTo>
                      <a:pt x="72737" y="-504"/>
                      <a:pt x="68501" y="-504"/>
                      <a:pt x="65091" y="1512"/>
                    </a:cubicBezTo>
                    <a:lnTo>
                      <a:pt x="5337" y="36821"/>
                    </a:lnTo>
                    <a:cubicBezTo>
                      <a:pt x="2028" y="38775"/>
                      <a:pt x="-2" y="42332"/>
                      <a:pt x="0" y="46174"/>
                    </a:cubicBezTo>
                    <a:lnTo>
                      <a:pt x="0" y="116788"/>
                    </a:lnTo>
                    <a:cubicBezTo>
                      <a:pt x="-2" y="120630"/>
                      <a:pt x="2028" y="124187"/>
                      <a:pt x="5337" y="126140"/>
                    </a:cubicBezTo>
                    <a:close/>
                    <a:moveTo>
                      <a:pt x="21729" y="52370"/>
                    </a:moveTo>
                    <a:lnTo>
                      <a:pt x="70619" y="23485"/>
                    </a:lnTo>
                    <a:lnTo>
                      <a:pt x="119509" y="52370"/>
                    </a:lnTo>
                    <a:lnTo>
                      <a:pt x="119509" y="110592"/>
                    </a:lnTo>
                    <a:lnTo>
                      <a:pt x="70619" y="139482"/>
                    </a:lnTo>
                    <a:lnTo>
                      <a:pt x="21729" y="110592"/>
                    </a:lnTo>
                    <a:close/>
                  </a:path>
                </a:pathLst>
              </a:custGeom>
              <a:grpFill/>
              <a:ln w="543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9" name="Freeform: Shape 48">
                <a:extLst>
                  <a:ext uri="{FF2B5EF4-FFF2-40B4-BE49-F238E27FC236}">
                    <a16:creationId xmlns:a16="http://schemas.microsoft.com/office/drawing/2014/main" id="{043C64F3-7B34-C0E1-80D7-E57EA694D7E2}"/>
                  </a:ext>
                </a:extLst>
              </p:cNvPr>
              <p:cNvSpPr/>
              <p:nvPr/>
            </p:nvSpPr>
            <p:spPr>
              <a:xfrm>
                <a:off x="8295506" y="1532493"/>
                <a:ext cx="141237" cy="162955"/>
              </a:xfrm>
              <a:custGeom>
                <a:avLst/>
                <a:gdLst>
                  <a:gd name="csX0" fmla="*/ 135901 w 141237"/>
                  <a:gd name="csY0" fmla="*/ 36821 h 162955"/>
                  <a:gd name="csX1" fmla="*/ 76147 w 141237"/>
                  <a:gd name="csY1" fmla="*/ 1512 h 162955"/>
                  <a:gd name="csX2" fmla="*/ 65091 w 141237"/>
                  <a:gd name="csY2" fmla="*/ 1512 h 162955"/>
                  <a:gd name="csX3" fmla="*/ 5337 w 141237"/>
                  <a:gd name="csY3" fmla="*/ 36821 h 162955"/>
                  <a:gd name="csX4" fmla="*/ 0 w 141237"/>
                  <a:gd name="csY4" fmla="*/ 46174 h 162955"/>
                  <a:gd name="csX5" fmla="*/ 0 w 141237"/>
                  <a:gd name="csY5" fmla="*/ 116790 h 162955"/>
                  <a:gd name="csX6" fmla="*/ 5337 w 141237"/>
                  <a:gd name="csY6" fmla="*/ 126142 h 162955"/>
                  <a:gd name="csX7" fmla="*/ 65091 w 141237"/>
                  <a:gd name="csY7" fmla="*/ 161455 h 162955"/>
                  <a:gd name="csX8" fmla="*/ 76147 w 141237"/>
                  <a:gd name="csY8" fmla="*/ 161455 h 162955"/>
                  <a:gd name="csX9" fmla="*/ 135901 w 141237"/>
                  <a:gd name="csY9" fmla="*/ 126142 h 162955"/>
                  <a:gd name="csX10" fmla="*/ 141238 w 141237"/>
                  <a:gd name="csY10" fmla="*/ 116790 h 162955"/>
                  <a:gd name="csX11" fmla="*/ 141238 w 141237"/>
                  <a:gd name="csY11" fmla="*/ 46174 h 162955"/>
                  <a:gd name="csX12" fmla="*/ 135901 w 141237"/>
                  <a:gd name="csY12" fmla="*/ 36821 h 162955"/>
                  <a:gd name="csX13" fmla="*/ 119509 w 141237"/>
                  <a:gd name="csY13" fmla="*/ 110592 h 162955"/>
                  <a:gd name="csX14" fmla="*/ 70619 w 141237"/>
                  <a:gd name="csY14" fmla="*/ 139482 h 162955"/>
                  <a:gd name="csX15" fmla="*/ 21729 w 141237"/>
                  <a:gd name="csY15" fmla="*/ 110592 h 162955"/>
                  <a:gd name="csX16" fmla="*/ 21729 w 141237"/>
                  <a:gd name="csY16" fmla="*/ 52373 h 162955"/>
                  <a:gd name="csX17" fmla="*/ 70619 w 141237"/>
                  <a:gd name="csY17" fmla="*/ 23485 h 162955"/>
                  <a:gd name="csX18" fmla="*/ 119509 w 141237"/>
                  <a:gd name="csY18" fmla="*/ 52373 h 16295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141237" h="162955">
                    <a:moveTo>
                      <a:pt x="135901" y="36821"/>
                    </a:moveTo>
                    <a:lnTo>
                      <a:pt x="76147" y="1512"/>
                    </a:lnTo>
                    <a:cubicBezTo>
                      <a:pt x="72737" y="-504"/>
                      <a:pt x="68501" y="-504"/>
                      <a:pt x="65091" y="1512"/>
                    </a:cubicBezTo>
                    <a:lnTo>
                      <a:pt x="5337" y="36821"/>
                    </a:lnTo>
                    <a:cubicBezTo>
                      <a:pt x="2029" y="38776"/>
                      <a:pt x="-1" y="42332"/>
                      <a:pt x="0" y="46174"/>
                    </a:cubicBezTo>
                    <a:lnTo>
                      <a:pt x="0" y="116790"/>
                    </a:lnTo>
                    <a:cubicBezTo>
                      <a:pt x="0" y="120632"/>
                      <a:pt x="2029" y="124188"/>
                      <a:pt x="5337" y="126142"/>
                    </a:cubicBezTo>
                    <a:lnTo>
                      <a:pt x="65091" y="161455"/>
                    </a:lnTo>
                    <a:cubicBezTo>
                      <a:pt x="68505" y="163456"/>
                      <a:pt x="72733" y="163456"/>
                      <a:pt x="76147" y="161455"/>
                    </a:cubicBezTo>
                    <a:lnTo>
                      <a:pt x="135901" y="126142"/>
                    </a:lnTo>
                    <a:cubicBezTo>
                      <a:pt x="139209" y="124188"/>
                      <a:pt x="141238" y="120632"/>
                      <a:pt x="141238" y="116790"/>
                    </a:cubicBezTo>
                    <a:lnTo>
                      <a:pt x="141238" y="46174"/>
                    </a:lnTo>
                    <a:cubicBezTo>
                      <a:pt x="141239" y="42332"/>
                      <a:pt x="139209" y="38776"/>
                      <a:pt x="135901" y="36821"/>
                    </a:cubicBezTo>
                    <a:close/>
                    <a:moveTo>
                      <a:pt x="119509" y="110592"/>
                    </a:moveTo>
                    <a:lnTo>
                      <a:pt x="70619" y="139482"/>
                    </a:lnTo>
                    <a:lnTo>
                      <a:pt x="21729" y="110592"/>
                    </a:lnTo>
                    <a:lnTo>
                      <a:pt x="21729" y="52373"/>
                    </a:lnTo>
                    <a:lnTo>
                      <a:pt x="70619" y="23485"/>
                    </a:lnTo>
                    <a:lnTo>
                      <a:pt x="119509" y="52373"/>
                    </a:lnTo>
                    <a:close/>
                  </a:path>
                </a:pathLst>
              </a:custGeom>
              <a:grpFill/>
              <a:ln w="543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0" name="Freeform: Shape 49">
                <a:extLst>
                  <a:ext uri="{FF2B5EF4-FFF2-40B4-BE49-F238E27FC236}">
                    <a16:creationId xmlns:a16="http://schemas.microsoft.com/office/drawing/2014/main" id="{133310F1-2C4D-C754-4659-3943A9C9464A}"/>
                  </a:ext>
                </a:extLst>
              </p:cNvPr>
              <p:cNvSpPr/>
              <p:nvPr/>
            </p:nvSpPr>
            <p:spPr>
              <a:xfrm>
                <a:off x="8018462" y="1266309"/>
                <a:ext cx="141237" cy="162954"/>
              </a:xfrm>
              <a:custGeom>
                <a:avLst/>
                <a:gdLst>
                  <a:gd name="csX0" fmla="*/ 135901 w 141237"/>
                  <a:gd name="csY0" fmla="*/ 126143 h 162954"/>
                  <a:gd name="csX1" fmla="*/ 141238 w 141237"/>
                  <a:gd name="csY1" fmla="*/ 116790 h 162954"/>
                  <a:gd name="csX2" fmla="*/ 141238 w 141237"/>
                  <a:gd name="csY2" fmla="*/ 46174 h 162954"/>
                  <a:gd name="csX3" fmla="*/ 135901 w 141237"/>
                  <a:gd name="csY3" fmla="*/ 36821 h 162954"/>
                  <a:gd name="csX4" fmla="*/ 76147 w 141237"/>
                  <a:gd name="csY4" fmla="*/ 1512 h 162954"/>
                  <a:gd name="csX5" fmla="*/ 65091 w 141237"/>
                  <a:gd name="csY5" fmla="*/ 1512 h 162954"/>
                  <a:gd name="csX6" fmla="*/ 5337 w 141237"/>
                  <a:gd name="csY6" fmla="*/ 36821 h 162954"/>
                  <a:gd name="csX7" fmla="*/ 0 w 141237"/>
                  <a:gd name="csY7" fmla="*/ 46174 h 162954"/>
                  <a:gd name="csX8" fmla="*/ 0 w 141237"/>
                  <a:gd name="csY8" fmla="*/ 116790 h 162954"/>
                  <a:gd name="csX9" fmla="*/ 5337 w 141237"/>
                  <a:gd name="csY9" fmla="*/ 126143 h 162954"/>
                  <a:gd name="csX10" fmla="*/ 65091 w 141237"/>
                  <a:gd name="csY10" fmla="*/ 161455 h 162954"/>
                  <a:gd name="csX11" fmla="*/ 76147 w 141237"/>
                  <a:gd name="csY11" fmla="*/ 161455 h 162954"/>
                  <a:gd name="csX12" fmla="*/ 21729 w 141237"/>
                  <a:gd name="csY12" fmla="*/ 110592 h 162954"/>
                  <a:gd name="csX13" fmla="*/ 21729 w 141237"/>
                  <a:gd name="csY13" fmla="*/ 52373 h 162954"/>
                  <a:gd name="csX14" fmla="*/ 70619 w 141237"/>
                  <a:gd name="csY14" fmla="*/ 23485 h 162954"/>
                  <a:gd name="csX15" fmla="*/ 119509 w 141237"/>
                  <a:gd name="csY15" fmla="*/ 52373 h 162954"/>
                  <a:gd name="csX16" fmla="*/ 119509 w 141237"/>
                  <a:gd name="csY16" fmla="*/ 110592 h 162954"/>
                  <a:gd name="csX17" fmla="*/ 70619 w 141237"/>
                  <a:gd name="csY17" fmla="*/ 139482 h 16295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141237" h="162954">
                    <a:moveTo>
                      <a:pt x="135901" y="126143"/>
                    </a:moveTo>
                    <a:cubicBezTo>
                      <a:pt x="139209" y="124189"/>
                      <a:pt x="141238" y="120632"/>
                      <a:pt x="141238" y="116790"/>
                    </a:cubicBezTo>
                    <a:lnTo>
                      <a:pt x="141238" y="46174"/>
                    </a:lnTo>
                    <a:cubicBezTo>
                      <a:pt x="141238" y="42332"/>
                      <a:pt x="139209" y="38776"/>
                      <a:pt x="135901" y="36821"/>
                    </a:cubicBezTo>
                    <a:lnTo>
                      <a:pt x="76147" y="1512"/>
                    </a:lnTo>
                    <a:cubicBezTo>
                      <a:pt x="72737" y="-504"/>
                      <a:pt x="68501" y="-504"/>
                      <a:pt x="65091" y="1512"/>
                    </a:cubicBezTo>
                    <a:lnTo>
                      <a:pt x="5337" y="36821"/>
                    </a:lnTo>
                    <a:cubicBezTo>
                      <a:pt x="2029" y="38776"/>
                      <a:pt x="0" y="42332"/>
                      <a:pt x="0" y="46174"/>
                    </a:cubicBezTo>
                    <a:lnTo>
                      <a:pt x="0" y="116790"/>
                    </a:lnTo>
                    <a:cubicBezTo>
                      <a:pt x="0" y="120632"/>
                      <a:pt x="2029" y="124189"/>
                      <a:pt x="5337" y="126143"/>
                    </a:cubicBezTo>
                    <a:lnTo>
                      <a:pt x="65091" y="161455"/>
                    </a:lnTo>
                    <a:cubicBezTo>
                      <a:pt x="68505" y="163455"/>
                      <a:pt x="72733" y="163455"/>
                      <a:pt x="76147" y="161455"/>
                    </a:cubicBezTo>
                    <a:close/>
                    <a:moveTo>
                      <a:pt x="21729" y="110592"/>
                    </a:moveTo>
                    <a:lnTo>
                      <a:pt x="21729" y="52373"/>
                    </a:lnTo>
                    <a:lnTo>
                      <a:pt x="70619" y="23485"/>
                    </a:lnTo>
                    <a:lnTo>
                      <a:pt x="119509" y="52373"/>
                    </a:lnTo>
                    <a:lnTo>
                      <a:pt x="119509" y="110592"/>
                    </a:lnTo>
                    <a:lnTo>
                      <a:pt x="70619" y="139482"/>
                    </a:lnTo>
                    <a:close/>
                  </a:path>
                </a:pathLst>
              </a:custGeom>
              <a:grpFill/>
              <a:ln w="543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1" name="Freeform: Shape 50">
                <a:extLst>
                  <a:ext uri="{FF2B5EF4-FFF2-40B4-BE49-F238E27FC236}">
                    <a16:creationId xmlns:a16="http://schemas.microsoft.com/office/drawing/2014/main" id="{F82E4960-867B-8494-0FA5-4FB2C7DF0106}"/>
                  </a:ext>
                </a:extLst>
              </p:cNvPr>
              <p:cNvSpPr/>
              <p:nvPr/>
            </p:nvSpPr>
            <p:spPr>
              <a:xfrm>
                <a:off x="8572550" y="1266309"/>
                <a:ext cx="141237" cy="162955"/>
              </a:xfrm>
              <a:custGeom>
                <a:avLst/>
                <a:gdLst>
                  <a:gd name="csX0" fmla="*/ 135901 w 141237"/>
                  <a:gd name="csY0" fmla="*/ 36821 h 162955"/>
                  <a:gd name="csX1" fmla="*/ 76147 w 141237"/>
                  <a:gd name="csY1" fmla="*/ 1512 h 162955"/>
                  <a:gd name="csX2" fmla="*/ 65091 w 141237"/>
                  <a:gd name="csY2" fmla="*/ 1512 h 162955"/>
                  <a:gd name="csX3" fmla="*/ 5337 w 141237"/>
                  <a:gd name="csY3" fmla="*/ 36821 h 162955"/>
                  <a:gd name="csX4" fmla="*/ 0 w 141237"/>
                  <a:gd name="csY4" fmla="*/ 46174 h 162955"/>
                  <a:gd name="csX5" fmla="*/ 0 w 141237"/>
                  <a:gd name="csY5" fmla="*/ 116790 h 162955"/>
                  <a:gd name="csX6" fmla="*/ 5337 w 141237"/>
                  <a:gd name="csY6" fmla="*/ 126143 h 162955"/>
                  <a:gd name="csX7" fmla="*/ 65091 w 141237"/>
                  <a:gd name="csY7" fmla="*/ 161455 h 162955"/>
                  <a:gd name="csX8" fmla="*/ 76147 w 141237"/>
                  <a:gd name="csY8" fmla="*/ 161455 h 162955"/>
                  <a:gd name="csX9" fmla="*/ 135901 w 141237"/>
                  <a:gd name="csY9" fmla="*/ 126143 h 162955"/>
                  <a:gd name="csX10" fmla="*/ 141238 w 141237"/>
                  <a:gd name="csY10" fmla="*/ 116790 h 162955"/>
                  <a:gd name="csX11" fmla="*/ 141238 w 141237"/>
                  <a:gd name="csY11" fmla="*/ 46174 h 162955"/>
                  <a:gd name="csX12" fmla="*/ 135901 w 141237"/>
                  <a:gd name="csY12" fmla="*/ 36821 h 162955"/>
                  <a:gd name="csX13" fmla="*/ 119509 w 141237"/>
                  <a:gd name="csY13" fmla="*/ 110592 h 162955"/>
                  <a:gd name="csX14" fmla="*/ 70619 w 141237"/>
                  <a:gd name="csY14" fmla="*/ 139482 h 162955"/>
                  <a:gd name="csX15" fmla="*/ 21729 w 141237"/>
                  <a:gd name="csY15" fmla="*/ 110592 h 162955"/>
                  <a:gd name="csX16" fmla="*/ 21729 w 141237"/>
                  <a:gd name="csY16" fmla="*/ 52373 h 162955"/>
                  <a:gd name="csX17" fmla="*/ 70619 w 141237"/>
                  <a:gd name="csY17" fmla="*/ 23485 h 162955"/>
                  <a:gd name="csX18" fmla="*/ 119509 w 141237"/>
                  <a:gd name="csY18" fmla="*/ 52373 h 16295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Lst>
                <a:rect l="l" t="t" r="r" b="b"/>
                <a:pathLst>
                  <a:path w="141237" h="162955">
                    <a:moveTo>
                      <a:pt x="135901" y="36821"/>
                    </a:moveTo>
                    <a:lnTo>
                      <a:pt x="76147" y="1512"/>
                    </a:lnTo>
                    <a:cubicBezTo>
                      <a:pt x="72737" y="-504"/>
                      <a:pt x="68501" y="-504"/>
                      <a:pt x="65091" y="1512"/>
                    </a:cubicBezTo>
                    <a:lnTo>
                      <a:pt x="5337" y="36821"/>
                    </a:lnTo>
                    <a:cubicBezTo>
                      <a:pt x="2029" y="38776"/>
                      <a:pt x="0" y="42332"/>
                      <a:pt x="0" y="46174"/>
                    </a:cubicBezTo>
                    <a:lnTo>
                      <a:pt x="0" y="116790"/>
                    </a:lnTo>
                    <a:cubicBezTo>
                      <a:pt x="0" y="120632"/>
                      <a:pt x="2029" y="124189"/>
                      <a:pt x="5337" y="126143"/>
                    </a:cubicBezTo>
                    <a:lnTo>
                      <a:pt x="65091" y="161455"/>
                    </a:lnTo>
                    <a:cubicBezTo>
                      <a:pt x="68505" y="163456"/>
                      <a:pt x="72733" y="163456"/>
                      <a:pt x="76147" y="161455"/>
                    </a:cubicBezTo>
                    <a:lnTo>
                      <a:pt x="135901" y="126143"/>
                    </a:lnTo>
                    <a:cubicBezTo>
                      <a:pt x="139209" y="124189"/>
                      <a:pt x="141238" y="120632"/>
                      <a:pt x="141238" y="116790"/>
                    </a:cubicBezTo>
                    <a:lnTo>
                      <a:pt x="141238" y="46174"/>
                    </a:lnTo>
                    <a:cubicBezTo>
                      <a:pt x="141238" y="42332"/>
                      <a:pt x="139209" y="38776"/>
                      <a:pt x="135901" y="36821"/>
                    </a:cubicBezTo>
                    <a:close/>
                    <a:moveTo>
                      <a:pt x="119509" y="110592"/>
                    </a:moveTo>
                    <a:lnTo>
                      <a:pt x="70619" y="139482"/>
                    </a:lnTo>
                    <a:lnTo>
                      <a:pt x="21729" y="110592"/>
                    </a:lnTo>
                    <a:lnTo>
                      <a:pt x="21729" y="52373"/>
                    </a:lnTo>
                    <a:lnTo>
                      <a:pt x="70619" y="23485"/>
                    </a:lnTo>
                    <a:lnTo>
                      <a:pt x="119509" y="52373"/>
                    </a:lnTo>
                    <a:close/>
                  </a:path>
                </a:pathLst>
              </a:custGeom>
              <a:grpFill/>
              <a:ln w="543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2" name="Freeform: Shape 51">
                <a:extLst>
                  <a:ext uri="{FF2B5EF4-FFF2-40B4-BE49-F238E27FC236}">
                    <a16:creationId xmlns:a16="http://schemas.microsoft.com/office/drawing/2014/main" id="{3C400DB0-0004-CA18-B62A-6C220E866D8E}"/>
                  </a:ext>
                </a:extLst>
              </p:cNvPr>
              <p:cNvSpPr/>
              <p:nvPr/>
            </p:nvSpPr>
            <p:spPr>
              <a:xfrm>
                <a:off x="8306371" y="1206555"/>
                <a:ext cx="119508" cy="119508"/>
              </a:xfrm>
              <a:custGeom>
                <a:avLst/>
                <a:gdLst>
                  <a:gd name="csX0" fmla="*/ 119509 w 119508"/>
                  <a:gd name="csY0" fmla="*/ 59754 h 119508"/>
                  <a:gd name="csX1" fmla="*/ 59754 w 119508"/>
                  <a:gd name="csY1" fmla="*/ 0 h 119508"/>
                  <a:gd name="csX2" fmla="*/ 0 w 119508"/>
                  <a:gd name="csY2" fmla="*/ 59754 h 119508"/>
                  <a:gd name="csX3" fmla="*/ 59754 w 119508"/>
                  <a:gd name="csY3" fmla="*/ 119509 h 119508"/>
                  <a:gd name="csX4" fmla="*/ 119509 w 119508"/>
                  <a:gd name="csY4" fmla="*/ 59754 h 119508"/>
                  <a:gd name="csX5" fmla="*/ 59754 w 119508"/>
                  <a:gd name="csY5" fmla="*/ 97780 h 119508"/>
                  <a:gd name="csX6" fmla="*/ 21729 w 119508"/>
                  <a:gd name="csY6" fmla="*/ 59754 h 119508"/>
                  <a:gd name="csX7" fmla="*/ 59754 w 119508"/>
                  <a:gd name="csY7" fmla="*/ 21729 h 119508"/>
                  <a:gd name="csX8" fmla="*/ 97780 w 119508"/>
                  <a:gd name="csY8" fmla="*/ 59754 h 119508"/>
                  <a:gd name="csX9" fmla="*/ 59754 w 119508"/>
                  <a:gd name="csY9" fmla="*/ 97780 h 11950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19508" h="119508">
                    <a:moveTo>
                      <a:pt x="119509" y="59754"/>
                    </a:moveTo>
                    <a:cubicBezTo>
                      <a:pt x="119509" y="26753"/>
                      <a:pt x="92756" y="0"/>
                      <a:pt x="59754" y="0"/>
                    </a:cubicBezTo>
                    <a:cubicBezTo>
                      <a:pt x="26753" y="0"/>
                      <a:pt x="0" y="26753"/>
                      <a:pt x="0" y="59754"/>
                    </a:cubicBezTo>
                    <a:cubicBezTo>
                      <a:pt x="0" y="92756"/>
                      <a:pt x="26753" y="119509"/>
                      <a:pt x="59754" y="119509"/>
                    </a:cubicBezTo>
                    <a:cubicBezTo>
                      <a:pt x="92741" y="119472"/>
                      <a:pt x="119472" y="92741"/>
                      <a:pt x="119509" y="59754"/>
                    </a:cubicBezTo>
                    <a:close/>
                    <a:moveTo>
                      <a:pt x="59754" y="97780"/>
                    </a:moveTo>
                    <a:cubicBezTo>
                      <a:pt x="38754" y="97780"/>
                      <a:pt x="21729" y="80755"/>
                      <a:pt x="21729" y="59754"/>
                    </a:cubicBezTo>
                    <a:cubicBezTo>
                      <a:pt x="21729" y="38754"/>
                      <a:pt x="38754" y="21729"/>
                      <a:pt x="59754" y="21729"/>
                    </a:cubicBezTo>
                    <a:cubicBezTo>
                      <a:pt x="80755" y="21729"/>
                      <a:pt x="97780" y="38754"/>
                      <a:pt x="97780" y="59754"/>
                    </a:cubicBezTo>
                    <a:cubicBezTo>
                      <a:pt x="97757" y="80746"/>
                      <a:pt x="80746" y="97757"/>
                      <a:pt x="59754" y="97780"/>
                    </a:cubicBezTo>
                    <a:close/>
                  </a:path>
                </a:pathLst>
              </a:custGeom>
              <a:grpFill/>
              <a:ln w="543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3" name="Freeform: Shape 52">
                <a:extLst>
                  <a:ext uri="{FF2B5EF4-FFF2-40B4-BE49-F238E27FC236}">
                    <a16:creationId xmlns:a16="http://schemas.microsoft.com/office/drawing/2014/main" id="{AF4844C7-5D3B-A63B-82D3-3B4125B37D73}"/>
                  </a:ext>
                </a:extLst>
              </p:cNvPr>
              <p:cNvSpPr/>
              <p:nvPr/>
            </p:nvSpPr>
            <p:spPr>
              <a:xfrm>
                <a:off x="8415015" y="1309764"/>
                <a:ext cx="97779" cy="97783"/>
              </a:xfrm>
              <a:custGeom>
                <a:avLst/>
                <a:gdLst>
                  <a:gd name="csX0" fmla="*/ 562 w 97779"/>
                  <a:gd name="csY0" fmla="*/ 36471 h 97783"/>
                  <a:gd name="csX1" fmla="*/ 3090 w 97779"/>
                  <a:gd name="csY1" fmla="*/ 47508 h 97783"/>
                  <a:gd name="csX2" fmla="*/ 18273 w 97779"/>
                  <a:gd name="csY2" fmla="*/ 63065 h 97783"/>
                  <a:gd name="csX3" fmla="*/ 14665 w 97779"/>
                  <a:gd name="csY3" fmla="*/ 85170 h 97783"/>
                  <a:gd name="csX4" fmla="*/ 23646 w 97779"/>
                  <a:gd name="csY4" fmla="*/ 97640 h 97783"/>
                  <a:gd name="csX5" fmla="*/ 30644 w 97779"/>
                  <a:gd name="csY5" fmla="*/ 96427 h 97783"/>
                  <a:gd name="csX6" fmla="*/ 48890 w 97779"/>
                  <a:gd name="csY6" fmla="*/ 86342 h 97783"/>
                  <a:gd name="csX7" fmla="*/ 67136 w 97779"/>
                  <a:gd name="csY7" fmla="*/ 96427 h 97783"/>
                  <a:gd name="csX8" fmla="*/ 81902 w 97779"/>
                  <a:gd name="csY8" fmla="*/ 92168 h 97783"/>
                  <a:gd name="csX9" fmla="*/ 83115 w 97779"/>
                  <a:gd name="csY9" fmla="*/ 85170 h 97783"/>
                  <a:gd name="csX10" fmla="*/ 79507 w 97779"/>
                  <a:gd name="csY10" fmla="*/ 63065 h 97783"/>
                  <a:gd name="csX11" fmla="*/ 94690 w 97779"/>
                  <a:gd name="csY11" fmla="*/ 47508 h 97783"/>
                  <a:gd name="csX12" fmla="*/ 94504 w 97779"/>
                  <a:gd name="csY12" fmla="*/ 32144 h 97783"/>
                  <a:gd name="csX13" fmla="*/ 88557 w 97779"/>
                  <a:gd name="csY13" fmla="*/ 29180 h 97783"/>
                  <a:gd name="csX14" fmla="*/ 68014 w 97779"/>
                  <a:gd name="csY14" fmla="*/ 26039 h 97783"/>
                  <a:gd name="csX15" fmla="*/ 58725 w 97779"/>
                  <a:gd name="csY15" fmla="*/ 6249 h 97783"/>
                  <a:gd name="csX16" fmla="*/ 44271 w 97779"/>
                  <a:gd name="csY16" fmla="*/ 1033 h 97783"/>
                  <a:gd name="csX17" fmla="*/ 39055 w 97779"/>
                  <a:gd name="csY17" fmla="*/ 6249 h 97783"/>
                  <a:gd name="csX18" fmla="*/ 29766 w 97779"/>
                  <a:gd name="csY18" fmla="*/ 26039 h 97783"/>
                  <a:gd name="csX19" fmla="*/ 9223 w 97779"/>
                  <a:gd name="csY19" fmla="*/ 29180 h 97783"/>
                  <a:gd name="csX20" fmla="*/ 562 w 97779"/>
                  <a:gd name="csY20" fmla="*/ 36471 h 97783"/>
                  <a:gd name="csX21" fmla="*/ 38779 w 97779"/>
                  <a:gd name="csY21" fmla="*/ 46643 h 97783"/>
                  <a:gd name="csX22" fmla="*/ 46972 w 97779"/>
                  <a:gd name="csY22" fmla="*/ 40522 h 97783"/>
                  <a:gd name="csX23" fmla="*/ 48890 w 97779"/>
                  <a:gd name="csY23" fmla="*/ 36434 h 97783"/>
                  <a:gd name="csX24" fmla="*/ 50808 w 97779"/>
                  <a:gd name="csY24" fmla="*/ 40522 h 97783"/>
                  <a:gd name="csX25" fmla="*/ 59001 w 97779"/>
                  <a:gd name="csY25" fmla="*/ 46643 h 97783"/>
                  <a:gd name="csX26" fmla="*/ 64372 w 97779"/>
                  <a:gd name="csY26" fmla="*/ 47463 h 97783"/>
                  <a:gd name="csX27" fmla="*/ 60128 w 97779"/>
                  <a:gd name="csY27" fmla="*/ 51813 h 97783"/>
                  <a:gd name="csX28" fmla="*/ 57179 w 97779"/>
                  <a:gd name="csY28" fmla="*/ 61149 h 97783"/>
                  <a:gd name="csX29" fmla="*/ 58068 w 97779"/>
                  <a:gd name="csY29" fmla="*/ 66587 h 97783"/>
                  <a:gd name="csX30" fmla="*/ 54145 w 97779"/>
                  <a:gd name="csY30" fmla="*/ 64420 h 97783"/>
                  <a:gd name="csX31" fmla="*/ 43635 w 97779"/>
                  <a:gd name="csY31" fmla="*/ 64420 h 97783"/>
                  <a:gd name="csX32" fmla="*/ 39712 w 97779"/>
                  <a:gd name="csY32" fmla="*/ 66587 h 97783"/>
                  <a:gd name="csX33" fmla="*/ 40601 w 97779"/>
                  <a:gd name="csY33" fmla="*/ 61149 h 97783"/>
                  <a:gd name="csX34" fmla="*/ 37652 w 97779"/>
                  <a:gd name="csY34" fmla="*/ 51813 h 97783"/>
                  <a:gd name="csX35" fmla="*/ 33408 w 97779"/>
                  <a:gd name="csY35" fmla="*/ 47463 h 9778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Lst>
                <a:rect l="l" t="t" r="r" b="b"/>
                <a:pathLst>
                  <a:path w="97779" h="97783">
                    <a:moveTo>
                      <a:pt x="562" y="36471"/>
                    </a:moveTo>
                    <a:cubicBezTo>
                      <a:pt x="-731" y="40333"/>
                      <a:pt x="245" y="44594"/>
                      <a:pt x="3090" y="47508"/>
                    </a:cubicBezTo>
                    <a:lnTo>
                      <a:pt x="18273" y="63065"/>
                    </a:lnTo>
                    <a:lnTo>
                      <a:pt x="14665" y="85170"/>
                    </a:lnTo>
                    <a:cubicBezTo>
                      <a:pt x="13702" y="91093"/>
                      <a:pt x="17722" y="96677"/>
                      <a:pt x="23646" y="97640"/>
                    </a:cubicBezTo>
                    <a:cubicBezTo>
                      <a:pt x="26048" y="98031"/>
                      <a:pt x="28513" y="97604"/>
                      <a:pt x="30644" y="96427"/>
                    </a:cubicBezTo>
                    <a:lnTo>
                      <a:pt x="48890" y="86342"/>
                    </a:lnTo>
                    <a:lnTo>
                      <a:pt x="67136" y="96427"/>
                    </a:lnTo>
                    <a:cubicBezTo>
                      <a:pt x="72390" y="99329"/>
                      <a:pt x="79000" y="97422"/>
                      <a:pt x="81902" y="92168"/>
                    </a:cubicBezTo>
                    <a:cubicBezTo>
                      <a:pt x="83078" y="90037"/>
                      <a:pt x="83506" y="87573"/>
                      <a:pt x="83115" y="85170"/>
                    </a:cubicBezTo>
                    <a:lnTo>
                      <a:pt x="79507" y="63065"/>
                    </a:lnTo>
                    <a:lnTo>
                      <a:pt x="94690" y="47508"/>
                    </a:lnTo>
                    <a:cubicBezTo>
                      <a:pt x="98881" y="43214"/>
                      <a:pt x="98798" y="36336"/>
                      <a:pt x="94504" y="32144"/>
                    </a:cubicBezTo>
                    <a:cubicBezTo>
                      <a:pt x="92880" y="30559"/>
                      <a:pt x="90800" y="29523"/>
                      <a:pt x="88557" y="29180"/>
                    </a:cubicBezTo>
                    <a:lnTo>
                      <a:pt x="68014" y="26039"/>
                    </a:lnTo>
                    <a:lnTo>
                      <a:pt x="58725" y="6249"/>
                    </a:lnTo>
                    <a:cubicBezTo>
                      <a:pt x="56174" y="817"/>
                      <a:pt x="49702" y="-1518"/>
                      <a:pt x="44271" y="1033"/>
                    </a:cubicBezTo>
                    <a:cubicBezTo>
                      <a:pt x="41977" y="2111"/>
                      <a:pt x="40132" y="3956"/>
                      <a:pt x="39055" y="6249"/>
                    </a:cubicBezTo>
                    <a:lnTo>
                      <a:pt x="29766" y="26039"/>
                    </a:lnTo>
                    <a:lnTo>
                      <a:pt x="9223" y="29180"/>
                    </a:lnTo>
                    <a:cubicBezTo>
                      <a:pt x="5197" y="29794"/>
                      <a:pt x="1854" y="32609"/>
                      <a:pt x="562" y="36471"/>
                    </a:cubicBezTo>
                    <a:close/>
                    <a:moveTo>
                      <a:pt x="38779" y="46643"/>
                    </a:moveTo>
                    <a:cubicBezTo>
                      <a:pt x="42360" y="46096"/>
                      <a:pt x="45432" y="43800"/>
                      <a:pt x="46972" y="40522"/>
                    </a:cubicBezTo>
                    <a:lnTo>
                      <a:pt x="48890" y="36434"/>
                    </a:lnTo>
                    <a:lnTo>
                      <a:pt x="50808" y="40522"/>
                    </a:lnTo>
                    <a:cubicBezTo>
                      <a:pt x="52348" y="43800"/>
                      <a:pt x="55420" y="46096"/>
                      <a:pt x="59001" y="46643"/>
                    </a:cubicBezTo>
                    <a:lnTo>
                      <a:pt x="64372" y="47463"/>
                    </a:lnTo>
                    <a:lnTo>
                      <a:pt x="60128" y="51813"/>
                    </a:lnTo>
                    <a:cubicBezTo>
                      <a:pt x="57719" y="54280"/>
                      <a:pt x="56624" y="57746"/>
                      <a:pt x="57179" y="61149"/>
                    </a:cubicBezTo>
                    <a:lnTo>
                      <a:pt x="58068" y="66587"/>
                    </a:lnTo>
                    <a:lnTo>
                      <a:pt x="54145" y="64420"/>
                    </a:lnTo>
                    <a:cubicBezTo>
                      <a:pt x="50875" y="62613"/>
                      <a:pt x="46905" y="62613"/>
                      <a:pt x="43635" y="64420"/>
                    </a:cubicBezTo>
                    <a:lnTo>
                      <a:pt x="39712" y="66587"/>
                    </a:lnTo>
                    <a:lnTo>
                      <a:pt x="40601" y="61149"/>
                    </a:lnTo>
                    <a:cubicBezTo>
                      <a:pt x="41156" y="57746"/>
                      <a:pt x="40061" y="54280"/>
                      <a:pt x="37652" y="51813"/>
                    </a:cubicBezTo>
                    <a:lnTo>
                      <a:pt x="33408" y="47463"/>
                    </a:lnTo>
                    <a:close/>
                  </a:path>
                </a:pathLst>
              </a:custGeom>
              <a:grpFill/>
              <a:ln w="543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4" name="Freeform: Shape 53">
                <a:extLst>
                  <a:ext uri="{FF2B5EF4-FFF2-40B4-BE49-F238E27FC236}">
                    <a16:creationId xmlns:a16="http://schemas.microsoft.com/office/drawing/2014/main" id="{779C3378-C0C5-4B9A-47F4-95351174CE27}"/>
                  </a:ext>
                </a:extLst>
              </p:cNvPr>
              <p:cNvSpPr/>
              <p:nvPr/>
            </p:nvSpPr>
            <p:spPr>
              <a:xfrm>
                <a:off x="8328099" y="1343742"/>
                <a:ext cx="76052" cy="101830"/>
              </a:xfrm>
              <a:custGeom>
                <a:avLst/>
                <a:gdLst>
                  <a:gd name="csX0" fmla="*/ 12785 w 76052"/>
                  <a:gd name="csY0" fmla="*/ 0 h 101830"/>
                  <a:gd name="csX1" fmla="*/ 205 w 76052"/>
                  <a:gd name="csY1" fmla="*/ 63950 h 101830"/>
                  <a:gd name="csX2" fmla="*/ 3520 w 76052"/>
                  <a:gd name="csY2" fmla="*/ 74054 h 101830"/>
                  <a:gd name="csX3" fmla="*/ 30681 w 76052"/>
                  <a:gd name="csY3" fmla="*/ 98971 h 101830"/>
                  <a:gd name="csX4" fmla="*/ 45371 w 76052"/>
                  <a:gd name="csY4" fmla="*/ 98971 h 101830"/>
                  <a:gd name="csX5" fmla="*/ 72532 w 76052"/>
                  <a:gd name="csY5" fmla="*/ 74054 h 101830"/>
                  <a:gd name="csX6" fmla="*/ 75848 w 76052"/>
                  <a:gd name="csY6" fmla="*/ 63950 h 101830"/>
                  <a:gd name="csX7" fmla="*/ 63267 w 76052"/>
                  <a:gd name="csY7" fmla="*/ 0 h 101830"/>
                  <a:gd name="csX8" fmla="*/ 41878 w 76052"/>
                  <a:gd name="csY8" fmla="*/ 3854 h 101830"/>
                  <a:gd name="csX9" fmla="*/ 53349 w 76052"/>
                  <a:gd name="csY9" fmla="*/ 62165 h 101830"/>
                  <a:gd name="csX10" fmla="*/ 38026 w 76052"/>
                  <a:gd name="csY10" fmla="*/ 76223 h 101830"/>
                  <a:gd name="csX11" fmla="*/ 22703 w 76052"/>
                  <a:gd name="csY11" fmla="*/ 62165 h 101830"/>
                  <a:gd name="csX12" fmla="*/ 34175 w 76052"/>
                  <a:gd name="csY12" fmla="*/ 3854 h 101830"/>
                  <a:gd name="csX13" fmla="*/ 12785 w 76052"/>
                  <a:gd name="csY13" fmla="*/ 0 h 10183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76052" h="101830">
                    <a:moveTo>
                      <a:pt x="12785" y="0"/>
                    </a:moveTo>
                    <a:lnTo>
                      <a:pt x="205" y="63950"/>
                    </a:lnTo>
                    <a:cubicBezTo>
                      <a:pt x="-527" y="67666"/>
                      <a:pt x="729" y="71494"/>
                      <a:pt x="3520" y="74054"/>
                    </a:cubicBezTo>
                    <a:lnTo>
                      <a:pt x="30681" y="98971"/>
                    </a:lnTo>
                    <a:cubicBezTo>
                      <a:pt x="34836" y="102784"/>
                      <a:pt x="41217" y="102784"/>
                      <a:pt x="45371" y="98971"/>
                    </a:cubicBezTo>
                    <a:lnTo>
                      <a:pt x="72532" y="74054"/>
                    </a:lnTo>
                    <a:cubicBezTo>
                      <a:pt x="75323" y="71494"/>
                      <a:pt x="76579" y="67666"/>
                      <a:pt x="75848" y="63950"/>
                    </a:cubicBezTo>
                    <a:lnTo>
                      <a:pt x="63267" y="0"/>
                    </a:lnTo>
                    <a:cubicBezTo>
                      <a:pt x="56343" y="2241"/>
                      <a:pt x="49148" y="3537"/>
                      <a:pt x="41878" y="3854"/>
                    </a:cubicBezTo>
                    <a:lnTo>
                      <a:pt x="53349" y="62165"/>
                    </a:lnTo>
                    <a:lnTo>
                      <a:pt x="38026" y="76223"/>
                    </a:lnTo>
                    <a:lnTo>
                      <a:pt x="22703" y="62165"/>
                    </a:lnTo>
                    <a:lnTo>
                      <a:pt x="34175" y="3854"/>
                    </a:lnTo>
                    <a:cubicBezTo>
                      <a:pt x="26904" y="3537"/>
                      <a:pt x="19709" y="2241"/>
                      <a:pt x="12785" y="0"/>
                    </a:cubicBezTo>
                    <a:close/>
                  </a:path>
                </a:pathLst>
              </a:custGeom>
              <a:grpFill/>
              <a:ln w="543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5" name="Freeform: Shape 54">
                <a:extLst>
                  <a:ext uri="{FF2B5EF4-FFF2-40B4-BE49-F238E27FC236}">
                    <a16:creationId xmlns:a16="http://schemas.microsoft.com/office/drawing/2014/main" id="{32806DD8-0587-E9BB-F403-BB9F71221C69}"/>
                  </a:ext>
                </a:extLst>
              </p:cNvPr>
              <p:cNvSpPr/>
              <p:nvPr/>
            </p:nvSpPr>
            <p:spPr>
              <a:xfrm>
                <a:off x="8246615" y="1321501"/>
                <a:ext cx="239018" cy="172961"/>
              </a:xfrm>
              <a:custGeom>
                <a:avLst/>
                <a:gdLst>
                  <a:gd name="csX0" fmla="*/ 239019 w 239018"/>
                  <a:gd name="csY0" fmla="*/ 140691 h 172961"/>
                  <a:gd name="csX1" fmla="*/ 239019 w 239018"/>
                  <a:gd name="csY1" fmla="*/ 107663 h 172961"/>
                  <a:gd name="csX2" fmla="*/ 225024 w 239018"/>
                  <a:gd name="csY2" fmla="*/ 103708 h 172961"/>
                  <a:gd name="csX3" fmla="*/ 217290 w 239018"/>
                  <a:gd name="csY3" fmla="*/ 99433 h 172961"/>
                  <a:gd name="csX4" fmla="*/ 217290 w 239018"/>
                  <a:gd name="csY4" fmla="*/ 140691 h 172961"/>
                  <a:gd name="csX5" fmla="*/ 207125 w 239018"/>
                  <a:gd name="csY5" fmla="*/ 151233 h 172961"/>
                  <a:gd name="csX6" fmla="*/ 31894 w 239018"/>
                  <a:gd name="csY6" fmla="*/ 151233 h 172961"/>
                  <a:gd name="csX7" fmla="*/ 21730 w 239018"/>
                  <a:gd name="csY7" fmla="*/ 140691 h 172961"/>
                  <a:gd name="csX8" fmla="*/ 21730 w 239018"/>
                  <a:gd name="csY8" fmla="*/ 70317 h 172961"/>
                  <a:gd name="csX9" fmla="*/ 70124 w 239018"/>
                  <a:gd name="csY9" fmla="*/ 20859 h 172961"/>
                  <a:gd name="csX10" fmla="*/ 90500 w 239018"/>
                  <a:gd name="csY10" fmla="*/ 20859 h 172961"/>
                  <a:gd name="csX11" fmla="*/ 59739 w 239018"/>
                  <a:gd name="csY11" fmla="*/ 0 h 172961"/>
                  <a:gd name="csX12" fmla="*/ 1 w 239018"/>
                  <a:gd name="csY12" fmla="*/ 70317 h 172961"/>
                  <a:gd name="csX13" fmla="*/ 1 w 239018"/>
                  <a:gd name="csY13" fmla="*/ 140691 h 172961"/>
                  <a:gd name="csX14" fmla="*/ 31894 w 239018"/>
                  <a:gd name="csY14" fmla="*/ 172962 h 172961"/>
                  <a:gd name="csX15" fmla="*/ 207125 w 239018"/>
                  <a:gd name="csY15" fmla="*/ 172962 h 172961"/>
                  <a:gd name="csX16" fmla="*/ 239019 w 239018"/>
                  <a:gd name="csY16" fmla="*/ 140691 h 17296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239018" h="172961">
                    <a:moveTo>
                      <a:pt x="239019" y="140691"/>
                    </a:moveTo>
                    <a:lnTo>
                      <a:pt x="239019" y="107663"/>
                    </a:lnTo>
                    <a:cubicBezTo>
                      <a:pt x="234115" y="107419"/>
                      <a:pt x="229330" y="106067"/>
                      <a:pt x="225024" y="103708"/>
                    </a:cubicBezTo>
                    <a:lnTo>
                      <a:pt x="217290" y="99433"/>
                    </a:lnTo>
                    <a:lnTo>
                      <a:pt x="217290" y="140691"/>
                    </a:lnTo>
                    <a:cubicBezTo>
                      <a:pt x="217385" y="146406"/>
                      <a:pt x="212839" y="151120"/>
                      <a:pt x="207125" y="151233"/>
                    </a:cubicBezTo>
                    <a:lnTo>
                      <a:pt x="31894" y="151233"/>
                    </a:lnTo>
                    <a:cubicBezTo>
                      <a:pt x="26180" y="151120"/>
                      <a:pt x="21634" y="146406"/>
                      <a:pt x="21730" y="140691"/>
                    </a:cubicBezTo>
                    <a:lnTo>
                      <a:pt x="21730" y="70317"/>
                    </a:lnTo>
                    <a:cubicBezTo>
                      <a:pt x="21470" y="43310"/>
                      <a:pt x="43117" y="21187"/>
                      <a:pt x="70124" y="20859"/>
                    </a:cubicBezTo>
                    <a:lnTo>
                      <a:pt x="90500" y="20859"/>
                    </a:lnTo>
                    <a:cubicBezTo>
                      <a:pt x="78779" y="16364"/>
                      <a:pt x="68252" y="9226"/>
                      <a:pt x="59739" y="0"/>
                    </a:cubicBezTo>
                    <a:cubicBezTo>
                      <a:pt x="25214" y="5505"/>
                      <a:pt x="-146" y="35355"/>
                      <a:pt x="1" y="70317"/>
                    </a:cubicBezTo>
                    <a:lnTo>
                      <a:pt x="1" y="140691"/>
                    </a:lnTo>
                    <a:cubicBezTo>
                      <a:pt x="-82" y="158401"/>
                      <a:pt x="14185" y="172836"/>
                      <a:pt x="31894" y="172962"/>
                    </a:cubicBezTo>
                    <a:lnTo>
                      <a:pt x="207125" y="172962"/>
                    </a:lnTo>
                    <a:cubicBezTo>
                      <a:pt x="224835" y="172836"/>
                      <a:pt x="239101" y="158401"/>
                      <a:pt x="239019" y="140691"/>
                    </a:cubicBezTo>
                    <a:close/>
                  </a:path>
                </a:pathLst>
              </a:custGeom>
              <a:grpFill/>
              <a:ln w="543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6" name="Freeform: Shape 55">
                <a:extLst>
                  <a:ext uri="{FF2B5EF4-FFF2-40B4-BE49-F238E27FC236}">
                    <a16:creationId xmlns:a16="http://schemas.microsoft.com/office/drawing/2014/main" id="{A11D6B0B-C71F-4896-EC78-C5D6D856C947}"/>
                  </a:ext>
                </a:extLst>
              </p:cNvPr>
              <p:cNvSpPr/>
              <p:nvPr/>
            </p:nvSpPr>
            <p:spPr>
              <a:xfrm>
                <a:off x="8333539" y="1061333"/>
                <a:ext cx="65181" cy="40525"/>
              </a:xfrm>
              <a:custGeom>
                <a:avLst/>
                <a:gdLst>
                  <a:gd name="csX0" fmla="*/ 63527 w 65181"/>
                  <a:gd name="csY0" fmla="*/ 5106 h 40525"/>
                  <a:gd name="csX1" fmla="*/ 48556 w 65181"/>
                  <a:gd name="csY1" fmla="*/ 1653 h 40525"/>
                  <a:gd name="csX2" fmla="*/ 26666 w 65181"/>
                  <a:gd name="csY2" fmla="*/ 15339 h 40525"/>
                  <a:gd name="csX3" fmla="*/ 19366 w 65181"/>
                  <a:gd name="csY3" fmla="*/ 6146 h 40525"/>
                  <a:gd name="csX4" fmla="*/ 4099 w 65181"/>
                  <a:gd name="csY4" fmla="*/ 4411 h 40525"/>
                  <a:gd name="csX5" fmla="*/ 2348 w 65181"/>
                  <a:gd name="csY5" fmla="*/ 19657 h 40525"/>
                  <a:gd name="csX6" fmla="*/ 15685 w 65181"/>
                  <a:gd name="csY6" fmla="*/ 36452 h 40525"/>
                  <a:gd name="csX7" fmla="*/ 29952 w 65181"/>
                  <a:gd name="csY7" fmla="*/ 38909 h 40525"/>
                  <a:gd name="csX8" fmla="*/ 60074 w 65181"/>
                  <a:gd name="csY8" fmla="*/ 20076 h 40525"/>
                  <a:gd name="csX9" fmla="*/ 63529 w 65181"/>
                  <a:gd name="csY9" fmla="*/ 5109 h 40525"/>
                  <a:gd name="csX10" fmla="*/ 63527 w 65181"/>
                  <a:gd name="csY10" fmla="*/ 5106 h 4052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65181" h="40525">
                    <a:moveTo>
                      <a:pt x="63527" y="5106"/>
                    </a:moveTo>
                    <a:cubicBezTo>
                      <a:pt x="60346" y="19"/>
                      <a:pt x="53644" y="-1527"/>
                      <a:pt x="48556" y="1653"/>
                    </a:cubicBezTo>
                    <a:lnTo>
                      <a:pt x="26666" y="15339"/>
                    </a:lnTo>
                    <a:lnTo>
                      <a:pt x="19366" y="6146"/>
                    </a:lnTo>
                    <a:cubicBezTo>
                      <a:pt x="15629" y="1451"/>
                      <a:pt x="8794" y="674"/>
                      <a:pt x="4099" y="4411"/>
                    </a:cubicBezTo>
                    <a:cubicBezTo>
                      <a:pt x="-588" y="8141"/>
                      <a:pt x="-1371" y="14961"/>
                      <a:pt x="2348" y="19657"/>
                    </a:cubicBezTo>
                    <a:lnTo>
                      <a:pt x="15685" y="36452"/>
                    </a:lnTo>
                    <a:cubicBezTo>
                      <a:pt x="19150" y="40736"/>
                      <a:pt x="25254" y="41787"/>
                      <a:pt x="29952" y="38909"/>
                    </a:cubicBezTo>
                    <a:lnTo>
                      <a:pt x="60074" y="20076"/>
                    </a:lnTo>
                    <a:cubicBezTo>
                      <a:pt x="65161" y="16898"/>
                      <a:pt x="66708" y="10197"/>
                      <a:pt x="63529" y="5109"/>
                    </a:cubicBezTo>
                    <a:cubicBezTo>
                      <a:pt x="63528" y="5108"/>
                      <a:pt x="63528" y="5107"/>
                      <a:pt x="63527" y="5106"/>
                    </a:cubicBezTo>
                    <a:close/>
                  </a:path>
                </a:pathLst>
              </a:custGeom>
              <a:grpFill/>
              <a:ln w="543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7" name="Freeform: Shape 56">
                <a:extLst>
                  <a:ext uri="{FF2B5EF4-FFF2-40B4-BE49-F238E27FC236}">
                    <a16:creationId xmlns:a16="http://schemas.microsoft.com/office/drawing/2014/main" id="{8BA02895-7EA6-FAA6-46B2-67B9745890B6}"/>
                  </a:ext>
                </a:extLst>
              </p:cNvPr>
              <p:cNvSpPr/>
              <p:nvPr/>
            </p:nvSpPr>
            <p:spPr>
              <a:xfrm>
                <a:off x="8333539" y="1593699"/>
                <a:ext cx="65165" cy="40503"/>
              </a:xfrm>
              <a:custGeom>
                <a:avLst/>
                <a:gdLst>
                  <a:gd name="csX0" fmla="*/ 19366 w 65165"/>
                  <a:gd name="csY0" fmla="*/ 6137 h 40503"/>
                  <a:gd name="csX1" fmla="*/ 4099 w 65165"/>
                  <a:gd name="csY1" fmla="*/ 4402 h 40503"/>
                  <a:gd name="csX2" fmla="*/ 2348 w 65165"/>
                  <a:gd name="csY2" fmla="*/ 19649 h 40503"/>
                  <a:gd name="csX3" fmla="*/ 15685 w 65165"/>
                  <a:gd name="csY3" fmla="*/ 36444 h 40503"/>
                  <a:gd name="csX4" fmla="*/ 29952 w 65165"/>
                  <a:gd name="csY4" fmla="*/ 38900 h 40503"/>
                  <a:gd name="csX5" fmla="*/ 60074 w 65165"/>
                  <a:gd name="csY5" fmla="*/ 20068 h 40503"/>
                  <a:gd name="csX6" fmla="*/ 63503 w 65165"/>
                  <a:gd name="csY6" fmla="*/ 5092 h 40503"/>
                  <a:gd name="csX7" fmla="*/ 48556 w 65165"/>
                  <a:gd name="csY7" fmla="*/ 1644 h 40503"/>
                  <a:gd name="csX8" fmla="*/ 26666 w 65165"/>
                  <a:gd name="csY8" fmla="*/ 15331 h 4050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65165" h="40503">
                    <a:moveTo>
                      <a:pt x="19366" y="6137"/>
                    </a:moveTo>
                    <a:cubicBezTo>
                      <a:pt x="15629" y="1442"/>
                      <a:pt x="8794" y="665"/>
                      <a:pt x="4099" y="4402"/>
                    </a:cubicBezTo>
                    <a:cubicBezTo>
                      <a:pt x="-588" y="8132"/>
                      <a:pt x="-1371" y="14953"/>
                      <a:pt x="2348" y="19649"/>
                    </a:cubicBezTo>
                    <a:lnTo>
                      <a:pt x="15685" y="36444"/>
                    </a:lnTo>
                    <a:cubicBezTo>
                      <a:pt x="19161" y="40709"/>
                      <a:pt x="25250" y="41757"/>
                      <a:pt x="29952" y="38900"/>
                    </a:cubicBezTo>
                    <a:lnTo>
                      <a:pt x="60074" y="20068"/>
                    </a:lnTo>
                    <a:cubicBezTo>
                      <a:pt x="65156" y="16879"/>
                      <a:pt x="66691" y="10174"/>
                      <a:pt x="63503" y="5092"/>
                    </a:cubicBezTo>
                    <a:cubicBezTo>
                      <a:pt x="60321" y="21"/>
                      <a:pt x="53637" y="-1521"/>
                      <a:pt x="48556" y="1644"/>
                    </a:cubicBezTo>
                    <a:lnTo>
                      <a:pt x="26666" y="15331"/>
                    </a:lnTo>
                    <a:close/>
                  </a:path>
                </a:pathLst>
              </a:custGeom>
              <a:grpFill/>
              <a:ln w="543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8" name="Freeform: Shape 57">
                <a:extLst>
                  <a:ext uri="{FF2B5EF4-FFF2-40B4-BE49-F238E27FC236}">
                    <a16:creationId xmlns:a16="http://schemas.microsoft.com/office/drawing/2014/main" id="{37D9F293-B4FD-BC98-A1F3-E2D02743CBEF}"/>
                  </a:ext>
                </a:extLst>
              </p:cNvPr>
              <p:cNvSpPr/>
              <p:nvPr/>
            </p:nvSpPr>
            <p:spPr>
              <a:xfrm>
                <a:off x="8056487" y="1327520"/>
                <a:ext cx="65173" cy="40506"/>
              </a:xfrm>
              <a:custGeom>
                <a:avLst/>
                <a:gdLst>
                  <a:gd name="csX0" fmla="*/ 48564 w 65173"/>
                  <a:gd name="csY0" fmla="*/ 1644 h 40506"/>
                  <a:gd name="csX1" fmla="*/ 26674 w 65173"/>
                  <a:gd name="csY1" fmla="*/ 15331 h 40506"/>
                  <a:gd name="csX2" fmla="*/ 19374 w 65173"/>
                  <a:gd name="csY2" fmla="*/ 6137 h 40506"/>
                  <a:gd name="csX3" fmla="*/ 4109 w 65173"/>
                  <a:gd name="csY3" fmla="*/ 4384 h 40506"/>
                  <a:gd name="csX4" fmla="*/ 2356 w 65173"/>
                  <a:gd name="csY4" fmla="*/ 19649 h 40506"/>
                  <a:gd name="csX5" fmla="*/ 15693 w 65173"/>
                  <a:gd name="csY5" fmla="*/ 36444 h 40506"/>
                  <a:gd name="csX6" fmla="*/ 29960 w 65173"/>
                  <a:gd name="csY6" fmla="*/ 38900 h 40506"/>
                  <a:gd name="csX7" fmla="*/ 60082 w 65173"/>
                  <a:gd name="csY7" fmla="*/ 20068 h 40506"/>
                  <a:gd name="csX8" fmla="*/ 63511 w 65173"/>
                  <a:gd name="csY8" fmla="*/ 5092 h 40506"/>
                  <a:gd name="csX9" fmla="*/ 48564 w 65173"/>
                  <a:gd name="csY9" fmla="*/ 1644 h 4050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65173" h="40506">
                    <a:moveTo>
                      <a:pt x="48564" y="1644"/>
                    </a:moveTo>
                    <a:lnTo>
                      <a:pt x="26674" y="15331"/>
                    </a:lnTo>
                    <a:lnTo>
                      <a:pt x="19374" y="6137"/>
                    </a:lnTo>
                    <a:cubicBezTo>
                      <a:pt x="15643" y="1438"/>
                      <a:pt x="8809" y="653"/>
                      <a:pt x="4109" y="4384"/>
                    </a:cubicBezTo>
                    <a:cubicBezTo>
                      <a:pt x="-590" y="8115"/>
                      <a:pt x="-1375" y="14949"/>
                      <a:pt x="2356" y="19649"/>
                    </a:cubicBezTo>
                    <a:lnTo>
                      <a:pt x="15693" y="36444"/>
                    </a:lnTo>
                    <a:cubicBezTo>
                      <a:pt x="19166" y="40713"/>
                      <a:pt x="25259" y="41762"/>
                      <a:pt x="29960" y="38900"/>
                    </a:cubicBezTo>
                    <a:lnTo>
                      <a:pt x="60082" y="20068"/>
                    </a:lnTo>
                    <a:cubicBezTo>
                      <a:pt x="65164" y="16879"/>
                      <a:pt x="66700" y="10174"/>
                      <a:pt x="63511" y="5092"/>
                    </a:cubicBezTo>
                    <a:cubicBezTo>
                      <a:pt x="60330" y="21"/>
                      <a:pt x="53646" y="-1521"/>
                      <a:pt x="48564" y="1644"/>
                    </a:cubicBezTo>
                    <a:close/>
                  </a:path>
                </a:pathLst>
              </a:custGeom>
              <a:grpFill/>
              <a:ln w="543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9" name="Freeform: Shape 58">
                <a:extLst>
                  <a:ext uri="{FF2B5EF4-FFF2-40B4-BE49-F238E27FC236}">
                    <a16:creationId xmlns:a16="http://schemas.microsoft.com/office/drawing/2014/main" id="{77B5B5F0-B8BC-E1D3-04D4-F6B45A2CD5E6}"/>
                  </a:ext>
                </a:extLst>
              </p:cNvPr>
              <p:cNvSpPr/>
              <p:nvPr/>
            </p:nvSpPr>
            <p:spPr>
              <a:xfrm>
                <a:off x="8610582" y="1327502"/>
                <a:ext cx="65195" cy="40522"/>
              </a:xfrm>
              <a:custGeom>
                <a:avLst/>
                <a:gdLst>
                  <a:gd name="csX0" fmla="*/ 19366 w 65195"/>
                  <a:gd name="csY0" fmla="*/ 6156 h 40522"/>
                  <a:gd name="csX1" fmla="*/ 4099 w 65195"/>
                  <a:gd name="csY1" fmla="*/ 4421 h 40522"/>
                  <a:gd name="csX2" fmla="*/ 2348 w 65195"/>
                  <a:gd name="csY2" fmla="*/ 19667 h 40522"/>
                  <a:gd name="csX3" fmla="*/ 15685 w 65195"/>
                  <a:gd name="csY3" fmla="*/ 36463 h 40522"/>
                  <a:gd name="csX4" fmla="*/ 29952 w 65195"/>
                  <a:gd name="csY4" fmla="*/ 38919 h 40522"/>
                  <a:gd name="csX5" fmla="*/ 60074 w 65195"/>
                  <a:gd name="csY5" fmla="*/ 20087 h 40522"/>
                  <a:gd name="csX6" fmla="*/ 63551 w 65195"/>
                  <a:gd name="csY6" fmla="*/ 5121 h 40522"/>
                  <a:gd name="csX7" fmla="*/ 48586 w 65195"/>
                  <a:gd name="csY7" fmla="*/ 1644 h 40522"/>
                  <a:gd name="csX8" fmla="*/ 48556 w 65195"/>
                  <a:gd name="csY8" fmla="*/ 1663 h 40522"/>
                  <a:gd name="csX9" fmla="*/ 26666 w 65195"/>
                  <a:gd name="csY9" fmla="*/ 15349 h 4052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65195" h="40522">
                    <a:moveTo>
                      <a:pt x="19366" y="6156"/>
                    </a:moveTo>
                    <a:cubicBezTo>
                      <a:pt x="15629" y="1461"/>
                      <a:pt x="8794" y="684"/>
                      <a:pt x="4099" y="4421"/>
                    </a:cubicBezTo>
                    <a:cubicBezTo>
                      <a:pt x="-588" y="8151"/>
                      <a:pt x="-1371" y="14971"/>
                      <a:pt x="2348" y="19667"/>
                    </a:cubicBezTo>
                    <a:lnTo>
                      <a:pt x="15685" y="36463"/>
                    </a:lnTo>
                    <a:cubicBezTo>
                      <a:pt x="19160" y="40729"/>
                      <a:pt x="25250" y="41777"/>
                      <a:pt x="29952" y="38919"/>
                    </a:cubicBezTo>
                    <a:lnTo>
                      <a:pt x="60074" y="20087"/>
                    </a:lnTo>
                    <a:cubicBezTo>
                      <a:pt x="65166" y="16914"/>
                      <a:pt x="66723" y="10214"/>
                      <a:pt x="63551" y="5121"/>
                    </a:cubicBezTo>
                    <a:cubicBezTo>
                      <a:pt x="60379" y="29"/>
                      <a:pt x="53679" y="-1528"/>
                      <a:pt x="48586" y="1644"/>
                    </a:cubicBezTo>
                    <a:cubicBezTo>
                      <a:pt x="48576" y="1650"/>
                      <a:pt x="48566" y="1656"/>
                      <a:pt x="48556" y="1663"/>
                    </a:cubicBezTo>
                    <a:lnTo>
                      <a:pt x="26666" y="15349"/>
                    </a:lnTo>
                    <a:close/>
                  </a:path>
                </a:pathLst>
              </a:custGeom>
              <a:grpFill/>
              <a:ln w="543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61" name="Group 60">
            <a:extLst>
              <a:ext uri="{FF2B5EF4-FFF2-40B4-BE49-F238E27FC236}">
                <a16:creationId xmlns:a16="http://schemas.microsoft.com/office/drawing/2014/main" id="{B9E0FD5D-EE97-8D64-4BC1-B5D573BFC7C3}"/>
              </a:ext>
            </a:extLst>
          </p:cNvPr>
          <p:cNvGrpSpPr/>
          <p:nvPr/>
        </p:nvGrpSpPr>
        <p:grpSpPr>
          <a:xfrm>
            <a:off x="931881" y="3838778"/>
            <a:ext cx="833755" cy="833755"/>
            <a:chOff x="931881" y="3838778"/>
            <a:chExt cx="833755" cy="833755"/>
          </a:xfrm>
        </p:grpSpPr>
        <p:sp>
          <p:nvSpPr>
            <p:cNvPr id="23" name="Oval 22">
              <a:extLst>
                <a:ext uri="{FF2B5EF4-FFF2-40B4-BE49-F238E27FC236}">
                  <a16:creationId xmlns:a16="http://schemas.microsoft.com/office/drawing/2014/main" id="{FCB265CC-BFFC-AADA-396E-EB33E2ED6D92}"/>
                </a:ext>
              </a:extLst>
            </p:cNvPr>
            <p:cNvSpPr>
              <a:spLocks noChangeAspect="1"/>
            </p:cNvSpPr>
            <p:nvPr/>
          </p:nvSpPr>
          <p:spPr>
            <a:xfrm>
              <a:off x="931881" y="3838778"/>
              <a:ext cx="833755" cy="833755"/>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Moderat" panose="020B0604020202020204"/>
              </a:endParaRPr>
            </a:p>
          </p:txBody>
        </p:sp>
        <p:sp>
          <p:nvSpPr>
            <p:cNvPr id="31" name="Pic">
              <a:extLst>
                <a:ext uri="{FF2B5EF4-FFF2-40B4-BE49-F238E27FC236}">
                  <a16:creationId xmlns:a16="http://schemas.microsoft.com/office/drawing/2014/main" id="{3FA253D5-256C-B319-4E7B-B01F7CF2B65E}"/>
                </a:ext>
              </a:extLst>
            </p:cNvPr>
            <p:cNvSpPr>
              <a:spLocks noChangeAspect="1"/>
            </p:cNvSpPr>
            <p:nvPr/>
          </p:nvSpPr>
          <p:spPr>
            <a:xfrm>
              <a:off x="1120653" y="4009022"/>
              <a:ext cx="456212" cy="456323"/>
            </a:xfrm>
            <a:custGeom>
              <a:avLst/>
              <a:gdLst>
                <a:gd name="csX0" fmla="*/ 588778 w 667940"/>
                <a:gd name="csY0" fmla="*/ 546636 h 668103"/>
                <a:gd name="csX1" fmla="*/ 601021 w 667940"/>
                <a:gd name="csY1" fmla="*/ 457432 h 668103"/>
                <a:gd name="csX2" fmla="*/ 559991 w 667940"/>
                <a:gd name="csY2" fmla="*/ 432987 h 668103"/>
                <a:gd name="csX3" fmla="*/ 559991 w 667940"/>
                <a:gd name="csY3" fmla="*/ 388108 h 668103"/>
                <a:gd name="csX4" fmla="*/ 549870 w 667940"/>
                <a:gd name="csY4" fmla="*/ 377988 h 668103"/>
                <a:gd name="csX5" fmla="*/ 344091 w 667940"/>
                <a:gd name="csY5" fmla="*/ 377988 h 668103"/>
                <a:gd name="csX6" fmla="*/ 344091 w 667940"/>
                <a:gd name="csY6" fmla="*/ 344253 h 668103"/>
                <a:gd name="csX7" fmla="*/ 495895 w 667940"/>
                <a:gd name="csY7" fmla="*/ 344253 h 668103"/>
                <a:gd name="csX8" fmla="*/ 506016 w 667940"/>
                <a:gd name="csY8" fmla="*/ 334133 h 668103"/>
                <a:gd name="csX9" fmla="*/ 381362 w 667940"/>
                <a:gd name="csY9" fmla="*/ 168878 h 668103"/>
                <a:gd name="csX10" fmla="*/ 411753 w 667940"/>
                <a:gd name="csY10" fmla="*/ 43704 h 668103"/>
                <a:gd name="csX11" fmla="*/ 286578 w 667940"/>
                <a:gd name="csY11" fmla="*/ 13314 h 668103"/>
                <a:gd name="csX12" fmla="*/ 256188 w 667940"/>
                <a:gd name="csY12" fmla="*/ 138488 h 668103"/>
                <a:gd name="csX13" fmla="*/ 286578 w 667940"/>
                <a:gd name="csY13" fmla="*/ 168878 h 668103"/>
                <a:gd name="csX14" fmla="*/ 161925 w 667940"/>
                <a:gd name="csY14" fmla="*/ 334133 h 668103"/>
                <a:gd name="csX15" fmla="*/ 172045 w 667940"/>
                <a:gd name="csY15" fmla="*/ 344253 h 668103"/>
                <a:gd name="csX16" fmla="*/ 323850 w 667940"/>
                <a:gd name="csY16" fmla="*/ 344253 h 668103"/>
                <a:gd name="csX17" fmla="*/ 323850 w 667940"/>
                <a:gd name="csY17" fmla="*/ 377988 h 668103"/>
                <a:gd name="csX18" fmla="*/ 118070 w 667940"/>
                <a:gd name="csY18" fmla="*/ 377988 h 668103"/>
                <a:gd name="csX19" fmla="*/ 107950 w 667940"/>
                <a:gd name="csY19" fmla="*/ 388108 h 668103"/>
                <a:gd name="csX20" fmla="*/ 107950 w 667940"/>
                <a:gd name="csY20" fmla="*/ 432987 h 668103"/>
                <a:gd name="csX21" fmla="*/ 54717 w 667940"/>
                <a:gd name="csY21" fmla="*/ 505606 h 668103"/>
                <a:gd name="csX22" fmla="*/ 79162 w 667940"/>
                <a:gd name="csY22" fmla="*/ 546636 h 668103"/>
                <a:gd name="csX23" fmla="*/ 0 w 667940"/>
                <a:gd name="csY23" fmla="*/ 657983 h 668103"/>
                <a:gd name="csX24" fmla="*/ 10120 w 667940"/>
                <a:gd name="csY24" fmla="*/ 668103 h 668103"/>
                <a:gd name="csX25" fmla="*/ 657820 w 667940"/>
                <a:gd name="csY25" fmla="*/ 668103 h 668103"/>
                <a:gd name="csX26" fmla="*/ 667941 w 667940"/>
                <a:gd name="csY26" fmla="*/ 657983 h 668103"/>
                <a:gd name="csX27" fmla="*/ 588778 w 667940"/>
                <a:gd name="csY27" fmla="*/ 546636 h 668103"/>
                <a:gd name="csX28" fmla="*/ 333970 w 667940"/>
                <a:gd name="csY28" fmla="*/ 20403 h 668103"/>
                <a:gd name="csX29" fmla="*/ 404813 w 667940"/>
                <a:gd name="csY29" fmla="*/ 91246 h 668103"/>
                <a:gd name="csX30" fmla="*/ 333970 w 667940"/>
                <a:gd name="csY30" fmla="*/ 162088 h 668103"/>
                <a:gd name="csX31" fmla="*/ 263128 w 667940"/>
                <a:gd name="csY31" fmla="*/ 91246 h 668103"/>
                <a:gd name="csX32" fmla="*/ 333970 w 667940"/>
                <a:gd name="csY32" fmla="*/ 20403 h 668103"/>
                <a:gd name="csX33" fmla="*/ 263128 w 667940"/>
                <a:gd name="csY33" fmla="*/ 324013 h 668103"/>
                <a:gd name="csX34" fmla="*/ 263128 w 667940"/>
                <a:gd name="csY34" fmla="*/ 280158 h 668103"/>
                <a:gd name="csX35" fmla="*/ 253008 w 667940"/>
                <a:gd name="csY35" fmla="*/ 270038 h 668103"/>
                <a:gd name="csX36" fmla="*/ 242888 w 667940"/>
                <a:gd name="csY36" fmla="*/ 280158 h 668103"/>
                <a:gd name="csX37" fmla="*/ 242888 w 667940"/>
                <a:gd name="csY37" fmla="*/ 324013 h 668103"/>
                <a:gd name="csX38" fmla="*/ 182495 w 667940"/>
                <a:gd name="csY38" fmla="*/ 324013 h 668103"/>
                <a:gd name="csX39" fmla="*/ 344100 w 667940"/>
                <a:gd name="csY39" fmla="*/ 182668 h 668103"/>
                <a:gd name="csX40" fmla="*/ 485445 w 667940"/>
                <a:gd name="csY40" fmla="*/ 324013 h 668103"/>
                <a:gd name="csX41" fmla="*/ 425053 w 667940"/>
                <a:gd name="csY41" fmla="*/ 324013 h 668103"/>
                <a:gd name="csX42" fmla="*/ 425053 w 667940"/>
                <a:gd name="csY42" fmla="*/ 280158 h 668103"/>
                <a:gd name="csX43" fmla="*/ 414933 w 667940"/>
                <a:gd name="csY43" fmla="*/ 270038 h 668103"/>
                <a:gd name="csX44" fmla="*/ 404813 w 667940"/>
                <a:gd name="csY44" fmla="*/ 280158 h 668103"/>
                <a:gd name="csX45" fmla="*/ 404813 w 667940"/>
                <a:gd name="csY45" fmla="*/ 324013 h 668103"/>
                <a:gd name="csX46" fmla="*/ 263128 w 667940"/>
                <a:gd name="csY46" fmla="*/ 324013 h 668103"/>
                <a:gd name="csX47" fmla="*/ 613966 w 667940"/>
                <a:gd name="csY47" fmla="*/ 647863 h 668103"/>
                <a:gd name="csX48" fmla="*/ 613966 w 667940"/>
                <a:gd name="csY48" fmla="*/ 604008 h 668103"/>
                <a:gd name="csX49" fmla="*/ 603845 w 667940"/>
                <a:gd name="csY49" fmla="*/ 593888 h 668103"/>
                <a:gd name="csX50" fmla="*/ 593725 w 667940"/>
                <a:gd name="csY50" fmla="*/ 604008 h 668103"/>
                <a:gd name="csX51" fmla="*/ 593725 w 667940"/>
                <a:gd name="csY51" fmla="*/ 647863 h 668103"/>
                <a:gd name="csX52" fmla="*/ 506016 w 667940"/>
                <a:gd name="csY52" fmla="*/ 647863 h 668103"/>
                <a:gd name="csX53" fmla="*/ 506016 w 667940"/>
                <a:gd name="csY53" fmla="*/ 604008 h 668103"/>
                <a:gd name="csX54" fmla="*/ 495895 w 667940"/>
                <a:gd name="csY54" fmla="*/ 593888 h 668103"/>
                <a:gd name="csX55" fmla="*/ 485775 w 667940"/>
                <a:gd name="csY55" fmla="*/ 604008 h 668103"/>
                <a:gd name="csX56" fmla="*/ 485775 w 667940"/>
                <a:gd name="csY56" fmla="*/ 647863 h 668103"/>
                <a:gd name="csX57" fmla="*/ 452555 w 667940"/>
                <a:gd name="csY57" fmla="*/ 647863 h 668103"/>
                <a:gd name="csX58" fmla="*/ 560003 w 667940"/>
                <a:gd name="csY58" fmla="*/ 560679 h 668103"/>
                <a:gd name="csX59" fmla="*/ 647186 w 667940"/>
                <a:gd name="csY59" fmla="*/ 647863 h 668103"/>
                <a:gd name="csX60" fmla="*/ 398066 w 667940"/>
                <a:gd name="csY60" fmla="*/ 647863 h 668103"/>
                <a:gd name="csX61" fmla="*/ 398066 w 667940"/>
                <a:gd name="csY61" fmla="*/ 604008 h 668103"/>
                <a:gd name="csX62" fmla="*/ 387945 w 667940"/>
                <a:gd name="csY62" fmla="*/ 593888 h 668103"/>
                <a:gd name="csX63" fmla="*/ 377825 w 667940"/>
                <a:gd name="csY63" fmla="*/ 604008 h 668103"/>
                <a:gd name="csX64" fmla="*/ 377825 w 667940"/>
                <a:gd name="csY64" fmla="*/ 647863 h 668103"/>
                <a:gd name="csX65" fmla="*/ 290116 w 667940"/>
                <a:gd name="csY65" fmla="*/ 647863 h 668103"/>
                <a:gd name="csX66" fmla="*/ 290116 w 667940"/>
                <a:gd name="csY66" fmla="*/ 604008 h 668103"/>
                <a:gd name="csX67" fmla="*/ 279995 w 667940"/>
                <a:gd name="csY67" fmla="*/ 593888 h 668103"/>
                <a:gd name="csX68" fmla="*/ 269875 w 667940"/>
                <a:gd name="csY68" fmla="*/ 604008 h 668103"/>
                <a:gd name="csX69" fmla="*/ 269875 w 667940"/>
                <a:gd name="csY69" fmla="*/ 647863 h 668103"/>
                <a:gd name="csX70" fmla="*/ 236655 w 667940"/>
                <a:gd name="csY70" fmla="*/ 647863 h 668103"/>
                <a:gd name="csX71" fmla="*/ 344103 w 667940"/>
                <a:gd name="csY71" fmla="*/ 560679 h 668103"/>
                <a:gd name="csX72" fmla="*/ 431286 w 667940"/>
                <a:gd name="csY72" fmla="*/ 647863 h 668103"/>
                <a:gd name="csX73" fmla="*/ 182166 w 667940"/>
                <a:gd name="csY73" fmla="*/ 647863 h 668103"/>
                <a:gd name="csX74" fmla="*/ 182166 w 667940"/>
                <a:gd name="csY74" fmla="*/ 604008 h 668103"/>
                <a:gd name="csX75" fmla="*/ 172045 w 667940"/>
                <a:gd name="csY75" fmla="*/ 593888 h 668103"/>
                <a:gd name="csX76" fmla="*/ 161925 w 667940"/>
                <a:gd name="csY76" fmla="*/ 604008 h 668103"/>
                <a:gd name="csX77" fmla="*/ 161925 w 667940"/>
                <a:gd name="csY77" fmla="*/ 647863 h 668103"/>
                <a:gd name="csX78" fmla="*/ 74216 w 667940"/>
                <a:gd name="csY78" fmla="*/ 647863 h 668103"/>
                <a:gd name="csX79" fmla="*/ 74216 w 667940"/>
                <a:gd name="csY79" fmla="*/ 604008 h 668103"/>
                <a:gd name="csX80" fmla="*/ 64095 w 667940"/>
                <a:gd name="csY80" fmla="*/ 593888 h 668103"/>
                <a:gd name="csX81" fmla="*/ 53975 w 667940"/>
                <a:gd name="csY81" fmla="*/ 604008 h 668103"/>
                <a:gd name="csX82" fmla="*/ 53975 w 667940"/>
                <a:gd name="csY82" fmla="*/ 647863 h 668103"/>
                <a:gd name="csX83" fmla="*/ 20755 w 667940"/>
                <a:gd name="csY83" fmla="*/ 647863 h 668103"/>
                <a:gd name="csX84" fmla="*/ 128203 w 667940"/>
                <a:gd name="csY84" fmla="*/ 560679 h 668103"/>
                <a:gd name="csX85" fmla="*/ 215386 w 667940"/>
                <a:gd name="csY85" fmla="*/ 647863 h 668103"/>
                <a:gd name="csX86" fmla="*/ 74216 w 667940"/>
                <a:gd name="csY86" fmla="*/ 496058 h 668103"/>
                <a:gd name="csX87" fmla="*/ 118070 w 667940"/>
                <a:gd name="csY87" fmla="*/ 452203 h 668103"/>
                <a:gd name="csX88" fmla="*/ 161925 w 667940"/>
                <a:gd name="csY88" fmla="*/ 496058 h 668103"/>
                <a:gd name="csX89" fmla="*/ 118070 w 667940"/>
                <a:gd name="csY89" fmla="*/ 539913 h 668103"/>
                <a:gd name="csX90" fmla="*/ 74216 w 667940"/>
                <a:gd name="csY90" fmla="*/ 496058 h 668103"/>
                <a:gd name="csX91" fmla="*/ 333970 w 667940"/>
                <a:gd name="csY91" fmla="*/ 452203 h 668103"/>
                <a:gd name="csX92" fmla="*/ 377825 w 667940"/>
                <a:gd name="csY92" fmla="*/ 496058 h 668103"/>
                <a:gd name="csX93" fmla="*/ 333970 w 667940"/>
                <a:gd name="csY93" fmla="*/ 539913 h 668103"/>
                <a:gd name="csX94" fmla="*/ 290116 w 667940"/>
                <a:gd name="csY94" fmla="*/ 496058 h 668103"/>
                <a:gd name="csX95" fmla="*/ 333970 w 667940"/>
                <a:gd name="csY95" fmla="*/ 452203 h 668103"/>
                <a:gd name="csX96" fmla="*/ 549870 w 667940"/>
                <a:gd name="csY96" fmla="*/ 539913 h 668103"/>
                <a:gd name="csX97" fmla="*/ 506016 w 667940"/>
                <a:gd name="csY97" fmla="*/ 496058 h 668103"/>
                <a:gd name="csX98" fmla="*/ 549870 w 667940"/>
                <a:gd name="csY98" fmla="*/ 452203 h 668103"/>
                <a:gd name="csX99" fmla="*/ 593725 w 667940"/>
                <a:gd name="csY99" fmla="*/ 496058 h 668103"/>
                <a:gd name="csX100" fmla="*/ 549870 w 667940"/>
                <a:gd name="csY100" fmla="*/ 539913 h 668103"/>
                <a:gd name="csX101" fmla="*/ 539750 w 667940"/>
                <a:gd name="csY101" fmla="*/ 398228 h 668103"/>
                <a:gd name="csX102" fmla="*/ 539750 w 667940"/>
                <a:gd name="csY102" fmla="*/ 432987 h 668103"/>
                <a:gd name="csX103" fmla="*/ 486517 w 667940"/>
                <a:gd name="csY103" fmla="*/ 505606 h 668103"/>
                <a:gd name="csX104" fmla="*/ 510962 w 667940"/>
                <a:gd name="csY104" fmla="*/ 546636 h 668103"/>
                <a:gd name="csX105" fmla="*/ 441920 w 667940"/>
                <a:gd name="csY105" fmla="*/ 610354 h 668103"/>
                <a:gd name="csX106" fmla="*/ 372878 w 667940"/>
                <a:gd name="csY106" fmla="*/ 546636 h 668103"/>
                <a:gd name="csX107" fmla="*/ 385122 w 667940"/>
                <a:gd name="csY107" fmla="*/ 457433 h 668103"/>
                <a:gd name="csX108" fmla="*/ 344091 w 667940"/>
                <a:gd name="csY108" fmla="*/ 432987 h 668103"/>
                <a:gd name="csX109" fmla="*/ 344091 w 667940"/>
                <a:gd name="csY109" fmla="*/ 398228 h 668103"/>
                <a:gd name="csX110" fmla="*/ 128191 w 667940"/>
                <a:gd name="csY110" fmla="*/ 398228 h 668103"/>
                <a:gd name="csX111" fmla="*/ 323850 w 667940"/>
                <a:gd name="csY111" fmla="*/ 398228 h 668103"/>
                <a:gd name="csX112" fmla="*/ 323850 w 667940"/>
                <a:gd name="csY112" fmla="*/ 432987 h 668103"/>
                <a:gd name="csX113" fmla="*/ 270617 w 667940"/>
                <a:gd name="csY113" fmla="*/ 505606 h 668103"/>
                <a:gd name="csX114" fmla="*/ 295062 w 667940"/>
                <a:gd name="csY114" fmla="*/ 546636 h 668103"/>
                <a:gd name="csX115" fmla="*/ 226020 w 667940"/>
                <a:gd name="csY115" fmla="*/ 610354 h 668103"/>
                <a:gd name="csX116" fmla="*/ 156979 w 667940"/>
                <a:gd name="csY116" fmla="*/ 546636 h 668103"/>
                <a:gd name="csX117" fmla="*/ 169222 w 667940"/>
                <a:gd name="csY117" fmla="*/ 457433 h 668103"/>
                <a:gd name="csX118" fmla="*/ 128191 w 667940"/>
                <a:gd name="csY118" fmla="*/ 432987 h 66810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Lst>
              <a:rect l="l" t="t" r="r" b="b"/>
              <a:pathLst>
                <a:path w="667940" h="668103">
                  <a:moveTo>
                    <a:pt x="588778" y="546636"/>
                  </a:moveTo>
                  <a:cubicBezTo>
                    <a:pt x="616792" y="525383"/>
                    <a:pt x="622273" y="485445"/>
                    <a:pt x="601021" y="457432"/>
                  </a:cubicBezTo>
                  <a:cubicBezTo>
                    <a:pt x="591034" y="444268"/>
                    <a:pt x="576321" y="435502"/>
                    <a:pt x="559991" y="432987"/>
                  </a:cubicBezTo>
                  <a:lnTo>
                    <a:pt x="559991" y="388108"/>
                  </a:lnTo>
                  <a:cubicBezTo>
                    <a:pt x="559989" y="382519"/>
                    <a:pt x="555459" y="377989"/>
                    <a:pt x="549870" y="377988"/>
                  </a:cubicBezTo>
                  <a:lnTo>
                    <a:pt x="344091" y="377988"/>
                  </a:lnTo>
                  <a:lnTo>
                    <a:pt x="344091" y="344253"/>
                  </a:lnTo>
                  <a:lnTo>
                    <a:pt x="495895" y="344253"/>
                  </a:lnTo>
                  <a:cubicBezTo>
                    <a:pt x="501484" y="344252"/>
                    <a:pt x="506014" y="339722"/>
                    <a:pt x="506016" y="334133"/>
                  </a:cubicBezTo>
                  <a:cubicBezTo>
                    <a:pt x="505889" y="257440"/>
                    <a:pt x="455071" y="190068"/>
                    <a:pt x="381362" y="168878"/>
                  </a:cubicBezTo>
                  <a:cubicBezTo>
                    <a:pt x="424320" y="142704"/>
                    <a:pt x="437927" y="86662"/>
                    <a:pt x="411753" y="43704"/>
                  </a:cubicBezTo>
                  <a:cubicBezTo>
                    <a:pt x="385579" y="746"/>
                    <a:pt x="329536" y="-12860"/>
                    <a:pt x="286578" y="13314"/>
                  </a:cubicBezTo>
                  <a:cubicBezTo>
                    <a:pt x="243620" y="39488"/>
                    <a:pt x="230014" y="95530"/>
                    <a:pt x="256188" y="138488"/>
                  </a:cubicBezTo>
                  <a:cubicBezTo>
                    <a:pt x="263749" y="150897"/>
                    <a:pt x="274169" y="161317"/>
                    <a:pt x="286578" y="168878"/>
                  </a:cubicBezTo>
                  <a:cubicBezTo>
                    <a:pt x="212870" y="190068"/>
                    <a:pt x="162051" y="257439"/>
                    <a:pt x="161925" y="334133"/>
                  </a:cubicBezTo>
                  <a:cubicBezTo>
                    <a:pt x="161926" y="339722"/>
                    <a:pt x="166457" y="344252"/>
                    <a:pt x="172045" y="344253"/>
                  </a:cubicBezTo>
                  <a:lnTo>
                    <a:pt x="323850" y="344253"/>
                  </a:lnTo>
                  <a:lnTo>
                    <a:pt x="323850" y="377988"/>
                  </a:lnTo>
                  <a:lnTo>
                    <a:pt x="118070" y="377988"/>
                  </a:lnTo>
                  <a:cubicBezTo>
                    <a:pt x="112482" y="377989"/>
                    <a:pt x="107951" y="382519"/>
                    <a:pt x="107950" y="388108"/>
                  </a:cubicBezTo>
                  <a:lnTo>
                    <a:pt x="107950" y="432987"/>
                  </a:lnTo>
                  <a:cubicBezTo>
                    <a:pt x="73197" y="438340"/>
                    <a:pt x="49364" y="470852"/>
                    <a:pt x="54717" y="505606"/>
                  </a:cubicBezTo>
                  <a:cubicBezTo>
                    <a:pt x="57233" y="521936"/>
                    <a:pt x="65998" y="536649"/>
                    <a:pt x="79162" y="546636"/>
                  </a:cubicBezTo>
                  <a:cubicBezTo>
                    <a:pt x="31820" y="563192"/>
                    <a:pt x="85" y="607829"/>
                    <a:pt x="0" y="657983"/>
                  </a:cubicBezTo>
                  <a:cubicBezTo>
                    <a:pt x="1" y="663572"/>
                    <a:pt x="4532" y="668102"/>
                    <a:pt x="10120" y="668103"/>
                  </a:cubicBezTo>
                  <a:lnTo>
                    <a:pt x="657820" y="668103"/>
                  </a:lnTo>
                  <a:cubicBezTo>
                    <a:pt x="663409" y="668102"/>
                    <a:pt x="667939" y="663572"/>
                    <a:pt x="667941" y="657983"/>
                  </a:cubicBezTo>
                  <a:cubicBezTo>
                    <a:pt x="667855" y="607829"/>
                    <a:pt x="636121" y="563192"/>
                    <a:pt x="588778" y="546636"/>
                  </a:cubicBezTo>
                  <a:close/>
                  <a:moveTo>
                    <a:pt x="333970" y="20403"/>
                  </a:moveTo>
                  <a:cubicBezTo>
                    <a:pt x="373095" y="20403"/>
                    <a:pt x="404813" y="52121"/>
                    <a:pt x="404813" y="91246"/>
                  </a:cubicBezTo>
                  <a:cubicBezTo>
                    <a:pt x="404813" y="130371"/>
                    <a:pt x="373095" y="162088"/>
                    <a:pt x="333970" y="162088"/>
                  </a:cubicBezTo>
                  <a:cubicBezTo>
                    <a:pt x="294845" y="162088"/>
                    <a:pt x="263128" y="130371"/>
                    <a:pt x="263128" y="91246"/>
                  </a:cubicBezTo>
                  <a:cubicBezTo>
                    <a:pt x="263173" y="52139"/>
                    <a:pt x="294864" y="20448"/>
                    <a:pt x="333970" y="20403"/>
                  </a:cubicBezTo>
                  <a:close/>
                  <a:moveTo>
                    <a:pt x="263128" y="324013"/>
                  </a:moveTo>
                  <a:lnTo>
                    <a:pt x="263128" y="280158"/>
                  </a:lnTo>
                  <a:cubicBezTo>
                    <a:pt x="263128" y="274569"/>
                    <a:pt x="258597" y="270038"/>
                    <a:pt x="253008" y="270038"/>
                  </a:cubicBezTo>
                  <a:cubicBezTo>
                    <a:pt x="247419" y="270038"/>
                    <a:pt x="242888" y="274569"/>
                    <a:pt x="242888" y="280158"/>
                  </a:cubicBezTo>
                  <a:lnTo>
                    <a:pt x="242888" y="324013"/>
                  </a:lnTo>
                  <a:lnTo>
                    <a:pt x="182495" y="324013"/>
                  </a:lnTo>
                  <a:cubicBezTo>
                    <a:pt x="188090" y="240355"/>
                    <a:pt x="260443" y="177073"/>
                    <a:pt x="344100" y="182668"/>
                  </a:cubicBezTo>
                  <a:cubicBezTo>
                    <a:pt x="419962" y="187741"/>
                    <a:pt x="480372" y="248151"/>
                    <a:pt x="485445" y="324013"/>
                  </a:cubicBezTo>
                  <a:lnTo>
                    <a:pt x="425053" y="324013"/>
                  </a:lnTo>
                  <a:lnTo>
                    <a:pt x="425053" y="280158"/>
                  </a:lnTo>
                  <a:cubicBezTo>
                    <a:pt x="425053" y="274569"/>
                    <a:pt x="420522" y="270038"/>
                    <a:pt x="414933" y="270038"/>
                  </a:cubicBezTo>
                  <a:cubicBezTo>
                    <a:pt x="409344" y="270038"/>
                    <a:pt x="404813" y="274569"/>
                    <a:pt x="404813" y="280158"/>
                  </a:cubicBezTo>
                  <a:lnTo>
                    <a:pt x="404813" y="324013"/>
                  </a:lnTo>
                  <a:lnTo>
                    <a:pt x="263128" y="324013"/>
                  </a:lnTo>
                  <a:close/>
                  <a:moveTo>
                    <a:pt x="613966" y="647863"/>
                  </a:moveTo>
                  <a:lnTo>
                    <a:pt x="613966" y="604008"/>
                  </a:lnTo>
                  <a:cubicBezTo>
                    <a:pt x="613966" y="598419"/>
                    <a:pt x="609435" y="593888"/>
                    <a:pt x="603845" y="593888"/>
                  </a:cubicBezTo>
                  <a:cubicBezTo>
                    <a:pt x="598256" y="593888"/>
                    <a:pt x="593725" y="598419"/>
                    <a:pt x="593725" y="604008"/>
                  </a:cubicBezTo>
                  <a:lnTo>
                    <a:pt x="593725" y="647863"/>
                  </a:lnTo>
                  <a:lnTo>
                    <a:pt x="506016" y="647863"/>
                  </a:lnTo>
                  <a:lnTo>
                    <a:pt x="506016" y="604008"/>
                  </a:lnTo>
                  <a:cubicBezTo>
                    <a:pt x="506016" y="598419"/>
                    <a:pt x="501485" y="593888"/>
                    <a:pt x="495895" y="593888"/>
                  </a:cubicBezTo>
                  <a:cubicBezTo>
                    <a:pt x="490306" y="593888"/>
                    <a:pt x="485775" y="598419"/>
                    <a:pt x="485775" y="604008"/>
                  </a:cubicBezTo>
                  <a:lnTo>
                    <a:pt x="485775" y="647863"/>
                  </a:lnTo>
                  <a:lnTo>
                    <a:pt x="452555" y="647863"/>
                  </a:lnTo>
                  <a:cubicBezTo>
                    <a:pt x="458151" y="594117"/>
                    <a:pt x="506257" y="555083"/>
                    <a:pt x="560003" y="560679"/>
                  </a:cubicBezTo>
                  <a:cubicBezTo>
                    <a:pt x="606022" y="565471"/>
                    <a:pt x="642395" y="601843"/>
                    <a:pt x="647186" y="647863"/>
                  </a:cubicBezTo>
                  <a:close/>
                  <a:moveTo>
                    <a:pt x="398066" y="647863"/>
                  </a:moveTo>
                  <a:lnTo>
                    <a:pt x="398066" y="604008"/>
                  </a:lnTo>
                  <a:cubicBezTo>
                    <a:pt x="398066" y="598419"/>
                    <a:pt x="393535" y="593888"/>
                    <a:pt x="387945" y="593888"/>
                  </a:cubicBezTo>
                  <a:cubicBezTo>
                    <a:pt x="382356" y="593888"/>
                    <a:pt x="377825" y="598419"/>
                    <a:pt x="377825" y="604008"/>
                  </a:cubicBezTo>
                  <a:lnTo>
                    <a:pt x="377825" y="647863"/>
                  </a:lnTo>
                  <a:lnTo>
                    <a:pt x="290116" y="647863"/>
                  </a:lnTo>
                  <a:lnTo>
                    <a:pt x="290116" y="604008"/>
                  </a:lnTo>
                  <a:cubicBezTo>
                    <a:pt x="290116" y="598419"/>
                    <a:pt x="285585" y="593888"/>
                    <a:pt x="279995" y="593888"/>
                  </a:cubicBezTo>
                  <a:cubicBezTo>
                    <a:pt x="274406" y="593888"/>
                    <a:pt x="269875" y="598419"/>
                    <a:pt x="269875" y="604008"/>
                  </a:cubicBezTo>
                  <a:lnTo>
                    <a:pt x="269875" y="647863"/>
                  </a:lnTo>
                  <a:lnTo>
                    <a:pt x="236655" y="647863"/>
                  </a:lnTo>
                  <a:cubicBezTo>
                    <a:pt x="242251" y="594117"/>
                    <a:pt x="290357" y="555083"/>
                    <a:pt x="344103" y="560679"/>
                  </a:cubicBezTo>
                  <a:cubicBezTo>
                    <a:pt x="390122" y="565471"/>
                    <a:pt x="426495" y="601843"/>
                    <a:pt x="431286" y="647863"/>
                  </a:cubicBezTo>
                  <a:close/>
                  <a:moveTo>
                    <a:pt x="182166" y="647863"/>
                  </a:moveTo>
                  <a:lnTo>
                    <a:pt x="182166" y="604008"/>
                  </a:lnTo>
                  <a:cubicBezTo>
                    <a:pt x="182166" y="598419"/>
                    <a:pt x="177635" y="593888"/>
                    <a:pt x="172045" y="593888"/>
                  </a:cubicBezTo>
                  <a:cubicBezTo>
                    <a:pt x="166456" y="593888"/>
                    <a:pt x="161925" y="598419"/>
                    <a:pt x="161925" y="604008"/>
                  </a:cubicBezTo>
                  <a:lnTo>
                    <a:pt x="161925" y="647863"/>
                  </a:lnTo>
                  <a:lnTo>
                    <a:pt x="74216" y="647863"/>
                  </a:lnTo>
                  <a:lnTo>
                    <a:pt x="74216" y="604008"/>
                  </a:lnTo>
                  <a:cubicBezTo>
                    <a:pt x="74216" y="598419"/>
                    <a:pt x="69685" y="593888"/>
                    <a:pt x="64095" y="593888"/>
                  </a:cubicBezTo>
                  <a:cubicBezTo>
                    <a:pt x="58506" y="593888"/>
                    <a:pt x="53975" y="598419"/>
                    <a:pt x="53975" y="604008"/>
                  </a:cubicBezTo>
                  <a:lnTo>
                    <a:pt x="53975" y="647863"/>
                  </a:lnTo>
                  <a:lnTo>
                    <a:pt x="20755" y="647863"/>
                  </a:lnTo>
                  <a:cubicBezTo>
                    <a:pt x="26351" y="594117"/>
                    <a:pt x="74457" y="555083"/>
                    <a:pt x="128203" y="560679"/>
                  </a:cubicBezTo>
                  <a:cubicBezTo>
                    <a:pt x="174222" y="565471"/>
                    <a:pt x="210595" y="601843"/>
                    <a:pt x="215386" y="647863"/>
                  </a:cubicBezTo>
                  <a:close/>
                  <a:moveTo>
                    <a:pt x="74216" y="496058"/>
                  </a:moveTo>
                  <a:cubicBezTo>
                    <a:pt x="74216" y="471838"/>
                    <a:pt x="93850" y="452203"/>
                    <a:pt x="118070" y="452203"/>
                  </a:cubicBezTo>
                  <a:cubicBezTo>
                    <a:pt x="142291" y="452203"/>
                    <a:pt x="161925" y="471838"/>
                    <a:pt x="161925" y="496058"/>
                  </a:cubicBezTo>
                  <a:cubicBezTo>
                    <a:pt x="161925" y="520278"/>
                    <a:pt x="142291" y="539913"/>
                    <a:pt x="118070" y="539913"/>
                  </a:cubicBezTo>
                  <a:cubicBezTo>
                    <a:pt x="93862" y="539885"/>
                    <a:pt x="74244" y="520267"/>
                    <a:pt x="74216" y="496058"/>
                  </a:cubicBezTo>
                  <a:close/>
                  <a:moveTo>
                    <a:pt x="333970" y="452203"/>
                  </a:moveTo>
                  <a:cubicBezTo>
                    <a:pt x="358191" y="452203"/>
                    <a:pt x="377825" y="471838"/>
                    <a:pt x="377825" y="496058"/>
                  </a:cubicBezTo>
                  <a:cubicBezTo>
                    <a:pt x="377825" y="520278"/>
                    <a:pt x="358191" y="539913"/>
                    <a:pt x="333970" y="539913"/>
                  </a:cubicBezTo>
                  <a:cubicBezTo>
                    <a:pt x="309750" y="539913"/>
                    <a:pt x="290116" y="520278"/>
                    <a:pt x="290116" y="496058"/>
                  </a:cubicBezTo>
                  <a:cubicBezTo>
                    <a:pt x="290144" y="471849"/>
                    <a:pt x="309762" y="452231"/>
                    <a:pt x="333970" y="452203"/>
                  </a:cubicBezTo>
                  <a:close/>
                  <a:moveTo>
                    <a:pt x="549870" y="539913"/>
                  </a:moveTo>
                  <a:cubicBezTo>
                    <a:pt x="525650" y="539913"/>
                    <a:pt x="506016" y="520278"/>
                    <a:pt x="506016" y="496058"/>
                  </a:cubicBezTo>
                  <a:cubicBezTo>
                    <a:pt x="506016" y="471838"/>
                    <a:pt x="525650" y="452203"/>
                    <a:pt x="549870" y="452203"/>
                  </a:cubicBezTo>
                  <a:cubicBezTo>
                    <a:pt x="574091" y="452203"/>
                    <a:pt x="593725" y="471838"/>
                    <a:pt x="593725" y="496058"/>
                  </a:cubicBezTo>
                  <a:cubicBezTo>
                    <a:pt x="593697" y="520267"/>
                    <a:pt x="574079" y="539885"/>
                    <a:pt x="549870" y="539913"/>
                  </a:cubicBezTo>
                  <a:close/>
                  <a:moveTo>
                    <a:pt x="539750" y="398228"/>
                  </a:moveTo>
                  <a:lnTo>
                    <a:pt x="539750" y="432987"/>
                  </a:lnTo>
                  <a:cubicBezTo>
                    <a:pt x="504997" y="438340"/>
                    <a:pt x="481164" y="470852"/>
                    <a:pt x="486517" y="505606"/>
                  </a:cubicBezTo>
                  <a:cubicBezTo>
                    <a:pt x="489033" y="521936"/>
                    <a:pt x="497798" y="536649"/>
                    <a:pt x="510962" y="546636"/>
                  </a:cubicBezTo>
                  <a:cubicBezTo>
                    <a:pt x="480155" y="557461"/>
                    <a:pt x="455177" y="580513"/>
                    <a:pt x="441920" y="610354"/>
                  </a:cubicBezTo>
                  <a:cubicBezTo>
                    <a:pt x="428663" y="580513"/>
                    <a:pt x="403685" y="557461"/>
                    <a:pt x="372878" y="546636"/>
                  </a:cubicBezTo>
                  <a:cubicBezTo>
                    <a:pt x="400892" y="525385"/>
                    <a:pt x="406374" y="485447"/>
                    <a:pt x="385122" y="457433"/>
                  </a:cubicBezTo>
                  <a:cubicBezTo>
                    <a:pt x="375135" y="444268"/>
                    <a:pt x="360422" y="435502"/>
                    <a:pt x="344091" y="432987"/>
                  </a:cubicBezTo>
                  <a:lnTo>
                    <a:pt x="344091" y="398228"/>
                  </a:lnTo>
                  <a:close/>
                  <a:moveTo>
                    <a:pt x="128191" y="398228"/>
                  </a:moveTo>
                  <a:lnTo>
                    <a:pt x="323850" y="398228"/>
                  </a:lnTo>
                  <a:lnTo>
                    <a:pt x="323850" y="432987"/>
                  </a:lnTo>
                  <a:cubicBezTo>
                    <a:pt x="289097" y="438340"/>
                    <a:pt x="265264" y="470852"/>
                    <a:pt x="270617" y="505606"/>
                  </a:cubicBezTo>
                  <a:cubicBezTo>
                    <a:pt x="273133" y="521936"/>
                    <a:pt x="281898" y="536649"/>
                    <a:pt x="295062" y="546636"/>
                  </a:cubicBezTo>
                  <a:cubicBezTo>
                    <a:pt x="264255" y="557461"/>
                    <a:pt x="239277" y="580513"/>
                    <a:pt x="226020" y="610354"/>
                  </a:cubicBezTo>
                  <a:cubicBezTo>
                    <a:pt x="212763" y="580513"/>
                    <a:pt x="187785" y="557461"/>
                    <a:pt x="156979" y="546636"/>
                  </a:cubicBezTo>
                  <a:cubicBezTo>
                    <a:pt x="184993" y="525385"/>
                    <a:pt x="190474" y="485447"/>
                    <a:pt x="169222" y="457433"/>
                  </a:cubicBezTo>
                  <a:cubicBezTo>
                    <a:pt x="159235" y="444268"/>
                    <a:pt x="144522" y="435502"/>
                    <a:pt x="128191" y="432987"/>
                  </a:cubicBezTo>
                  <a:close/>
                </a:path>
              </a:pathLst>
            </a:custGeom>
            <a:solidFill>
              <a:schemeClr val="bg1"/>
            </a:solidFill>
            <a:ln w="1339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62" name="Group 61">
            <a:extLst>
              <a:ext uri="{FF2B5EF4-FFF2-40B4-BE49-F238E27FC236}">
                <a16:creationId xmlns:a16="http://schemas.microsoft.com/office/drawing/2014/main" id="{C2888373-C556-C0F3-D759-3CD16CE183BE}"/>
              </a:ext>
            </a:extLst>
          </p:cNvPr>
          <p:cNvGrpSpPr/>
          <p:nvPr/>
        </p:nvGrpSpPr>
        <p:grpSpPr>
          <a:xfrm>
            <a:off x="732912" y="4996676"/>
            <a:ext cx="833755" cy="833755"/>
            <a:chOff x="732912" y="4996676"/>
            <a:chExt cx="833755" cy="833755"/>
          </a:xfrm>
        </p:grpSpPr>
        <p:sp>
          <p:nvSpPr>
            <p:cNvPr id="24" name="Oval 23">
              <a:extLst>
                <a:ext uri="{FF2B5EF4-FFF2-40B4-BE49-F238E27FC236}">
                  <a16:creationId xmlns:a16="http://schemas.microsoft.com/office/drawing/2014/main" id="{5B9C7C30-B233-4C64-3D98-47E45C9016B5}"/>
                </a:ext>
              </a:extLst>
            </p:cNvPr>
            <p:cNvSpPr>
              <a:spLocks noChangeAspect="1"/>
            </p:cNvSpPr>
            <p:nvPr/>
          </p:nvSpPr>
          <p:spPr>
            <a:xfrm>
              <a:off x="732912" y="4996676"/>
              <a:ext cx="833755" cy="833755"/>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Moderat" panose="020B0604020202020204"/>
              </a:endParaRPr>
            </a:p>
          </p:txBody>
        </p:sp>
        <p:grpSp>
          <p:nvGrpSpPr>
            <p:cNvPr id="32" name="Group 31">
              <a:extLst>
                <a:ext uri="{FF2B5EF4-FFF2-40B4-BE49-F238E27FC236}">
                  <a16:creationId xmlns:a16="http://schemas.microsoft.com/office/drawing/2014/main" id="{EF76D9F8-ADCA-FA51-E069-18F9344661E0}"/>
                </a:ext>
              </a:extLst>
            </p:cNvPr>
            <p:cNvGrpSpPr>
              <a:grpSpLocks noChangeAspect="1"/>
            </p:cNvGrpSpPr>
            <p:nvPr/>
          </p:nvGrpSpPr>
          <p:grpSpPr>
            <a:xfrm>
              <a:off x="958279" y="5170150"/>
              <a:ext cx="346077" cy="486808"/>
              <a:chOff x="8022292" y="4152131"/>
              <a:chExt cx="506691" cy="712736"/>
            </a:xfrm>
            <a:solidFill>
              <a:schemeClr val="bg1"/>
            </a:solidFill>
          </p:grpSpPr>
          <p:sp>
            <p:nvSpPr>
              <p:cNvPr id="33" name="Freeform: Shape 32">
                <a:extLst>
                  <a:ext uri="{FF2B5EF4-FFF2-40B4-BE49-F238E27FC236}">
                    <a16:creationId xmlns:a16="http://schemas.microsoft.com/office/drawing/2014/main" id="{5B5DC65F-B051-727C-DB85-16B36D064CC9}"/>
                  </a:ext>
                </a:extLst>
              </p:cNvPr>
              <p:cNvSpPr/>
              <p:nvPr/>
            </p:nvSpPr>
            <p:spPr>
              <a:xfrm>
                <a:off x="8022292" y="4152131"/>
                <a:ext cx="506691" cy="712736"/>
              </a:xfrm>
              <a:custGeom>
                <a:avLst/>
                <a:gdLst>
                  <a:gd name="csX0" fmla="*/ 494309 w 506691"/>
                  <a:gd name="csY0" fmla="*/ 0 h 712736"/>
                  <a:gd name="csX1" fmla="*/ 149993 w 506691"/>
                  <a:gd name="csY1" fmla="*/ 0 h 712736"/>
                  <a:gd name="csX2" fmla="*/ 137776 w 506691"/>
                  <a:gd name="csY2" fmla="*/ 12383 h 712736"/>
                  <a:gd name="csX3" fmla="*/ 137776 w 506691"/>
                  <a:gd name="csY3" fmla="*/ 275139 h 712736"/>
                  <a:gd name="csX4" fmla="*/ 12383 w 506691"/>
                  <a:gd name="csY4" fmla="*/ 275139 h 712736"/>
                  <a:gd name="csX5" fmla="*/ 0 w 506691"/>
                  <a:gd name="csY5" fmla="*/ 287522 h 712736"/>
                  <a:gd name="csX6" fmla="*/ 0 w 506691"/>
                  <a:gd name="csY6" fmla="*/ 631508 h 712736"/>
                  <a:gd name="csX7" fmla="*/ 81064 w 506691"/>
                  <a:gd name="csY7" fmla="*/ 712737 h 712736"/>
                  <a:gd name="csX8" fmla="*/ 81229 w 506691"/>
                  <a:gd name="csY8" fmla="*/ 712737 h 712736"/>
                  <a:gd name="csX9" fmla="*/ 424885 w 506691"/>
                  <a:gd name="csY9" fmla="*/ 712737 h 712736"/>
                  <a:gd name="csX10" fmla="*/ 506692 w 506691"/>
                  <a:gd name="csY10" fmla="*/ 631012 h 712736"/>
                  <a:gd name="csX11" fmla="*/ 506692 w 506691"/>
                  <a:gd name="csY11" fmla="*/ 12383 h 712736"/>
                  <a:gd name="csX12" fmla="*/ 494309 w 506691"/>
                  <a:gd name="csY12" fmla="*/ 0 h 712736"/>
                  <a:gd name="csX13" fmla="*/ 137776 w 506691"/>
                  <a:gd name="csY13" fmla="*/ 631508 h 712736"/>
                  <a:gd name="csX14" fmla="*/ 81477 w 506691"/>
                  <a:gd name="csY14" fmla="*/ 687972 h 712736"/>
                  <a:gd name="csX15" fmla="*/ 81394 w 506691"/>
                  <a:gd name="csY15" fmla="*/ 687972 h 712736"/>
                  <a:gd name="csX16" fmla="*/ 24930 w 506691"/>
                  <a:gd name="csY16" fmla="*/ 631673 h 712736"/>
                  <a:gd name="csX17" fmla="*/ 24930 w 506691"/>
                  <a:gd name="csY17" fmla="*/ 631508 h 712736"/>
                  <a:gd name="csX18" fmla="*/ 24930 w 506691"/>
                  <a:gd name="csY18" fmla="*/ 299904 h 712736"/>
                  <a:gd name="csX19" fmla="*/ 69012 w 506691"/>
                  <a:gd name="csY19" fmla="*/ 299904 h 712736"/>
                  <a:gd name="csX20" fmla="*/ 69012 w 506691"/>
                  <a:gd name="csY20" fmla="*/ 631508 h 712736"/>
                  <a:gd name="csX21" fmla="*/ 81394 w 506691"/>
                  <a:gd name="csY21" fmla="*/ 643890 h 712736"/>
                  <a:gd name="csX22" fmla="*/ 93777 w 506691"/>
                  <a:gd name="csY22" fmla="*/ 631508 h 712736"/>
                  <a:gd name="csX23" fmla="*/ 93777 w 506691"/>
                  <a:gd name="csY23" fmla="*/ 299904 h 712736"/>
                  <a:gd name="csX24" fmla="*/ 137776 w 506691"/>
                  <a:gd name="csY24" fmla="*/ 299904 h 712736"/>
                  <a:gd name="csX25" fmla="*/ 425050 w 506691"/>
                  <a:gd name="csY25" fmla="*/ 687972 h 712736"/>
                  <a:gd name="csX26" fmla="*/ 139510 w 506691"/>
                  <a:gd name="csY26" fmla="*/ 687972 h 712736"/>
                  <a:gd name="csX27" fmla="*/ 162541 w 506691"/>
                  <a:gd name="csY27" fmla="*/ 631508 h 712736"/>
                  <a:gd name="csX28" fmla="*/ 162541 w 506691"/>
                  <a:gd name="csY28" fmla="*/ 24765 h 712736"/>
                  <a:gd name="csX29" fmla="*/ 481927 w 506691"/>
                  <a:gd name="csY29" fmla="*/ 24765 h 712736"/>
                  <a:gd name="csX30" fmla="*/ 481927 w 506691"/>
                  <a:gd name="csY30" fmla="*/ 631012 h 712736"/>
                  <a:gd name="csX31" fmla="*/ 424885 w 506691"/>
                  <a:gd name="csY31" fmla="*/ 687972 h 71273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Lst>
                <a:rect l="l" t="t" r="r" b="b"/>
                <a:pathLst>
                  <a:path w="506691" h="712736">
                    <a:moveTo>
                      <a:pt x="494309" y="0"/>
                    </a:moveTo>
                    <a:lnTo>
                      <a:pt x="149993" y="0"/>
                    </a:lnTo>
                    <a:cubicBezTo>
                      <a:pt x="143219" y="90"/>
                      <a:pt x="137775" y="5608"/>
                      <a:pt x="137776" y="12383"/>
                    </a:cubicBezTo>
                    <a:lnTo>
                      <a:pt x="137776" y="275139"/>
                    </a:lnTo>
                    <a:lnTo>
                      <a:pt x="12383" y="275139"/>
                    </a:lnTo>
                    <a:cubicBezTo>
                      <a:pt x="5563" y="275184"/>
                      <a:pt x="45" y="280702"/>
                      <a:pt x="0" y="287522"/>
                    </a:cubicBezTo>
                    <a:lnTo>
                      <a:pt x="0" y="631508"/>
                    </a:lnTo>
                    <a:cubicBezTo>
                      <a:pt x="-46" y="676324"/>
                      <a:pt x="36248" y="712691"/>
                      <a:pt x="81064" y="712737"/>
                    </a:cubicBezTo>
                    <a:cubicBezTo>
                      <a:pt x="81119" y="712737"/>
                      <a:pt x="81174" y="712737"/>
                      <a:pt x="81229" y="712737"/>
                    </a:cubicBezTo>
                    <a:lnTo>
                      <a:pt x="424885" y="712737"/>
                    </a:lnTo>
                    <a:cubicBezTo>
                      <a:pt x="470015" y="712691"/>
                      <a:pt x="506601" y="676142"/>
                      <a:pt x="506692" y="631012"/>
                    </a:cubicBezTo>
                    <a:lnTo>
                      <a:pt x="506692" y="12383"/>
                    </a:lnTo>
                    <a:cubicBezTo>
                      <a:pt x="506692" y="5544"/>
                      <a:pt x="501148" y="0"/>
                      <a:pt x="494309" y="0"/>
                    </a:cubicBezTo>
                    <a:close/>
                    <a:moveTo>
                      <a:pt x="137776" y="631508"/>
                    </a:moveTo>
                    <a:cubicBezTo>
                      <a:pt x="137822" y="662646"/>
                      <a:pt x="112616" y="687926"/>
                      <a:pt x="81477" y="687972"/>
                    </a:cubicBezTo>
                    <a:cubicBezTo>
                      <a:pt x="81449" y="687972"/>
                      <a:pt x="81422" y="687972"/>
                      <a:pt x="81394" y="687972"/>
                    </a:cubicBezTo>
                    <a:cubicBezTo>
                      <a:pt x="50256" y="688017"/>
                      <a:pt x="24976" y="662812"/>
                      <a:pt x="24930" y="631673"/>
                    </a:cubicBezTo>
                    <a:cubicBezTo>
                      <a:pt x="24930" y="631618"/>
                      <a:pt x="24930" y="631563"/>
                      <a:pt x="24930" y="631508"/>
                    </a:cubicBezTo>
                    <a:lnTo>
                      <a:pt x="24930" y="299904"/>
                    </a:lnTo>
                    <a:lnTo>
                      <a:pt x="69012" y="299904"/>
                    </a:lnTo>
                    <a:lnTo>
                      <a:pt x="69012" y="631508"/>
                    </a:lnTo>
                    <a:cubicBezTo>
                      <a:pt x="69012" y="638346"/>
                      <a:pt x="74556" y="643890"/>
                      <a:pt x="81394" y="643890"/>
                    </a:cubicBezTo>
                    <a:cubicBezTo>
                      <a:pt x="88233" y="643890"/>
                      <a:pt x="93777" y="638346"/>
                      <a:pt x="93777" y="631508"/>
                    </a:cubicBezTo>
                    <a:lnTo>
                      <a:pt x="93777" y="299904"/>
                    </a:lnTo>
                    <a:lnTo>
                      <a:pt x="137776" y="299904"/>
                    </a:lnTo>
                    <a:close/>
                    <a:moveTo>
                      <a:pt x="425050" y="687972"/>
                    </a:moveTo>
                    <a:lnTo>
                      <a:pt x="139510" y="687972"/>
                    </a:lnTo>
                    <a:cubicBezTo>
                      <a:pt x="154303" y="672905"/>
                      <a:pt x="162576" y="652623"/>
                      <a:pt x="162541" y="631508"/>
                    </a:cubicBezTo>
                    <a:lnTo>
                      <a:pt x="162541" y="24765"/>
                    </a:lnTo>
                    <a:lnTo>
                      <a:pt x="481927" y="24765"/>
                    </a:lnTo>
                    <a:lnTo>
                      <a:pt x="481927" y="631012"/>
                    </a:lnTo>
                    <a:cubicBezTo>
                      <a:pt x="481836" y="662465"/>
                      <a:pt x="456337" y="687926"/>
                      <a:pt x="424885" y="687972"/>
                    </a:cubicBezTo>
                    <a:close/>
                  </a:path>
                </a:pathLst>
              </a:custGeom>
              <a:grpFill/>
              <a:ln w="819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4" name="Freeform: Shape 33">
                <a:extLst>
                  <a:ext uri="{FF2B5EF4-FFF2-40B4-BE49-F238E27FC236}">
                    <a16:creationId xmlns:a16="http://schemas.microsoft.com/office/drawing/2014/main" id="{A917AD05-D49B-95DB-BB73-60CC78976856}"/>
                  </a:ext>
                </a:extLst>
              </p:cNvPr>
              <p:cNvSpPr/>
              <p:nvPr/>
            </p:nvSpPr>
            <p:spPr>
              <a:xfrm>
                <a:off x="8366277" y="4427353"/>
                <a:ext cx="93611" cy="24765"/>
              </a:xfrm>
              <a:custGeom>
                <a:avLst/>
                <a:gdLst>
                  <a:gd name="csX0" fmla="*/ 81229 w 93611"/>
                  <a:gd name="csY0" fmla="*/ 0 h 24765"/>
                  <a:gd name="csX1" fmla="*/ 12383 w 93611"/>
                  <a:gd name="csY1" fmla="*/ 0 h 24765"/>
                  <a:gd name="csX2" fmla="*/ 0 w 93611"/>
                  <a:gd name="csY2" fmla="*/ 12383 h 24765"/>
                  <a:gd name="csX3" fmla="*/ 12383 w 93611"/>
                  <a:gd name="csY3" fmla="*/ 24765 h 24765"/>
                  <a:gd name="csX4" fmla="*/ 81229 w 93611"/>
                  <a:gd name="csY4" fmla="*/ 24765 h 24765"/>
                  <a:gd name="csX5" fmla="*/ 93612 w 93611"/>
                  <a:gd name="csY5" fmla="*/ 12383 h 24765"/>
                  <a:gd name="csX6" fmla="*/ 81229 w 93611"/>
                  <a:gd name="csY6" fmla="*/ 0 h 24765"/>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93611" h="24765">
                    <a:moveTo>
                      <a:pt x="81229" y="0"/>
                    </a:moveTo>
                    <a:lnTo>
                      <a:pt x="12383" y="0"/>
                    </a:lnTo>
                    <a:cubicBezTo>
                      <a:pt x="5544" y="0"/>
                      <a:pt x="0" y="5544"/>
                      <a:pt x="0" y="12383"/>
                    </a:cubicBezTo>
                    <a:cubicBezTo>
                      <a:pt x="0" y="19221"/>
                      <a:pt x="5544" y="24765"/>
                      <a:pt x="12383" y="24765"/>
                    </a:cubicBezTo>
                    <a:lnTo>
                      <a:pt x="81229" y="24765"/>
                    </a:lnTo>
                    <a:cubicBezTo>
                      <a:pt x="88068" y="24765"/>
                      <a:pt x="93612" y="19221"/>
                      <a:pt x="93612" y="12383"/>
                    </a:cubicBezTo>
                    <a:cubicBezTo>
                      <a:pt x="93612" y="5544"/>
                      <a:pt x="88068" y="0"/>
                      <a:pt x="81229" y="0"/>
                    </a:cubicBezTo>
                    <a:close/>
                  </a:path>
                </a:pathLst>
              </a:custGeom>
              <a:grpFill/>
              <a:ln w="819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5" name="Freeform: Shape 34">
                <a:extLst>
                  <a:ext uri="{FF2B5EF4-FFF2-40B4-BE49-F238E27FC236}">
                    <a16:creationId xmlns:a16="http://schemas.microsoft.com/office/drawing/2014/main" id="{E6B8FDB7-3F34-7732-D7D0-79A32D11AEDB}"/>
                  </a:ext>
                </a:extLst>
              </p:cNvPr>
              <p:cNvSpPr/>
              <p:nvPr/>
            </p:nvSpPr>
            <p:spPr>
              <a:xfrm>
                <a:off x="8366277" y="4496117"/>
                <a:ext cx="93611" cy="24765"/>
              </a:xfrm>
              <a:custGeom>
                <a:avLst/>
                <a:gdLst>
                  <a:gd name="csX0" fmla="*/ 81229 w 93611"/>
                  <a:gd name="csY0" fmla="*/ 0 h 24765"/>
                  <a:gd name="csX1" fmla="*/ 12383 w 93611"/>
                  <a:gd name="csY1" fmla="*/ 0 h 24765"/>
                  <a:gd name="csX2" fmla="*/ 0 w 93611"/>
                  <a:gd name="csY2" fmla="*/ 12383 h 24765"/>
                  <a:gd name="csX3" fmla="*/ 12383 w 93611"/>
                  <a:gd name="csY3" fmla="*/ 24765 h 24765"/>
                  <a:gd name="csX4" fmla="*/ 81229 w 93611"/>
                  <a:gd name="csY4" fmla="*/ 24765 h 24765"/>
                  <a:gd name="csX5" fmla="*/ 93612 w 93611"/>
                  <a:gd name="csY5" fmla="*/ 12383 h 24765"/>
                  <a:gd name="csX6" fmla="*/ 81229 w 93611"/>
                  <a:gd name="csY6" fmla="*/ 0 h 24765"/>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93611" h="24765">
                    <a:moveTo>
                      <a:pt x="81229" y="0"/>
                    </a:moveTo>
                    <a:lnTo>
                      <a:pt x="12383" y="0"/>
                    </a:lnTo>
                    <a:cubicBezTo>
                      <a:pt x="5544" y="0"/>
                      <a:pt x="0" y="5544"/>
                      <a:pt x="0" y="12383"/>
                    </a:cubicBezTo>
                    <a:cubicBezTo>
                      <a:pt x="0" y="19221"/>
                      <a:pt x="5544" y="24765"/>
                      <a:pt x="12383" y="24765"/>
                    </a:cubicBezTo>
                    <a:lnTo>
                      <a:pt x="81229" y="24765"/>
                    </a:lnTo>
                    <a:cubicBezTo>
                      <a:pt x="88068" y="24765"/>
                      <a:pt x="93612" y="19221"/>
                      <a:pt x="93612" y="12383"/>
                    </a:cubicBezTo>
                    <a:cubicBezTo>
                      <a:pt x="93612" y="5544"/>
                      <a:pt x="88068" y="0"/>
                      <a:pt x="81229" y="0"/>
                    </a:cubicBezTo>
                    <a:close/>
                  </a:path>
                </a:pathLst>
              </a:custGeom>
              <a:grpFill/>
              <a:ln w="819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6" name="Freeform: Shape 35">
                <a:extLst>
                  <a:ext uri="{FF2B5EF4-FFF2-40B4-BE49-F238E27FC236}">
                    <a16:creationId xmlns:a16="http://schemas.microsoft.com/office/drawing/2014/main" id="{F6ED9821-70FA-21BA-6A79-2F025B3594CC}"/>
                  </a:ext>
                </a:extLst>
              </p:cNvPr>
              <p:cNvSpPr/>
              <p:nvPr/>
            </p:nvSpPr>
            <p:spPr>
              <a:xfrm>
                <a:off x="8366277" y="4564881"/>
                <a:ext cx="93611" cy="24765"/>
              </a:xfrm>
              <a:custGeom>
                <a:avLst/>
                <a:gdLst>
                  <a:gd name="csX0" fmla="*/ 81229 w 93611"/>
                  <a:gd name="csY0" fmla="*/ 0 h 24765"/>
                  <a:gd name="csX1" fmla="*/ 12383 w 93611"/>
                  <a:gd name="csY1" fmla="*/ 0 h 24765"/>
                  <a:gd name="csX2" fmla="*/ 0 w 93611"/>
                  <a:gd name="csY2" fmla="*/ 12383 h 24765"/>
                  <a:gd name="csX3" fmla="*/ 12383 w 93611"/>
                  <a:gd name="csY3" fmla="*/ 24765 h 24765"/>
                  <a:gd name="csX4" fmla="*/ 81229 w 93611"/>
                  <a:gd name="csY4" fmla="*/ 24765 h 24765"/>
                  <a:gd name="csX5" fmla="*/ 93612 w 93611"/>
                  <a:gd name="csY5" fmla="*/ 12383 h 24765"/>
                  <a:gd name="csX6" fmla="*/ 81229 w 93611"/>
                  <a:gd name="csY6" fmla="*/ 0 h 24765"/>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93611" h="24765">
                    <a:moveTo>
                      <a:pt x="81229" y="0"/>
                    </a:moveTo>
                    <a:lnTo>
                      <a:pt x="12383" y="0"/>
                    </a:lnTo>
                    <a:cubicBezTo>
                      <a:pt x="5544" y="0"/>
                      <a:pt x="0" y="5544"/>
                      <a:pt x="0" y="12383"/>
                    </a:cubicBezTo>
                    <a:cubicBezTo>
                      <a:pt x="0" y="19221"/>
                      <a:pt x="5544" y="24765"/>
                      <a:pt x="12383" y="24765"/>
                    </a:cubicBezTo>
                    <a:lnTo>
                      <a:pt x="81229" y="24765"/>
                    </a:lnTo>
                    <a:cubicBezTo>
                      <a:pt x="88068" y="24765"/>
                      <a:pt x="93612" y="19221"/>
                      <a:pt x="93612" y="12383"/>
                    </a:cubicBezTo>
                    <a:cubicBezTo>
                      <a:pt x="93612" y="5544"/>
                      <a:pt x="88068" y="0"/>
                      <a:pt x="81229" y="0"/>
                    </a:cubicBezTo>
                    <a:close/>
                  </a:path>
                </a:pathLst>
              </a:custGeom>
              <a:grpFill/>
              <a:ln w="819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7" name="Freeform: Shape 36">
                <a:extLst>
                  <a:ext uri="{FF2B5EF4-FFF2-40B4-BE49-F238E27FC236}">
                    <a16:creationId xmlns:a16="http://schemas.microsoft.com/office/drawing/2014/main" id="{0D033F8E-C6C4-A196-82F3-DA640516545B}"/>
                  </a:ext>
                </a:extLst>
              </p:cNvPr>
              <p:cNvSpPr/>
              <p:nvPr/>
            </p:nvSpPr>
            <p:spPr>
              <a:xfrm>
                <a:off x="8366277" y="4633728"/>
                <a:ext cx="93611" cy="24765"/>
              </a:xfrm>
              <a:custGeom>
                <a:avLst/>
                <a:gdLst>
                  <a:gd name="csX0" fmla="*/ 81229 w 93611"/>
                  <a:gd name="csY0" fmla="*/ 0 h 24765"/>
                  <a:gd name="csX1" fmla="*/ 12383 w 93611"/>
                  <a:gd name="csY1" fmla="*/ 0 h 24765"/>
                  <a:gd name="csX2" fmla="*/ 0 w 93611"/>
                  <a:gd name="csY2" fmla="*/ 12383 h 24765"/>
                  <a:gd name="csX3" fmla="*/ 12383 w 93611"/>
                  <a:gd name="csY3" fmla="*/ 24765 h 24765"/>
                  <a:gd name="csX4" fmla="*/ 81229 w 93611"/>
                  <a:gd name="csY4" fmla="*/ 24765 h 24765"/>
                  <a:gd name="csX5" fmla="*/ 93612 w 93611"/>
                  <a:gd name="csY5" fmla="*/ 12383 h 24765"/>
                  <a:gd name="csX6" fmla="*/ 81229 w 93611"/>
                  <a:gd name="csY6" fmla="*/ 0 h 24765"/>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93611" h="24765">
                    <a:moveTo>
                      <a:pt x="81229" y="0"/>
                    </a:moveTo>
                    <a:lnTo>
                      <a:pt x="12383" y="0"/>
                    </a:lnTo>
                    <a:cubicBezTo>
                      <a:pt x="5544" y="0"/>
                      <a:pt x="0" y="5544"/>
                      <a:pt x="0" y="12383"/>
                    </a:cubicBezTo>
                    <a:cubicBezTo>
                      <a:pt x="0" y="19221"/>
                      <a:pt x="5544" y="24765"/>
                      <a:pt x="12383" y="24765"/>
                    </a:cubicBezTo>
                    <a:lnTo>
                      <a:pt x="81229" y="24765"/>
                    </a:lnTo>
                    <a:cubicBezTo>
                      <a:pt x="88068" y="24765"/>
                      <a:pt x="93612" y="19221"/>
                      <a:pt x="93612" y="12383"/>
                    </a:cubicBezTo>
                    <a:cubicBezTo>
                      <a:pt x="93612" y="5544"/>
                      <a:pt x="88068" y="0"/>
                      <a:pt x="81229" y="0"/>
                    </a:cubicBezTo>
                    <a:close/>
                  </a:path>
                </a:pathLst>
              </a:custGeom>
              <a:grpFill/>
              <a:ln w="819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8" name="Freeform: Shape 37">
                <a:extLst>
                  <a:ext uri="{FF2B5EF4-FFF2-40B4-BE49-F238E27FC236}">
                    <a16:creationId xmlns:a16="http://schemas.microsoft.com/office/drawing/2014/main" id="{04000B31-2D3D-EB7F-E9CC-E5D5C66C4173}"/>
                  </a:ext>
                </a:extLst>
              </p:cNvPr>
              <p:cNvSpPr/>
              <p:nvPr/>
            </p:nvSpPr>
            <p:spPr>
              <a:xfrm>
                <a:off x="8366277" y="4702492"/>
                <a:ext cx="93611" cy="24765"/>
              </a:xfrm>
              <a:custGeom>
                <a:avLst/>
                <a:gdLst>
                  <a:gd name="csX0" fmla="*/ 81229 w 93611"/>
                  <a:gd name="csY0" fmla="*/ 0 h 24765"/>
                  <a:gd name="csX1" fmla="*/ 12383 w 93611"/>
                  <a:gd name="csY1" fmla="*/ 0 h 24765"/>
                  <a:gd name="csX2" fmla="*/ 0 w 93611"/>
                  <a:gd name="csY2" fmla="*/ 12383 h 24765"/>
                  <a:gd name="csX3" fmla="*/ 12383 w 93611"/>
                  <a:gd name="csY3" fmla="*/ 24765 h 24765"/>
                  <a:gd name="csX4" fmla="*/ 81229 w 93611"/>
                  <a:gd name="csY4" fmla="*/ 24765 h 24765"/>
                  <a:gd name="csX5" fmla="*/ 93612 w 93611"/>
                  <a:gd name="csY5" fmla="*/ 12383 h 24765"/>
                  <a:gd name="csX6" fmla="*/ 81229 w 93611"/>
                  <a:gd name="csY6" fmla="*/ 0 h 24765"/>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93611" h="24765">
                    <a:moveTo>
                      <a:pt x="81229" y="0"/>
                    </a:moveTo>
                    <a:lnTo>
                      <a:pt x="12383" y="0"/>
                    </a:lnTo>
                    <a:cubicBezTo>
                      <a:pt x="5544" y="0"/>
                      <a:pt x="0" y="5544"/>
                      <a:pt x="0" y="12383"/>
                    </a:cubicBezTo>
                    <a:cubicBezTo>
                      <a:pt x="0" y="19221"/>
                      <a:pt x="5544" y="24765"/>
                      <a:pt x="12383" y="24765"/>
                    </a:cubicBezTo>
                    <a:lnTo>
                      <a:pt x="81229" y="24765"/>
                    </a:lnTo>
                    <a:cubicBezTo>
                      <a:pt x="88068" y="24765"/>
                      <a:pt x="93612" y="19221"/>
                      <a:pt x="93612" y="12383"/>
                    </a:cubicBezTo>
                    <a:cubicBezTo>
                      <a:pt x="93612" y="5544"/>
                      <a:pt x="88068" y="0"/>
                      <a:pt x="81229" y="0"/>
                    </a:cubicBezTo>
                    <a:close/>
                  </a:path>
                </a:pathLst>
              </a:custGeom>
              <a:grpFill/>
              <a:ln w="819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9" name="Freeform: Shape 38">
                <a:extLst>
                  <a:ext uri="{FF2B5EF4-FFF2-40B4-BE49-F238E27FC236}">
                    <a16:creationId xmlns:a16="http://schemas.microsoft.com/office/drawing/2014/main" id="{BF1B26B0-E5A1-0B47-5F9A-7FBF06CFEEB6}"/>
                  </a:ext>
                </a:extLst>
              </p:cNvPr>
              <p:cNvSpPr/>
              <p:nvPr/>
            </p:nvSpPr>
            <p:spPr>
              <a:xfrm>
                <a:off x="8366277" y="4771256"/>
                <a:ext cx="93611" cy="24765"/>
              </a:xfrm>
              <a:custGeom>
                <a:avLst/>
                <a:gdLst>
                  <a:gd name="csX0" fmla="*/ 81229 w 93611"/>
                  <a:gd name="csY0" fmla="*/ 0 h 24765"/>
                  <a:gd name="csX1" fmla="*/ 12383 w 93611"/>
                  <a:gd name="csY1" fmla="*/ 0 h 24765"/>
                  <a:gd name="csX2" fmla="*/ 0 w 93611"/>
                  <a:gd name="csY2" fmla="*/ 12383 h 24765"/>
                  <a:gd name="csX3" fmla="*/ 12383 w 93611"/>
                  <a:gd name="csY3" fmla="*/ 24765 h 24765"/>
                  <a:gd name="csX4" fmla="*/ 81229 w 93611"/>
                  <a:gd name="csY4" fmla="*/ 24765 h 24765"/>
                  <a:gd name="csX5" fmla="*/ 93612 w 93611"/>
                  <a:gd name="csY5" fmla="*/ 12383 h 24765"/>
                  <a:gd name="csX6" fmla="*/ 81229 w 93611"/>
                  <a:gd name="csY6" fmla="*/ 0 h 24765"/>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93611" h="24765">
                    <a:moveTo>
                      <a:pt x="81229" y="0"/>
                    </a:moveTo>
                    <a:lnTo>
                      <a:pt x="12383" y="0"/>
                    </a:lnTo>
                    <a:cubicBezTo>
                      <a:pt x="5544" y="0"/>
                      <a:pt x="0" y="5544"/>
                      <a:pt x="0" y="12383"/>
                    </a:cubicBezTo>
                    <a:cubicBezTo>
                      <a:pt x="0" y="19221"/>
                      <a:pt x="5544" y="24765"/>
                      <a:pt x="12383" y="24765"/>
                    </a:cubicBezTo>
                    <a:lnTo>
                      <a:pt x="81229" y="24765"/>
                    </a:lnTo>
                    <a:cubicBezTo>
                      <a:pt x="88068" y="24765"/>
                      <a:pt x="93612" y="19221"/>
                      <a:pt x="93612" y="12383"/>
                    </a:cubicBezTo>
                    <a:cubicBezTo>
                      <a:pt x="93612" y="5544"/>
                      <a:pt x="88068" y="0"/>
                      <a:pt x="81229" y="0"/>
                    </a:cubicBezTo>
                    <a:close/>
                  </a:path>
                </a:pathLst>
              </a:custGeom>
              <a:grpFill/>
              <a:ln w="819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0" name="Freeform: Shape 39">
                <a:extLst>
                  <a:ext uri="{FF2B5EF4-FFF2-40B4-BE49-F238E27FC236}">
                    <a16:creationId xmlns:a16="http://schemas.microsoft.com/office/drawing/2014/main" id="{C7EA9D5A-2B41-E3FE-62A0-95FB447A0519}"/>
                  </a:ext>
                </a:extLst>
              </p:cNvPr>
              <p:cNvSpPr/>
              <p:nvPr/>
            </p:nvSpPr>
            <p:spPr>
              <a:xfrm>
                <a:off x="8263309" y="4221291"/>
                <a:ext cx="162446" cy="155053"/>
              </a:xfrm>
              <a:custGeom>
                <a:avLst/>
                <a:gdLst>
                  <a:gd name="csX0" fmla="*/ 130953 w 162446"/>
                  <a:gd name="csY0" fmla="*/ 152899 h 155053"/>
                  <a:gd name="csX1" fmla="*/ 135411 w 162446"/>
                  <a:gd name="csY1" fmla="*/ 139031 h 155053"/>
                  <a:gd name="csX2" fmla="*/ 121955 w 162446"/>
                  <a:gd name="csY2" fmla="*/ 97756 h 155053"/>
                  <a:gd name="csX3" fmla="*/ 157204 w 162446"/>
                  <a:gd name="csY3" fmla="*/ 72165 h 155053"/>
                  <a:gd name="csX4" fmla="*/ 160218 w 162446"/>
                  <a:gd name="csY4" fmla="*/ 55034 h 155053"/>
                  <a:gd name="csX5" fmla="*/ 149940 w 162446"/>
                  <a:gd name="csY5" fmla="*/ 49794 h 155053"/>
                  <a:gd name="csX6" fmla="*/ 106353 w 162446"/>
                  <a:gd name="csY6" fmla="*/ 49794 h 155053"/>
                  <a:gd name="csX7" fmla="*/ 92898 w 162446"/>
                  <a:gd name="csY7" fmla="*/ 8519 h 155053"/>
                  <a:gd name="csX8" fmla="*/ 77268 w 162446"/>
                  <a:gd name="csY8" fmla="*/ 622 h 155053"/>
                  <a:gd name="csX9" fmla="*/ 69371 w 162446"/>
                  <a:gd name="csY9" fmla="*/ 8519 h 155053"/>
                  <a:gd name="csX10" fmla="*/ 55915 w 162446"/>
                  <a:gd name="csY10" fmla="*/ 49794 h 155053"/>
                  <a:gd name="csX11" fmla="*/ 12329 w 162446"/>
                  <a:gd name="csY11" fmla="*/ 49794 h 155053"/>
                  <a:gd name="csX12" fmla="*/ 0 w 162446"/>
                  <a:gd name="csY12" fmla="*/ 62230 h 155053"/>
                  <a:gd name="csX13" fmla="*/ 5065 w 162446"/>
                  <a:gd name="csY13" fmla="*/ 72165 h 155053"/>
                  <a:gd name="csX14" fmla="*/ 40313 w 162446"/>
                  <a:gd name="csY14" fmla="*/ 97343 h 155053"/>
                  <a:gd name="csX15" fmla="*/ 26858 w 162446"/>
                  <a:gd name="csY15" fmla="*/ 138618 h 155053"/>
                  <a:gd name="csX16" fmla="*/ 31315 w 162446"/>
                  <a:gd name="csY16" fmla="*/ 152487 h 155053"/>
                  <a:gd name="csX17" fmla="*/ 38662 w 162446"/>
                  <a:gd name="csY17" fmla="*/ 154798 h 155053"/>
                  <a:gd name="csX18" fmla="*/ 45927 w 162446"/>
                  <a:gd name="csY18" fmla="*/ 152487 h 155053"/>
                  <a:gd name="csX19" fmla="*/ 81176 w 162446"/>
                  <a:gd name="csY19" fmla="*/ 126896 h 155053"/>
                  <a:gd name="csX20" fmla="*/ 116424 w 162446"/>
                  <a:gd name="csY20" fmla="*/ 152487 h 155053"/>
                  <a:gd name="csX21" fmla="*/ 130953 w 162446"/>
                  <a:gd name="csY21" fmla="*/ 152899 h 155053"/>
                  <a:gd name="csX22" fmla="*/ 100162 w 162446"/>
                  <a:gd name="csY22" fmla="*/ 82897 h 155053"/>
                  <a:gd name="csX23" fmla="*/ 95622 w 162446"/>
                  <a:gd name="csY23" fmla="*/ 96683 h 155053"/>
                  <a:gd name="csX24" fmla="*/ 100080 w 162446"/>
                  <a:gd name="csY24" fmla="*/ 110469 h 155053"/>
                  <a:gd name="csX25" fmla="*/ 88440 w 162446"/>
                  <a:gd name="csY25" fmla="*/ 102214 h 155053"/>
                  <a:gd name="csX26" fmla="*/ 73829 w 162446"/>
                  <a:gd name="csY26" fmla="*/ 102214 h 155053"/>
                  <a:gd name="csX27" fmla="*/ 62189 w 162446"/>
                  <a:gd name="csY27" fmla="*/ 110469 h 155053"/>
                  <a:gd name="csX28" fmla="*/ 66647 w 162446"/>
                  <a:gd name="csY28" fmla="*/ 96683 h 155053"/>
                  <a:gd name="csX29" fmla="*/ 61859 w 162446"/>
                  <a:gd name="csY29" fmla="*/ 82897 h 155053"/>
                  <a:gd name="csX30" fmla="*/ 50219 w 162446"/>
                  <a:gd name="csY30" fmla="*/ 74642 h 155053"/>
                  <a:gd name="csX31" fmla="*/ 64666 w 162446"/>
                  <a:gd name="csY31" fmla="*/ 74642 h 155053"/>
                  <a:gd name="csX32" fmla="*/ 76470 w 162446"/>
                  <a:gd name="csY32" fmla="*/ 66387 h 155053"/>
                  <a:gd name="csX33" fmla="*/ 80928 w 162446"/>
                  <a:gd name="csY33" fmla="*/ 52684 h 155053"/>
                  <a:gd name="csX34" fmla="*/ 85386 w 162446"/>
                  <a:gd name="csY34" fmla="*/ 66387 h 155053"/>
                  <a:gd name="csX35" fmla="*/ 97108 w 162446"/>
                  <a:gd name="csY35" fmla="*/ 74642 h 155053"/>
                  <a:gd name="csX36" fmla="*/ 111554 w 162446"/>
                  <a:gd name="csY36" fmla="*/ 74642 h 15505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Lst>
                <a:rect l="l" t="t" r="r" b="b"/>
                <a:pathLst>
                  <a:path w="162446" h="155053">
                    <a:moveTo>
                      <a:pt x="130953" y="152899"/>
                    </a:moveTo>
                    <a:cubicBezTo>
                      <a:pt x="135267" y="149716"/>
                      <a:pt x="137062" y="144131"/>
                      <a:pt x="135411" y="139031"/>
                    </a:cubicBezTo>
                    <a:lnTo>
                      <a:pt x="121955" y="97756"/>
                    </a:lnTo>
                    <a:lnTo>
                      <a:pt x="157204" y="72165"/>
                    </a:lnTo>
                    <a:cubicBezTo>
                      <a:pt x="162767" y="68267"/>
                      <a:pt x="164117" y="60597"/>
                      <a:pt x="160218" y="55034"/>
                    </a:cubicBezTo>
                    <a:cubicBezTo>
                      <a:pt x="157874" y="51689"/>
                      <a:pt x="154023" y="49726"/>
                      <a:pt x="149940" y="49794"/>
                    </a:cubicBezTo>
                    <a:lnTo>
                      <a:pt x="106353" y="49794"/>
                    </a:lnTo>
                    <a:lnTo>
                      <a:pt x="92898" y="8519"/>
                    </a:lnTo>
                    <a:cubicBezTo>
                      <a:pt x="90762" y="2023"/>
                      <a:pt x="83765" y="-1513"/>
                      <a:pt x="77268" y="622"/>
                    </a:cubicBezTo>
                    <a:cubicBezTo>
                      <a:pt x="73531" y="1851"/>
                      <a:pt x="70599" y="4782"/>
                      <a:pt x="69371" y="8519"/>
                    </a:cubicBezTo>
                    <a:lnTo>
                      <a:pt x="55915" y="49794"/>
                    </a:lnTo>
                    <a:lnTo>
                      <a:pt x="12329" y="49794"/>
                    </a:lnTo>
                    <a:cubicBezTo>
                      <a:pt x="5490" y="49824"/>
                      <a:pt x="-29" y="55392"/>
                      <a:pt x="0" y="62230"/>
                    </a:cubicBezTo>
                    <a:cubicBezTo>
                      <a:pt x="17" y="66158"/>
                      <a:pt x="1896" y="69844"/>
                      <a:pt x="5065" y="72165"/>
                    </a:cubicBezTo>
                    <a:lnTo>
                      <a:pt x="40313" y="97343"/>
                    </a:lnTo>
                    <a:lnTo>
                      <a:pt x="26858" y="138618"/>
                    </a:lnTo>
                    <a:cubicBezTo>
                      <a:pt x="25207" y="143719"/>
                      <a:pt x="27002" y="149303"/>
                      <a:pt x="31315" y="152487"/>
                    </a:cubicBezTo>
                    <a:cubicBezTo>
                      <a:pt x="33466" y="153998"/>
                      <a:pt x="36033" y="154806"/>
                      <a:pt x="38662" y="154798"/>
                    </a:cubicBezTo>
                    <a:cubicBezTo>
                      <a:pt x="41266" y="154805"/>
                      <a:pt x="43806" y="153997"/>
                      <a:pt x="45927" y="152487"/>
                    </a:cubicBezTo>
                    <a:lnTo>
                      <a:pt x="81176" y="126896"/>
                    </a:lnTo>
                    <a:lnTo>
                      <a:pt x="116424" y="152487"/>
                    </a:lnTo>
                    <a:cubicBezTo>
                      <a:pt x="120669" y="155751"/>
                      <a:pt x="126530" y="155918"/>
                      <a:pt x="130953" y="152899"/>
                    </a:cubicBezTo>
                    <a:close/>
                    <a:moveTo>
                      <a:pt x="100162" y="82897"/>
                    </a:moveTo>
                    <a:cubicBezTo>
                      <a:pt x="95810" y="86014"/>
                      <a:pt x="93974" y="91589"/>
                      <a:pt x="95622" y="96683"/>
                    </a:cubicBezTo>
                    <a:lnTo>
                      <a:pt x="100080" y="110469"/>
                    </a:lnTo>
                    <a:lnTo>
                      <a:pt x="88440" y="102214"/>
                    </a:lnTo>
                    <a:cubicBezTo>
                      <a:pt x="84072" y="99085"/>
                      <a:pt x="78197" y="99085"/>
                      <a:pt x="73829" y="102214"/>
                    </a:cubicBezTo>
                    <a:lnTo>
                      <a:pt x="62189" y="110469"/>
                    </a:lnTo>
                    <a:lnTo>
                      <a:pt x="66647" y="96683"/>
                    </a:lnTo>
                    <a:cubicBezTo>
                      <a:pt x="68244" y="91535"/>
                      <a:pt x="66303" y="85947"/>
                      <a:pt x="61859" y="82897"/>
                    </a:cubicBezTo>
                    <a:lnTo>
                      <a:pt x="50219" y="74642"/>
                    </a:lnTo>
                    <a:lnTo>
                      <a:pt x="64666" y="74642"/>
                    </a:lnTo>
                    <a:cubicBezTo>
                      <a:pt x="69953" y="74673"/>
                      <a:pt x="74685" y="71364"/>
                      <a:pt x="76470" y="66387"/>
                    </a:cubicBezTo>
                    <a:lnTo>
                      <a:pt x="80928" y="52684"/>
                    </a:lnTo>
                    <a:lnTo>
                      <a:pt x="85386" y="66387"/>
                    </a:lnTo>
                    <a:cubicBezTo>
                      <a:pt x="87120" y="71367"/>
                      <a:pt x="91835" y="74687"/>
                      <a:pt x="97108" y="74642"/>
                    </a:cubicBezTo>
                    <a:lnTo>
                      <a:pt x="111554" y="74642"/>
                    </a:lnTo>
                    <a:close/>
                  </a:path>
                </a:pathLst>
              </a:custGeom>
              <a:grpFill/>
              <a:ln w="819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1" name="Freeform: Shape 40">
                <a:extLst>
                  <a:ext uri="{FF2B5EF4-FFF2-40B4-BE49-F238E27FC236}">
                    <a16:creationId xmlns:a16="http://schemas.microsoft.com/office/drawing/2014/main" id="{F6976B4B-F33F-7C4F-A8F9-9436109F8356}"/>
                  </a:ext>
                </a:extLst>
              </p:cNvPr>
              <p:cNvSpPr/>
              <p:nvPr/>
            </p:nvSpPr>
            <p:spPr>
              <a:xfrm>
                <a:off x="8228891" y="4427299"/>
                <a:ext cx="110763" cy="93582"/>
              </a:xfrm>
              <a:custGeom>
                <a:avLst/>
                <a:gdLst>
                  <a:gd name="csX0" fmla="*/ 105770 w 110763"/>
                  <a:gd name="csY0" fmla="*/ 2448 h 93582"/>
                  <a:gd name="csX1" fmla="*/ 88445 w 110763"/>
                  <a:gd name="csY1" fmla="*/ 4993 h 93582"/>
                  <a:gd name="csX2" fmla="*/ 88435 w 110763"/>
                  <a:gd name="csY2" fmla="*/ 5007 h 93582"/>
                  <a:gd name="csX3" fmla="*/ 45426 w 110763"/>
                  <a:gd name="csY3" fmla="*/ 62379 h 93582"/>
                  <a:gd name="csX4" fmla="*/ 21156 w 110763"/>
                  <a:gd name="csY4" fmla="*/ 38027 h 93582"/>
                  <a:gd name="csX5" fmla="*/ 3656 w 110763"/>
                  <a:gd name="csY5" fmla="*/ 38027 h 93582"/>
                  <a:gd name="csX6" fmla="*/ 3550 w 110763"/>
                  <a:gd name="csY6" fmla="*/ 55421 h 93582"/>
                  <a:gd name="csX7" fmla="*/ 3656 w 110763"/>
                  <a:gd name="csY7" fmla="*/ 55527 h 93582"/>
                  <a:gd name="csX8" fmla="*/ 37997 w 110763"/>
                  <a:gd name="csY8" fmla="*/ 89951 h 93582"/>
                  <a:gd name="csX9" fmla="*/ 46747 w 110763"/>
                  <a:gd name="csY9" fmla="*/ 93583 h 93582"/>
                  <a:gd name="csX10" fmla="*/ 47655 w 110763"/>
                  <a:gd name="csY10" fmla="*/ 93583 h 93582"/>
                  <a:gd name="csX11" fmla="*/ 56653 w 110763"/>
                  <a:gd name="csY11" fmla="*/ 88630 h 93582"/>
                  <a:gd name="csX12" fmla="*/ 108247 w 110763"/>
                  <a:gd name="csY12" fmla="*/ 19866 h 93582"/>
                  <a:gd name="csX13" fmla="*/ 105863 w 110763"/>
                  <a:gd name="csY13" fmla="*/ 2517 h 93582"/>
                  <a:gd name="csX14" fmla="*/ 105770 w 110763"/>
                  <a:gd name="csY14" fmla="*/ 2448 h 9358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110763" h="93582">
                    <a:moveTo>
                      <a:pt x="105770" y="2448"/>
                    </a:moveTo>
                    <a:cubicBezTo>
                      <a:pt x="100283" y="-1634"/>
                      <a:pt x="92526" y="-494"/>
                      <a:pt x="88445" y="4993"/>
                    </a:cubicBezTo>
                    <a:cubicBezTo>
                      <a:pt x="88441" y="4998"/>
                      <a:pt x="88438" y="5002"/>
                      <a:pt x="88435" y="5007"/>
                    </a:cubicBezTo>
                    <a:lnTo>
                      <a:pt x="45426" y="62379"/>
                    </a:lnTo>
                    <a:lnTo>
                      <a:pt x="21156" y="38027"/>
                    </a:lnTo>
                    <a:cubicBezTo>
                      <a:pt x="16303" y="33243"/>
                      <a:pt x="8509" y="33243"/>
                      <a:pt x="3656" y="38027"/>
                    </a:cubicBezTo>
                    <a:cubicBezTo>
                      <a:pt x="-1177" y="42801"/>
                      <a:pt x="-1224" y="50589"/>
                      <a:pt x="3550" y="55421"/>
                    </a:cubicBezTo>
                    <a:cubicBezTo>
                      <a:pt x="3585" y="55457"/>
                      <a:pt x="3620" y="55492"/>
                      <a:pt x="3656" y="55527"/>
                    </a:cubicBezTo>
                    <a:lnTo>
                      <a:pt x="37997" y="89951"/>
                    </a:lnTo>
                    <a:cubicBezTo>
                      <a:pt x="40327" y="92258"/>
                      <a:pt x="43468" y="93562"/>
                      <a:pt x="46747" y="93583"/>
                    </a:cubicBezTo>
                    <a:lnTo>
                      <a:pt x="47655" y="93583"/>
                    </a:lnTo>
                    <a:cubicBezTo>
                      <a:pt x="51220" y="93281"/>
                      <a:pt x="54491" y="91481"/>
                      <a:pt x="56653" y="88630"/>
                    </a:cubicBezTo>
                    <a:lnTo>
                      <a:pt x="108247" y="19866"/>
                    </a:lnTo>
                    <a:cubicBezTo>
                      <a:pt x="112379" y="14417"/>
                      <a:pt x="111312" y="6650"/>
                      <a:pt x="105863" y="2517"/>
                    </a:cubicBezTo>
                    <a:cubicBezTo>
                      <a:pt x="105832" y="2494"/>
                      <a:pt x="105801" y="2471"/>
                      <a:pt x="105770" y="2448"/>
                    </a:cubicBezTo>
                    <a:close/>
                  </a:path>
                </a:pathLst>
              </a:custGeom>
              <a:grpFill/>
              <a:ln w="819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2" name="Freeform: Shape 41">
                <a:extLst>
                  <a:ext uri="{FF2B5EF4-FFF2-40B4-BE49-F238E27FC236}">
                    <a16:creationId xmlns:a16="http://schemas.microsoft.com/office/drawing/2014/main" id="{DD0D98EA-BDE5-D1D5-EA6E-EC6919AAC300}"/>
                  </a:ext>
                </a:extLst>
              </p:cNvPr>
              <p:cNvSpPr/>
              <p:nvPr/>
            </p:nvSpPr>
            <p:spPr>
              <a:xfrm>
                <a:off x="8229223" y="4564913"/>
                <a:ext cx="110465" cy="93579"/>
              </a:xfrm>
              <a:custGeom>
                <a:avLst/>
                <a:gdLst>
                  <a:gd name="csX0" fmla="*/ 105438 w 110465"/>
                  <a:gd name="csY0" fmla="*/ 2445 h 93579"/>
                  <a:gd name="csX1" fmla="*/ 88102 w 110465"/>
                  <a:gd name="csY1" fmla="*/ 4921 h 93579"/>
                  <a:gd name="csX2" fmla="*/ 45094 w 110465"/>
                  <a:gd name="csY2" fmla="*/ 62293 h 93579"/>
                  <a:gd name="csX3" fmla="*/ 20824 w 110465"/>
                  <a:gd name="csY3" fmla="*/ 38024 h 93579"/>
                  <a:gd name="csX4" fmla="*/ 3323 w 110465"/>
                  <a:gd name="csY4" fmla="*/ 38641 h 93579"/>
                  <a:gd name="csX5" fmla="*/ 3323 w 110465"/>
                  <a:gd name="csY5" fmla="*/ 55524 h 93579"/>
                  <a:gd name="csX6" fmla="*/ 37664 w 110465"/>
                  <a:gd name="csY6" fmla="*/ 89948 h 93579"/>
                  <a:gd name="csX7" fmla="*/ 46414 w 110465"/>
                  <a:gd name="csY7" fmla="*/ 93580 h 93579"/>
                  <a:gd name="csX8" fmla="*/ 47322 w 110465"/>
                  <a:gd name="csY8" fmla="*/ 93580 h 93579"/>
                  <a:gd name="csX9" fmla="*/ 56320 w 110465"/>
                  <a:gd name="csY9" fmla="*/ 88709 h 93579"/>
                  <a:gd name="csX10" fmla="*/ 107914 w 110465"/>
                  <a:gd name="csY10" fmla="*/ 19863 h 93579"/>
                  <a:gd name="csX11" fmla="*/ 105663 w 110465"/>
                  <a:gd name="csY11" fmla="*/ 2614 h 93579"/>
                  <a:gd name="csX12" fmla="*/ 105438 w 110465"/>
                  <a:gd name="csY12" fmla="*/ 2445 h 935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110465" h="93579">
                    <a:moveTo>
                      <a:pt x="105438" y="2445"/>
                    </a:moveTo>
                    <a:cubicBezTo>
                      <a:pt x="99955" y="-1611"/>
                      <a:pt x="92230" y="-508"/>
                      <a:pt x="88102" y="4921"/>
                    </a:cubicBezTo>
                    <a:lnTo>
                      <a:pt x="45094" y="62293"/>
                    </a:lnTo>
                    <a:lnTo>
                      <a:pt x="20824" y="38024"/>
                    </a:lnTo>
                    <a:cubicBezTo>
                      <a:pt x="15821" y="33362"/>
                      <a:pt x="7985" y="33638"/>
                      <a:pt x="3323" y="38641"/>
                    </a:cubicBezTo>
                    <a:cubicBezTo>
                      <a:pt x="-1108" y="43397"/>
                      <a:pt x="-1108" y="50769"/>
                      <a:pt x="3323" y="55524"/>
                    </a:cubicBezTo>
                    <a:lnTo>
                      <a:pt x="37664" y="89948"/>
                    </a:lnTo>
                    <a:cubicBezTo>
                      <a:pt x="39994" y="92255"/>
                      <a:pt x="43135" y="93559"/>
                      <a:pt x="46414" y="93580"/>
                    </a:cubicBezTo>
                    <a:lnTo>
                      <a:pt x="47322" y="93580"/>
                    </a:lnTo>
                    <a:cubicBezTo>
                      <a:pt x="50881" y="93319"/>
                      <a:pt x="54156" y="91546"/>
                      <a:pt x="56320" y="88709"/>
                    </a:cubicBezTo>
                    <a:lnTo>
                      <a:pt x="107914" y="19863"/>
                    </a:lnTo>
                    <a:cubicBezTo>
                      <a:pt x="112056" y="14478"/>
                      <a:pt x="111048" y="6756"/>
                      <a:pt x="105663" y="2614"/>
                    </a:cubicBezTo>
                    <a:cubicBezTo>
                      <a:pt x="105589" y="2557"/>
                      <a:pt x="105514" y="2500"/>
                      <a:pt x="105438" y="2445"/>
                    </a:cubicBezTo>
                    <a:close/>
                  </a:path>
                </a:pathLst>
              </a:custGeom>
              <a:grpFill/>
              <a:ln w="819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3" name="Freeform: Shape 42">
                <a:extLst>
                  <a:ext uri="{FF2B5EF4-FFF2-40B4-BE49-F238E27FC236}">
                    <a16:creationId xmlns:a16="http://schemas.microsoft.com/office/drawing/2014/main" id="{2D6C57FD-44AF-FC80-5B89-0277B8A9FC5F}"/>
                  </a:ext>
                </a:extLst>
              </p:cNvPr>
              <p:cNvSpPr/>
              <p:nvPr/>
            </p:nvSpPr>
            <p:spPr>
              <a:xfrm>
                <a:off x="8229223" y="4702491"/>
                <a:ext cx="110424" cy="93530"/>
              </a:xfrm>
              <a:custGeom>
                <a:avLst/>
                <a:gdLst>
                  <a:gd name="csX0" fmla="*/ 105438 w 110424"/>
                  <a:gd name="csY0" fmla="*/ 2477 h 93530"/>
                  <a:gd name="csX1" fmla="*/ 88102 w 110424"/>
                  <a:gd name="csY1" fmla="*/ 4954 h 93530"/>
                  <a:gd name="csX2" fmla="*/ 45094 w 110424"/>
                  <a:gd name="csY2" fmla="*/ 62739 h 93530"/>
                  <a:gd name="csX3" fmla="*/ 20824 w 110424"/>
                  <a:gd name="csY3" fmla="*/ 38056 h 93530"/>
                  <a:gd name="csX4" fmla="*/ 3323 w 110424"/>
                  <a:gd name="csY4" fmla="*/ 38674 h 93530"/>
                  <a:gd name="csX5" fmla="*/ 3323 w 110424"/>
                  <a:gd name="csY5" fmla="*/ 55557 h 93530"/>
                  <a:gd name="csX6" fmla="*/ 37664 w 110424"/>
                  <a:gd name="csY6" fmla="*/ 89898 h 93530"/>
                  <a:gd name="csX7" fmla="*/ 46414 w 110424"/>
                  <a:gd name="csY7" fmla="*/ 93530 h 93530"/>
                  <a:gd name="csX8" fmla="*/ 47322 w 110424"/>
                  <a:gd name="csY8" fmla="*/ 93530 h 93530"/>
                  <a:gd name="csX9" fmla="*/ 56320 w 110424"/>
                  <a:gd name="csY9" fmla="*/ 88577 h 93530"/>
                  <a:gd name="csX10" fmla="*/ 107914 w 110424"/>
                  <a:gd name="csY10" fmla="*/ 19813 h 93530"/>
                  <a:gd name="csX11" fmla="*/ 105570 w 110424"/>
                  <a:gd name="csY11" fmla="*/ 2577 h 93530"/>
                  <a:gd name="csX12" fmla="*/ 105438 w 110424"/>
                  <a:gd name="csY12" fmla="*/ 2477 h 9353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110424" h="93530">
                    <a:moveTo>
                      <a:pt x="105438" y="2477"/>
                    </a:moveTo>
                    <a:cubicBezTo>
                      <a:pt x="99967" y="-1626"/>
                      <a:pt x="92205" y="-517"/>
                      <a:pt x="88102" y="4954"/>
                    </a:cubicBezTo>
                    <a:lnTo>
                      <a:pt x="45094" y="62739"/>
                    </a:lnTo>
                    <a:lnTo>
                      <a:pt x="20824" y="38056"/>
                    </a:lnTo>
                    <a:cubicBezTo>
                      <a:pt x="15821" y="33394"/>
                      <a:pt x="7985" y="33671"/>
                      <a:pt x="3323" y="38674"/>
                    </a:cubicBezTo>
                    <a:cubicBezTo>
                      <a:pt x="-1108" y="43429"/>
                      <a:pt x="-1108" y="50802"/>
                      <a:pt x="3323" y="55557"/>
                    </a:cubicBezTo>
                    <a:lnTo>
                      <a:pt x="37664" y="89898"/>
                    </a:lnTo>
                    <a:cubicBezTo>
                      <a:pt x="39968" y="92244"/>
                      <a:pt x="43126" y="93555"/>
                      <a:pt x="46414" y="93530"/>
                    </a:cubicBezTo>
                    <a:lnTo>
                      <a:pt x="47322" y="93530"/>
                    </a:lnTo>
                    <a:cubicBezTo>
                      <a:pt x="50901" y="93270"/>
                      <a:pt x="54187" y="91461"/>
                      <a:pt x="56320" y="88577"/>
                    </a:cubicBezTo>
                    <a:lnTo>
                      <a:pt x="107914" y="19813"/>
                    </a:lnTo>
                    <a:cubicBezTo>
                      <a:pt x="112027" y="14406"/>
                      <a:pt x="110977" y="6689"/>
                      <a:pt x="105570" y="2577"/>
                    </a:cubicBezTo>
                    <a:cubicBezTo>
                      <a:pt x="105526" y="2543"/>
                      <a:pt x="105482" y="2510"/>
                      <a:pt x="105438" y="2477"/>
                    </a:cubicBezTo>
                    <a:close/>
                  </a:path>
                </a:pathLst>
              </a:custGeom>
              <a:grpFill/>
              <a:ln w="8192"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spTree>
    <p:extLst>
      <p:ext uri="{BB962C8B-B14F-4D97-AF65-F5344CB8AC3E}">
        <p14:creationId xmlns:p14="http://schemas.microsoft.com/office/powerpoint/2010/main" val="2838489514"/>
      </p:ext>
    </p:extLst>
  </p:cSld>
  <p:clrMapOvr>
    <a:masterClrMapping/>
  </p:clrMapOvr>
  <p:extLst>
    <p:ext uri="{6950BFC3-D8DA-4A85-94F7-54DA5524770B}">
      <p188:commentRel xmlns:p188="http://schemas.microsoft.com/office/powerpoint/2018/8/main" r:id="rId4"/>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5FCBA71-635C-605B-7697-425E7C2342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think-cell data - do not delete" hidden="1">
                        <a:extLst>
                          <a:ext uri="{FF2B5EF4-FFF2-40B4-BE49-F238E27FC236}">
                            <a16:creationId xmlns:a16="http://schemas.microsoft.com/office/drawing/2014/main" id="{A5FCBA71-635C-605B-7697-425E7C2342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5791D46-46B2-851F-C88B-3C8B469E9926}"/>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latin typeface="Moderat" pitchFamily="2" charset="77"/>
              </a:rPr>
              <a:t>Enterprise Thinking and Ownership</a:t>
            </a:r>
          </a:p>
        </p:txBody>
      </p:sp>
      <p:sp>
        <p:nvSpPr>
          <p:cNvPr id="5" name="Rectangle 4">
            <a:extLst>
              <a:ext uri="{FF2B5EF4-FFF2-40B4-BE49-F238E27FC236}">
                <a16:creationId xmlns:a16="http://schemas.microsoft.com/office/drawing/2014/main" id="{1CA930D9-72F0-AA01-3759-D32B465ECFFA}"/>
              </a:ext>
            </a:extLst>
          </p:cNvPr>
          <p:cNvSpPr/>
          <p:nvPr/>
        </p:nvSpPr>
        <p:spPr>
          <a:xfrm>
            <a:off x="0" y="1237862"/>
            <a:ext cx="12192000" cy="5074258"/>
          </a:xfrm>
          <a:prstGeom prst="rect">
            <a:avLst/>
          </a:prstGeom>
          <a:gradFill flip="none" rotWithShape="1">
            <a:gsLst>
              <a:gs pos="96000">
                <a:srgbClr val="16506E"/>
              </a:gs>
              <a:gs pos="80000">
                <a:srgbClr val="134C6A"/>
              </a:gs>
              <a:gs pos="37000">
                <a:srgbClr val="053754"/>
              </a:gs>
            </a:gsLst>
            <a:lin ang="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AEF38384-BB07-CFD1-1DD8-0E9C51FEC9C4}"/>
              </a:ext>
            </a:extLst>
          </p:cNvPr>
          <p:cNvPicPr>
            <a:picLocks noChangeAspect="1"/>
          </p:cNvPicPr>
          <p:nvPr/>
        </p:nvPicPr>
        <p:blipFill>
          <a:blip r:embed="rId5"/>
          <a:stretch>
            <a:fillRect/>
          </a:stretch>
        </p:blipFill>
        <p:spPr>
          <a:xfrm>
            <a:off x="2190448" y="1237862"/>
            <a:ext cx="7611387" cy="5074258"/>
          </a:xfrm>
          <a:prstGeom prst="rect">
            <a:avLst/>
          </a:prstGeom>
        </p:spPr>
      </p:pic>
      <p:sp>
        <p:nvSpPr>
          <p:cNvPr id="7" name="Rectangle 6">
            <a:extLst>
              <a:ext uri="{FF2B5EF4-FFF2-40B4-BE49-F238E27FC236}">
                <a16:creationId xmlns:a16="http://schemas.microsoft.com/office/drawing/2014/main" id="{79F8EFE1-6DF3-940A-1CC1-F7134F4815F3}"/>
              </a:ext>
            </a:extLst>
          </p:cNvPr>
          <p:cNvSpPr/>
          <p:nvPr/>
        </p:nvSpPr>
        <p:spPr>
          <a:xfrm>
            <a:off x="515938" y="1490133"/>
            <a:ext cx="2777066" cy="677333"/>
          </a:xfrm>
          <a:prstGeom prst="rect">
            <a:avLst/>
          </a:prstGeom>
          <a:ln>
            <a:solidFill>
              <a:srgbClr val="053754"/>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Enterprise Thinking</a:t>
            </a:r>
          </a:p>
        </p:txBody>
      </p:sp>
      <p:sp>
        <p:nvSpPr>
          <p:cNvPr id="8" name="Rectangle 7">
            <a:extLst>
              <a:ext uri="{FF2B5EF4-FFF2-40B4-BE49-F238E27FC236}">
                <a16:creationId xmlns:a16="http://schemas.microsoft.com/office/drawing/2014/main" id="{41252474-1D4D-EED9-3A28-D2AC9CB28847}"/>
              </a:ext>
            </a:extLst>
          </p:cNvPr>
          <p:cNvSpPr/>
          <p:nvPr/>
        </p:nvSpPr>
        <p:spPr>
          <a:xfrm>
            <a:off x="801915" y="3901126"/>
            <a:ext cx="2777066" cy="677333"/>
          </a:xfrm>
          <a:prstGeom prst="rect">
            <a:avLst/>
          </a:prstGeom>
          <a:ln>
            <a:solidFill>
              <a:srgbClr val="053754"/>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Risk Escalation Scenarios</a:t>
            </a:r>
          </a:p>
        </p:txBody>
      </p:sp>
      <p:sp>
        <p:nvSpPr>
          <p:cNvPr id="30" name="Rectangle 29">
            <a:extLst>
              <a:ext uri="{FF2B5EF4-FFF2-40B4-BE49-F238E27FC236}">
                <a16:creationId xmlns:a16="http://schemas.microsoft.com/office/drawing/2014/main" id="{5326F17F-763B-88C5-4BF8-AC98B873F9E9}"/>
              </a:ext>
            </a:extLst>
          </p:cNvPr>
          <p:cNvSpPr/>
          <p:nvPr/>
        </p:nvSpPr>
        <p:spPr>
          <a:xfrm>
            <a:off x="8832908" y="5408192"/>
            <a:ext cx="2777066" cy="677333"/>
          </a:xfrm>
          <a:prstGeom prst="rect">
            <a:avLst/>
          </a:prstGeom>
          <a:ln>
            <a:solidFill>
              <a:srgbClr val="14797E"/>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Executive Presence</a:t>
            </a:r>
          </a:p>
        </p:txBody>
      </p:sp>
      <p:sp>
        <p:nvSpPr>
          <p:cNvPr id="31" name="Rectangle 30">
            <a:extLst>
              <a:ext uri="{FF2B5EF4-FFF2-40B4-BE49-F238E27FC236}">
                <a16:creationId xmlns:a16="http://schemas.microsoft.com/office/drawing/2014/main" id="{02496D70-4F46-7855-A321-B0F619175074}"/>
              </a:ext>
            </a:extLst>
          </p:cNvPr>
          <p:cNvSpPr/>
          <p:nvPr/>
        </p:nvSpPr>
        <p:spPr>
          <a:xfrm>
            <a:off x="9130740" y="2834605"/>
            <a:ext cx="2777066" cy="677333"/>
          </a:xfrm>
          <a:prstGeom prst="rect">
            <a:avLst/>
          </a:prstGeom>
          <a:ln>
            <a:solidFill>
              <a:srgbClr val="14797E"/>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Strategic Alignment</a:t>
            </a:r>
          </a:p>
        </p:txBody>
      </p:sp>
    </p:spTree>
    <p:extLst>
      <p:ext uri="{BB962C8B-B14F-4D97-AF65-F5344CB8AC3E}">
        <p14:creationId xmlns:p14="http://schemas.microsoft.com/office/powerpoint/2010/main" val="26293334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B54D6D4-331C-42DE-6F20-F0463625EDDC}"/>
              </a:ext>
            </a:extLst>
          </p:cNvPr>
          <p:cNvSpPr txBox="1"/>
          <p:nvPr/>
        </p:nvSpPr>
        <p:spPr>
          <a:xfrm>
            <a:off x="887831" y="3573601"/>
            <a:ext cx="4748726" cy="523220"/>
          </a:xfrm>
          <a:prstGeom prst="rect">
            <a:avLst/>
          </a:prstGeom>
          <a:noFill/>
        </p:spPr>
        <p:txBody>
          <a:bodyPr wrap="square" rtlCol="0" anchor="ctr">
            <a:spAutoFit/>
          </a:bodyPr>
          <a:lstStyle/>
          <a:p>
            <a:r>
              <a:rPr lang="en-US" sz="2800">
                <a:solidFill>
                  <a:schemeClr val="bg1"/>
                </a:solidFill>
                <a:latin typeface="Moderat" pitchFamily="2" charset="77"/>
                <a:ea typeface="Roboto" pitchFamily="34" charset="-122"/>
              </a:rPr>
              <a:t>Individual Contributor Courses</a:t>
            </a:r>
          </a:p>
        </p:txBody>
      </p:sp>
    </p:spTree>
    <p:extLst>
      <p:ext uri="{BB962C8B-B14F-4D97-AF65-F5344CB8AC3E}">
        <p14:creationId xmlns:p14="http://schemas.microsoft.com/office/powerpoint/2010/main" val="36864397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F104BCD-2771-8AF7-8D78-252AF0AC9E00}"/>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latin typeface="Moderat" pitchFamily="2" charset="77"/>
              </a:rPr>
              <a:t>Building a high-performance culture</a:t>
            </a:r>
          </a:p>
        </p:txBody>
      </p:sp>
      <p:sp>
        <p:nvSpPr>
          <p:cNvPr id="3" name="Text 3">
            <a:extLst>
              <a:ext uri="{FF2B5EF4-FFF2-40B4-BE49-F238E27FC236}">
                <a16:creationId xmlns:a16="http://schemas.microsoft.com/office/drawing/2014/main" id="{E8A90D50-2FED-C5EA-2016-D30AFD1824B6}"/>
              </a:ext>
            </a:extLst>
          </p:cNvPr>
          <p:cNvSpPr/>
          <p:nvPr/>
        </p:nvSpPr>
        <p:spPr>
          <a:xfrm>
            <a:off x="556736" y="1397318"/>
            <a:ext cx="11432064" cy="787186"/>
          </a:xfrm>
          <a:prstGeom prst="rect">
            <a:avLst/>
          </a:prstGeom>
          <a:noFill/>
          <a:ln/>
        </p:spPr>
        <p:txBody>
          <a:bodyPr wrap="square" lIns="0" tIns="0" rIns="0" bIns="0" rtlCol="0" anchor="t"/>
          <a:lstStyle/>
          <a:p>
            <a:pPr marL="0" indent="0" algn="l">
              <a:buNone/>
            </a:pPr>
            <a:r>
              <a:rPr lang="en-US" sz="1600">
                <a:solidFill>
                  <a:srgbClr val="333333"/>
                </a:solidFill>
                <a:latin typeface="Montserrat" pitchFamily="34" charset="0"/>
                <a:ea typeface="Montserrat" pitchFamily="34" charset="-122"/>
                <a:cs typeface="Montserrat" pitchFamily="34" charset="-120"/>
              </a:rPr>
              <a:t>As global capability centers scale, traditional performance management approaches fall short. Growth demands a fundamental shift from heroics and escalation to systematic, manager-led accountability. This framework equips senior leaders to embed high-performance behaviors that scale across enterprise operations.</a:t>
            </a:r>
            <a:endParaRPr lang="en-US" sz="1600"/>
          </a:p>
        </p:txBody>
      </p:sp>
      <p:sp>
        <p:nvSpPr>
          <p:cNvPr id="4" name="Shape 4">
            <a:extLst>
              <a:ext uri="{FF2B5EF4-FFF2-40B4-BE49-F238E27FC236}">
                <a16:creationId xmlns:a16="http://schemas.microsoft.com/office/drawing/2014/main" id="{3D70B0F1-99BE-CE9C-AC67-5A26FC907440}"/>
              </a:ext>
            </a:extLst>
          </p:cNvPr>
          <p:cNvSpPr/>
          <p:nvPr/>
        </p:nvSpPr>
        <p:spPr>
          <a:xfrm>
            <a:off x="515939" y="2246436"/>
            <a:ext cx="3200400" cy="2379622"/>
          </a:xfrm>
          <a:prstGeom prst="roundRect">
            <a:avLst>
              <a:gd name="adj" fmla="val 3205"/>
            </a:avLst>
          </a:prstGeom>
          <a:solidFill>
            <a:schemeClr val="accent1"/>
          </a:solidFill>
          <a:ln w="7620">
            <a:solidFill>
              <a:srgbClr val="E4C0B3"/>
            </a:solidFill>
            <a:prstDash val="solid"/>
          </a:ln>
        </p:spPr>
        <p:txBody>
          <a:bodyPr/>
          <a:lstStyle/>
          <a:p>
            <a:endParaRPr lang="en-US"/>
          </a:p>
        </p:txBody>
      </p:sp>
      <p:grpSp>
        <p:nvGrpSpPr>
          <p:cNvPr id="24" name="Group 23">
            <a:extLst>
              <a:ext uri="{FF2B5EF4-FFF2-40B4-BE49-F238E27FC236}">
                <a16:creationId xmlns:a16="http://schemas.microsoft.com/office/drawing/2014/main" id="{EDA49B7B-127A-D244-156F-E66A5BB1F1EB}"/>
              </a:ext>
            </a:extLst>
          </p:cNvPr>
          <p:cNvGrpSpPr/>
          <p:nvPr/>
        </p:nvGrpSpPr>
        <p:grpSpPr>
          <a:xfrm>
            <a:off x="1346107" y="-1473200"/>
            <a:ext cx="1380159" cy="1380867"/>
            <a:chOff x="626904" y="2492866"/>
            <a:chExt cx="310158" cy="310158"/>
          </a:xfrm>
        </p:grpSpPr>
        <p:sp>
          <p:nvSpPr>
            <p:cNvPr id="5" name="Shape 5">
              <a:extLst>
                <a:ext uri="{FF2B5EF4-FFF2-40B4-BE49-F238E27FC236}">
                  <a16:creationId xmlns:a16="http://schemas.microsoft.com/office/drawing/2014/main" id="{5B0B5EB1-65B9-AC5E-1DE8-E3428072FA8B}"/>
                </a:ext>
              </a:extLst>
            </p:cNvPr>
            <p:cNvSpPr/>
            <p:nvPr/>
          </p:nvSpPr>
          <p:spPr>
            <a:xfrm>
              <a:off x="626904" y="2492866"/>
              <a:ext cx="310158" cy="310158"/>
            </a:xfrm>
            <a:prstGeom prst="roundRect">
              <a:avLst>
                <a:gd name="adj" fmla="val 29478800"/>
              </a:avLst>
            </a:prstGeom>
            <a:solidFill>
              <a:srgbClr val="DA3C04"/>
            </a:solidFill>
            <a:ln/>
          </p:spPr>
          <p:txBody>
            <a:bodyPr/>
            <a:lstStyle/>
            <a:p>
              <a:endParaRPr lang="en-US"/>
            </a:p>
          </p:txBody>
        </p:sp>
        <p:pic>
          <p:nvPicPr>
            <p:cNvPr id="6" name="Image 1" descr="preencoded.png">
              <a:extLst>
                <a:ext uri="{FF2B5EF4-FFF2-40B4-BE49-F238E27FC236}">
                  <a16:creationId xmlns:a16="http://schemas.microsoft.com/office/drawing/2014/main" id="{A5AAAB39-EAF0-D617-E7B1-D4DE2F0ABA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2153" y="2578115"/>
              <a:ext cx="139541" cy="139541"/>
            </a:xfrm>
            <a:prstGeom prst="rect">
              <a:avLst/>
            </a:prstGeom>
          </p:spPr>
        </p:pic>
      </p:grpSp>
      <p:sp>
        <p:nvSpPr>
          <p:cNvPr id="7" name="Text 6">
            <a:extLst>
              <a:ext uri="{FF2B5EF4-FFF2-40B4-BE49-F238E27FC236}">
                <a16:creationId xmlns:a16="http://schemas.microsoft.com/office/drawing/2014/main" id="{AF9E5DE2-C278-6E1C-257E-7DD08B38BAF0}"/>
              </a:ext>
            </a:extLst>
          </p:cNvPr>
          <p:cNvSpPr/>
          <p:nvPr/>
        </p:nvSpPr>
        <p:spPr>
          <a:xfrm>
            <a:off x="626904" y="2381441"/>
            <a:ext cx="1504236" cy="161568"/>
          </a:xfrm>
          <a:prstGeom prst="rect">
            <a:avLst/>
          </a:prstGeom>
          <a:noFill/>
          <a:ln/>
        </p:spPr>
        <p:txBody>
          <a:bodyPr wrap="none" lIns="0" tIns="0" rIns="0" bIns="0" rtlCol="0" anchor="t"/>
          <a:lstStyle/>
          <a:p>
            <a:pPr marL="0" indent="0" algn="l">
              <a:lnSpc>
                <a:spcPts val="1250"/>
              </a:lnSpc>
              <a:buNone/>
            </a:pPr>
            <a:r>
              <a:rPr lang="en-US" sz="1600" b="1">
                <a:solidFill>
                  <a:schemeClr val="bg1"/>
                </a:solidFill>
                <a:latin typeface="Montserrat Bold" pitchFamily="34" charset="0"/>
                <a:ea typeface="Montserrat Bold" pitchFamily="34" charset="-122"/>
                <a:cs typeface="Montserrat Bold" pitchFamily="34" charset="-120"/>
              </a:rPr>
              <a:t>The Scaling Challenge</a:t>
            </a:r>
            <a:endParaRPr lang="en-US" sz="1600">
              <a:solidFill>
                <a:schemeClr val="bg1"/>
              </a:solidFill>
            </a:endParaRPr>
          </a:p>
        </p:txBody>
      </p:sp>
      <p:sp>
        <p:nvSpPr>
          <p:cNvPr id="8" name="Text 7">
            <a:extLst>
              <a:ext uri="{FF2B5EF4-FFF2-40B4-BE49-F238E27FC236}">
                <a16:creationId xmlns:a16="http://schemas.microsoft.com/office/drawing/2014/main" id="{AFE00182-1752-B4E4-291E-D32E2013509B}"/>
              </a:ext>
            </a:extLst>
          </p:cNvPr>
          <p:cNvSpPr/>
          <p:nvPr/>
        </p:nvSpPr>
        <p:spPr>
          <a:xfrm>
            <a:off x="626905" y="2621978"/>
            <a:ext cx="2878296" cy="979270"/>
          </a:xfrm>
          <a:prstGeom prst="rect">
            <a:avLst/>
          </a:prstGeom>
          <a:noFill/>
          <a:ln/>
        </p:spPr>
        <p:txBody>
          <a:bodyPr wrap="square" lIns="0" tIns="0" rIns="0" bIns="0" rtlCol="0" anchor="t"/>
          <a:lstStyle/>
          <a:p>
            <a:pPr marL="0" indent="0" algn="l">
              <a:buNone/>
            </a:pPr>
            <a:r>
              <a:rPr lang="en-US" sz="1600">
                <a:solidFill>
                  <a:schemeClr val="bg1"/>
                </a:solidFill>
                <a:latin typeface="Montserrat" pitchFamily="34" charset="0"/>
                <a:ea typeface="Montserrat" pitchFamily="34" charset="-122"/>
                <a:cs typeface="Montserrat" pitchFamily="34" charset="-120"/>
              </a:rPr>
              <a:t>Rapid growth exposes gaps in performance systems. Ad hoc escalations and firefighting become unsustainable as teams expand across locations and functions.</a:t>
            </a:r>
            <a:endParaRPr lang="en-US" sz="1600">
              <a:solidFill>
                <a:schemeClr val="bg1"/>
              </a:solidFill>
            </a:endParaRPr>
          </a:p>
        </p:txBody>
      </p:sp>
      <p:sp>
        <p:nvSpPr>
          <p:cNvPr id="9" name="Shape 8">
            <a:extLst>
              <a:ext uri="{FF2B5EF4-FFF2-40B4-BE49-F238E27FC236}">
                <a16:creationId xmlns:a16="http://schemas.microsoft.com/office/drawing/2014/main" id="{25C50E75-933B-B39A-6A1F-471CF10DF66D}"/>
              </a:ext>
            </a:extLst>
          </p:cNvPr>
          <p:cNvSpPr/>
          <p:nvPr/>
        </p:nvSpPr>
        <p:spPr>
          <a:xfrm>
            <a:off x="4410757" y="2246436"/>
            <a:ext cx="3200400" cy="2379622"/>
          </a:xfrm>
          <a:prstGeom prst="roundRect">
            <a:avLst>
              <a:gd name="adj" fmla="val 3205"/>
            </a:avLst>
          </a:prstGeom>
          <a:solidFill>
            <a:schemeClr val="accent1"/>
          </a:solidFill>
          <a:ln w="7620">
            <a:solidFill>
              <a:srgbClr val="E4C0B3"/>
            </a:solidFill>
            <a:prstDash val="solid"/>
          </a:ln>
        </p:spPr>
        <p:txBody>
          <a:bodyPr/>
          <a:lstStyle/>
          <a:p>
            <a:endParaRPr lang="en-US"/>
          </a:p>
        </p:txBody>
      </p:sp>
      <p:grpSp>
        <p:nvGrpSpPr>
          <p:cNvPr id="25" name="Group 24">
            <a:extLst>
              <a:ext uri="{FF2B5EF4-FFF2-40B4-BE49-F238E27FC236}">
                <a16:creationId xmlns:a16="http://schemas.microsoft.com/office/drawing/2014/main" id="{5F0BD060-B83C-4D82-7809-0FB293E2F6E0}"/>
              </a:ext>
            </a:extLst>
          </p:cNvPr>
          <p:cNvGrpSpPr>
            <a:grpSpLocks noChangeAspect="1"/>
          </p:cNvGrpSpPr>
          <p:nvPr/>
        </p:nvGrpSpPr>
        <p:grpSpPr>
          <a:xfrm>
            <a:off x="5582396" y="-1550213"/>
            <a:ext cx="1380744" cy="1380744"/>
            <a:chOff x="5166996" y="2492866"/>
            <a:chExt cx="310158" cy="310158"/>
          </a:xfrm>
        </p:grpSpPr>
        <p:sp>
          <p:nvSpPr>
            <p:cNvPr id="10" name="Shape 9">
              <a:extLst>
                <a:ext uri="{FF2B5EF4-FFF2-40B4-BE49-F238E27FC236}">
                  <a16:creationId xmlns:a16="http://schemas.microsoft.com/office/drawing/2014/main" id="{771D4F2E-20BB-8C85-5BDD-4F8778870540}"/>
                </a:ext>
              </a:extLst>
            </p:cNvPr>
            <p:cNvSpPr/>
            <p:nvPr/>
          </p:nvSpPr>
          <p:spPr>
            <a:xfrm>
              <a:off x="5166996" y="2492866"/>
              <a:ext cx="310158" cy="310158"/>
            </a:xfrm>
            <a:prstGeom prst="roundRect">
              <a:avLst>
                <a:gd name="adj" fmla="val 29478800"/>
              </a:avLst>
            </a:prstGeom>
            <a:solidFill>
              <a:srgbClr val="DA3C04"/>
            </a:solidFill>
            <a:ln/>
          </p:spPr>
          <p:txBody>
            <a:bodyPr/>
            <a:lstStyle/>
            <a:p>
              <a:endParaRPr lang="en-US"/>
            </a:p>
          </p:txBody>
        </p:sp>
        <p:pic>
          <p:nvPicPr>
            <p:cNvPr id="11" name="Image 2" descr="preencoded.png">
              <a:extLst>
                <a:ext uri="{FF2B5EF4-FFF2-40B4-BE49-F238E27FC236}">
                  <a16:creationId xmlns:a16="http://schemas.microsoft.com/office/drawing/2014/main" id="{A29F18AB-F4D9-1F6D-4001-BE555B60294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52245" y="2578115"/>
              <a:ext cx="139541" cy="139541"/>
            </a:xfrm>
            <a:prstGeom prst="rect">
              <a:avLst/>
            </a:prstGeom>
          </p:spPr>
        </p:pic>
      </p:grpSp>
      <p:sp>
        <p:nvSpPr>
          <p:cNvPr id="12" name="Text 10">
            <a:extLst>
              <a:ext uri="{FF2B5EF4-FFF2-40B4-BE49-F238E27FC236}">
                <a16:creationId xmlns:a16="http://schemas.microsoft.com/office/drawing/2014/main" id="{7761DBE7-CFC0-9CBA-BFF0-BBB4421D68A7}"/>
              </a:ext>
            </a:extLst>
          </p:cNvPr>
          <p:cNvSpPr/>
          <p:nvPr/>
        </p:nvSpPr>
        <p:spPr>
          <a:xfrm>
            <a:off x="4521723" y="2381441"/>
            <a:ext cx="1379696" cy="161568"/>
          </a:xfrm>
          <a:prstGeom prst="rect">
            <a:avLst/>
          </a:prstGeom>
          <a:noFill/>
          <a:ln/>
        </p:spPr>
        <p:txBody>
          <a:bodyPr wrap="none" lIns="0" tIns="0" rIns="0" bIns="0" rtlCol="0" anchor="t"/>
          <a:lstStyle/>
          <a:p>
            <a:pPr marL="0" indent="0" algn="l">
              <a:lnSpc>
                <a:spcPts val="1250"/>
              </a:lnSpc>
              <a:buNone/>
            </a:pPr>
            <a:r>
              <a:rPr lang="en-US" sz="1600" b="1">
                <a:solidFill>
                  <a:schemeClr val="bg1"/>
                </a:solidFill>
                <a:latin typeface="Montserrat Bold" pitchFamily="34" charset="0"/>
                <a:ea typeface="Montserrat Bold" pitchFamily="34" charset="-122"/>
                <a:cs typeface="Montserrat Bold" pitchFamily="34" charset="-120"/>
              </a:rPr>
              <a:t>Manager Ownership</a:t>
            </a:r>
            <a:endParaRPr lang="en-US" sz="1600">
              <a:solidFill>
                <a:schemeClr val="bg1"/>
              </a:solidFill>
            </a:endParaRPr>
          </a:p>
        </p:txBody>
      </p:sp>
      <p:sp>
        <p:nvSpPr>
          <p:cNvPr id="13" name="Text 11">
            <a:extLst>
              <a:ext uri="{FF2B5EF4-FFF2-40B4-BE49-F238E27FC236}">
                <a16:creationId xmlns:a16="http://schemas.microsoft.com/office/drawing/2014/main" id="{91586D28-F4B1-6518-C3AA-A42B8DBDBFB7}"/>
              </a:ext>
            </a:extLst>
          </p:cNvPr>
          <p:cNvSpPr/>
          <p:nvPr/>
        </p:nvSpPr>
        <p:spPr>
          <a:xfrm>
            <a:off x="4521723" y="2621978"/>
            <a:ext cx="2880360" cy="979270"/>
          </a:xfrm>
          <a:prstGeom prst="rect">
            <a:avLst/>
          </a:prstGeom>
          <a:noFill/>
          <a:ln/>
        </p:spPr>
        <p:txBody>
          <a:bodyPr wrap="square" lIns="0" tIns="0" rIns="0" bIns="0" rtlCol="0" anchor="t"/>
          <a:lstStyle/>
          <a:p>
            <a:pPr marL="0" indent="0" algn="l">
              <a:buNone/>
            </a:pPr>
            <a:r>
              <a:rPr lang="en-US" sz="1600">
                <a:solidFill>
                  <a:schemeClr val="bg1"/>
                </a:solidFill>
                <a:latin typeface="Montserrat" pitchFamily="34" charset="0"/>
                <a:ea typeface="Montserrat" pitchFamily="34" charset="-122"/>
                <a:cs typeface="Montserrat" pitchFamily="34" charset="-120"/>
              </a:rPr>
              <a:t>Leaders must transition from operational oversight to enterprise stewardship. Managers need capability and authority to resolve issues at the source, not dependency on escalation.</a:t>
            </a:r>
            <a:endParaRPr lang="en-US" sz="1600">
              <a:solidFill>
                <a:schemeClr val="bg1"/>
              </a:solidFill>
            </a:endParaRPr>
          </a:p>
        </p:txBody>
      </p:sp>
      <p:sp>
        <p:nvSpPr>
          <p:cNvPr id="14" name="Shape 12">
            <a:extLst>
              <a:ext uri="{FF2B5EF4-FFF2-40B4-BE49-F238E27FC236}">
                <a16:creationId xmlns:a16="http://schemas.microsoft.com/office/drawing/2014/main" id="{83D4E88D-DB92-5630-4A15-A4D9937F3ACE}"/>
              </a:ext>
            </a:extLst>
          </p:cNvPr>
          <p:cNvSpPr/>
          <p:nvPr/>
        </p:nvSpPr>
        <p:spPr>
          <a:xfrm>
            <a:off x="8469768" y="2246436"/>
            <a:ext cx="3200400" cy="2379622"/>
          </a:xfrm>
          <a:prstGeom prst="roundRect">
            <a:avLst>
              <a:gd name="adj" fmla="val 3205"/>
            </a:avLst>
          </a:prstGeom>
          <a:solidFill>
            <a:schemeClr val="accent1"/>
          </a:solidFill>
          <a:ln w="7620">
            <a:solidFill>
              <a:srgbClr val="E4C0B3"/>
            </a:solidFill>
            <a:prstDash val="solid"/>
          </a:ln>
        </p:spPr>
        <p:txBody>
          <a:bodyPr/>
          <a:lstStyle/>
          <a:p>
            <a:endParaRPr lang="en-US"/>
          </a:p>
        </p:txBody>
      </p:sp>
      <p:grpSp>
        <p:nvGrpSpPr>
          <p:cNvPr id="26" name="Group 25">
            <a:extLst>
              <a:ext uri="{FF2B5EF4-FFF2-40B4-BE49-F238E27FC236}">
                <a16:creationId xmlns:a16="http://schemas.microsoft.com/office/drawing/2014/main" id="{2FC165EF-8EFC-35C2-C6F3-374F950FBE71}"/>
              </a:ext>
            </a:extLst>
          </p:cNvPr>
          <p:cNvGrpSpPr>
            <a:grpSpLocks noChangeAspect="1"/>
          </p:cNvGrpSpPr>
          <p:nvPr/>
        </p:nvGrpSpPr>
        <p:grpSpPr>
          <a:xfrm>
            <a:off x="9128898" y="-1473403"/>
            <a:ext cx="1380744" cy="1380744"/>
            <a:chOff x="9707087" y="2492866"/>
            <a:chExt cx="310158" cy="310158"/>
          </a:xfrm>
        </p:grpSpPr>
        <p:sp>
          <p:nvSpPr>
            <p:cNvPr id="15" name="Shape 13">
              <a:extLst>
                <a:ext uri="{FF2B5EF4-FFF2-40B4-BE49-F238E27FC236}">
                  <a16:creationId xmlns:a16="http://schemas.microsoft.com/office/drawing/2014/main" id="{5F4E4FB8-BCDA-DF72-E1F9-F4ED7318DF51}"/>
                </a:ext>
              </a:extLst>
            </p:cNvPr>
            <p:cNvSpPr/>
            <p:nvPr/>
          </p:nvSpPr>
          <p:spPr>
            <a:xfrm>
              <a:off x="9707087" y="2492866"/>
              <a:ext cx="310158" cy="310158"/>
            </a:xfrm>
            <a:prstGeom prst="roundRect">
              <a:avLst>
                <a:gd name="adj" fmla="val 29478800"/>
              </a:avLst>
            </a:prstGeom>
            <a:solidFill>
              <a:srgbClr val="DA3C04"/>
            </a:solidFill>
            <a:ln/>
          </p:spPr>
          <p:txBody>
            <a:bodyPr/>
            <a:lstStyle/>
            <a:p>
              <a:endParaRPr lang="en-US"/>
            </a:p>
          </p:txBody>
        </p:sp>
        <p:pic>
          <p:nvPicPr>
            <p:cNvPr id="16" name="Image 3" descr="preencoded.png">
              <a:extLst>
                <a:ext uri="{FF2B5EF4-FFF2-40B4-BE49-F238E27FC236}">
                  <a16:creationId xmlns:a16="http://schemas.microsoft.com/office/drawing/2014/main" id="{EF1655AD-C57B-5102-66D9-F2B76709185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92336" y="2578115"/>
              <a:ext cx="139541" cy="139541"/>
            </a:xfrm>
            <a:prstGeom prst="rect">
              <a:avLst/>
            </a:prstGeom>
          </p:spPr>
        </p:pic>
      </p:grpSp>
      <p:sp>
        <p:nvSpPr>
          <p:cNvPr id="17" name="Text 14">
            <a:extLst>
              <a:ext uri="{FF2B5EF4-FFF2-40B4-BE49-F238E27FC236}">
                <a16:creationId xmlns:a16="http://schemas.microsoft.com/office/drawing/2014/main" id="{2942C14F-7F79-81FA-153D-B783EE62850C}"/>
              </a:ext>
            </a:extLst>
          </p:cNvPr>
          <p:cNvSpPr/>
          <p:nvPr/>
        </p:nvSpPr>
        <p:spPr>
          <a:xfrm>
            <a:off x="8580734" y="2381441"/>
            <a:ext cx="1292423" cy="161568"/>
          </a:xfrm>
          <a:prstGeom prst="rect">
            <a:avLst/>
          </a:prstGeom>
          <a:noFill/>
          <a:ln/>
        </p:spPr>
        <p:txBody>
          <a:bodyPr wrap="none" lIns="0" tIns="0" rIns="0" bIns="0" rtlCol="0" anchor="t"/>
          <a:lstStyle/>
          <a:p>
            <a:pPr marL="0" indent="0" algn="l">
              <a:lnSpc>
                <a:spcPts val="1250"/>
              </a:lnSpc>
              <a:buNone/>
            </a:pPr>
            <a:r>
              <a:rPr lang="en-US" sz="1600" b="1">
                <a:solidFill>
                  <a:schemeClr val="bg1"/>
                </a:solidFill>
                <a:latin typeface="Montserrat Bold" pitchFamily="34" charset="0"/>
                <a:ea typeface="Montserrat Bold" pitchFamily="34" charset="-122"/>
                <a:cs typeface="Montserrat Bold" pitchFamily="34" charset="-120"/>
              </a:rPr>
              <a:t>Cultural Alignment</a:t>
            </a:r>
            <a:endParaRPr lang="en-US" sz="1600">
              <a:solidFill>
                <a:schemeClr val="bg1"/>
              </a:solidFill>
            </a:endParaRPr>
          </a:p>
        </p:txBody>
      </p:sp>
      <p:sp>
        <p:nvSpPr>
          <p:cNvPr id="18" name="Text 15">
            <a:extLst>
              <a:ext uri="{FF2B5EF4-FFF2-40B4-BE49-F238E27FC236}">
                <a16:creationId xmlns:a16="http://schemas.microsoft.com/office/drawing/2014/main" id="{C761F05B-FD5D-E52B-679D-30535687F67A}"/>
              </a:ext>
            </a:extLst>
          </p:cNvPr>
          <p:cNvSpPr/>
          <p:nvPr/>
        </p:nvSpPr>
        <p:spPr>
          <a:xfrm>
            <a:off x="8580734" y="2621977"/>
            <a:ext cx="2880360" cy="883173"/>
          </a:xfrm>
          <a:prstGeom prst="rect">
            <a:avLst/>
          </a:prstGeom>
          <a:noFill/>
          <a:ln/>
        </p:spPr>
        <p:txBody>
          <a:bodyPr wrap="square" lIns="0" tIns="0" rIns="0" bIns="0" rtlCol="0" anchor="t"/>
          <a:lstStyle/>
          <a:p>
            <a:pPr marL="0" indent="0" algn="l">
              <a:buNone/>
            </a:pPr>
            <a:r>
              <a:rPr lang="en-US" sz="1600">
                <a:solidFill>
                  <a:schemeClr val="bg1"/>
                </a:solidFill>
                <a:latin typeface="Montserrat" pitchFamily="34" charset="0"/>
                <a:ea typeface="Montserrat" pitchFamily="34" charset="-122"/>
                <a:cs typeface="Montserrat" pitchFamily="34" charset="-120"/>
              </a:rPr>
              <a:t>GCC performance standards must mirror HQ expectations. Clear non-negotiables and data-driven decision frameworks create consistency across geographies.</a:t>
            </a:r>
            <a:endParaRPr lang="en-US" sz="1600">
              <a:solidFill>
                <a:schemeClr val="bg1"/>
              </a:solidFill>
            </a:endParaRPr>
          </a:p>
        </p:txBody>
      </p:sp>
      <p:sp>
        <p:nvSpPr>
          <p:cNvPr id="20" name="Text 17">
            <a:extLst>
              <a:ext uri="{FF2B5EF4-FFF2-40B4-BE49-F238E27FC236}">
                <a16:creationId xmlns:a16="http://schemas.microsoft.com/office/drawing/2014/main" id="{50C08DA0-BF7D-FD4C-97F3-11F3810150B3}"/>
              </a:ext>
            </a:extLst>
          </p:cNvPr>
          <p:cNvSpPr/>
          <p:nvPr/>
        </p:nvSpPr>
        <p:spPr>
          <a:xfrm>
            <a:off x="556736" y="4712853"/>
            <a:ext cx="3276007" cy="330517"/>
          </a:xfrm>
          <a:prstGeom prst="rect">
            <a:avLst/>
          </a:prstGeom>
          <a:noFill/>
          <a:ln/>
        </p:spPr>
        <p:txBody>
          <a:bodyPr wrap="none" lIns="0" tIns="0" rIns="0" bIns="0" rtlCol="0" anchor="t"/>
          <a:lstStyle/>
          <a:p>
            <a:pPr marL="0" indent="0" algn="l">
              <a:buNone/>
            </a:pPr>
            <a:r>
              <a:rPr lang="en-US" b="1">
                <a:solidFill>
                  <a:srgbClr val="000000"/>
                </a:solidFill>
                <a:latin typeface="Montserrat Bold" pitchFamily="34" charset="0"/>
                <a:ea typeface="Montserrat Bold" pitchFamily="34" charset="-122"/>
                <a:cs typeface="Montserrat Bold" pitchFamily="34" charset="-120"/>
              </a:rPr>
              <a:t>Diagnose Barriers</a:t>
            </a:r>
            <a:endParaRPr lang="en-US"/>
          </a:p>
        </p:txBody>
      </p:sp>
      <p:sp>
        <p:nvSpPr>
          <p:cNvPr id="21" name="Text 18">
            <a:extLst>
              <a:ext uri="{FF2B5EF4-FFF2-40B4-BE49-F238E27FC236}">
                <a16:creationId xmlns:a16="http://schemas.microsoft.com/office/drawing/2014/main" id="{CB90C98D-8C1D-3D14-3B23-4D404B413B69}"/>
              </a:ext>
            </a:extLst>
          </p:cNvPr>
          <p:cNvSpPr/>
          <p:nvPr/>
        </p:nvSpPr>
        <p:spPr>
          <a:xfrm>
            <a:off x="556736" y="5130165"/>
            <a:ext cx="4937760" cy="330517"/>
          </a:xfrm>
          <a:prstGeom prst="rect">
            <a:avLst/>
          </a:prstGeom>
          <a:noFill/>
          <a:ln/>
        </p:spPr>
        <p:txBody>
          <a:bodyPr wrap="square" lIns="0" tIns="0" rIns="0" bIns="0" rtlCol="0" anchor="t"/>
          <a:lstStyle/>
          <a:p>
            <a:pPr marL="0" indent="0" algn="l">
              <a:buNone/>
            </a:pPr>
            <a:r>
              <a:rPr lang="en-US" sz="1600">
                <a:solidFill>
                  <a:srgbClr val="333333"/>
                </a:solidFill>
                <a:latin typeface="Montserrat" pitchFamily="34" charset="0"/>
                <a:ea typeface="Montserrat" pitchFamily="34" charset="-122"/>
                <a:cs typeface="Montserrat" pitchFamily="34" charset="-120"/>
              </a:rPr>
              <a:t>Use performance data to identify systemic bottlenecks. Move beyond anecdotal evidence to understand root causes: skill gaps, unclear expectations, or structural impediments.</a:t>
            </a:r>
            <a:endParaRPr lang="en-US" sz="1600"/>
          </a:p>
        </p:txBody>
      </p:sp>
      <p:sp>
        <p:nvSpPr>
          <p:cNvPr id="22" name="Text 19">
            <a:extLst>
              <a:ext uri="{FF2B5EF4-FFF2-40B4-BE49-F238E27FC236}">
                <a16:creationId xmlns:a16="http://schemas.microsoft.com/office/drawing/2014/main" id="{55D7764F-9EEE-591D-DFC3-E38D53C90465}"/>
              </a:ext>
            </a:extLst>
          </p:cNvPr>
          <p:cNvSpPr/>
          <p:nvPr/>
        </p:nvSpPr>
        <p:spPr>
          <a:xfrm>
            <a:off x="6788510" y="4712853"/>
            <a:ext cx="3480024" cy="330517"/>
          </a:xfrm>
          <a:prstGeom prst="rect">
            <a:avLst/>
          </a:prstGeom>
          <a:noFill/>
          <a:ln/>
        </p:spPr>
        <p:txBody>
          <a:bodyPr wrap="none" lIns="0" tIns="0" rIns="0" bIns="0" rtlCol="0" anchor="t"/>
          <a:lstStyle/>
          <a:p>
            <a:pPr marL="0" indent="0" algn="l">
              <a:buNone/>
            </a:pPr>
            <a:r>
              <a:rPr lang="en-US" b="1">
                <a:solidFill>
                  <a:srgbClr val="000000"/>
                </a:solidFill>
                <a:latin typeface="Montserrat Bold" pitchFamily="34" charset="0"/>
                <a:ea typeface="Montserrat Bold" pitchFamily="34" charset="-122"/>
                <a:cs typeface="Montserrat Bold" pitchFamily="34" charset="-120"/>
              </a:rPr>
              <a:t>Build Accountability</a:t>
            </a:r>
            <a:endParaRPr lang="en-US"/>
          </a:p>
        </p:txBody>
      </p:sp>
      <p:sp>
        <p:nvSpPr>
          <p:cNvPr id="23" name="Text 20">
            <a:extLst>
              <a:ext uri="{FF2B5EF4-FFF2-40B4-BE49-F238E27FC236}">
                <a16:creationId xmlns:a16="http://schemas.microsoft.com/office/drawing/2014/main" id="{1CF6D25E-A123-7B24-9978-E374AAA0AFA0}"/>
              </a:ext>
            </a:extLst>
          </p:cNvPr>
          <p:cNvSpPr/>
          <p:nvPr/>
        </p:nvSpPr>
        <p:spPr>
          <a:xfrm>
            <a:off x="6788510" y="5130165"/>
            <a:ext cx="4937760" cy="330517"/>
          </a:xfrm>
          <a:prstGeom prst="rect">
            <a:avLst/>
          </a:prstGeom>
          <a:noFill/>
          <a:ln/>
        </p:spPr>
        <p:txBody>
          <a:bodyPr wrap="square" lIns="0" tIns="0" rIns="0" bIns="0" rtlCol="0" anchor="t"/>
          <a:lstStyle/>
          <a:p>
            <a:pPr marL="0" indent="0" algn="l">
              <a:buNone/>
            </a:pPr>
            <a:r>
              <a:rPr lang="en-US" sz="1600">
                <a:solidFill>
                  <a:srgbClr val="333333"/>
                </a:solidFill>
                <a:latin typeface="Montserrat" pitchFamily="34" charset="0"/>
                <a:ea typeface="Montserrat" pitchFamily="34" charset="-122"/>
                <a:cs typeface="Montserrat" pitchFamily="34" charset="-120"/>
              </a:rPr>
              <a:t>Equip leaders with GCC-specific tools and scenarios. Develop capabilities to coach, intervene, and reinforce standards through consistent, repeatable processes.</a:t>
            </a:r>
            <a:endParaRPr lang="en-US" sz="1600"/>
          </a:p>
        </p:txBody>
      </p:sp>
    </p:spTree>
    <p:extLst>
      <p:ext uri="{BB962C8B-B14F-4D97-AF65-F5344CB8AC3E}">
        <p14:creationId xmlns:p14="http://schemas.microsoft.com/office/powerpoint/2010/main" val="2422132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Shape 35">
            <a:extLst>
              <a:ext uri="{FF2B5EF4-FFF2-40B4-BE49-F238E27FC236}">
                <a16:creationId xmlns:a16="http://schemas.microsoft.com/office/drawing/2014/main" id="{6DD01C6D-4BB7-BDE1-8A0F-99FF27950422}"/>
              </a:ext>
            </a:extLst>
          </p:cNvPr>
          <p:cNvSpPr/>
          <p:nvPr/>
        </p:nvSpPr>
        <p:spPr>
          <a:xfrm>
            <a:off x="2057629" y="4432652"/>
            <a:ext cx="3429000" cy="778384"/>
          </a:xfrm>
          <a:prstGeom prst="roundRect">
            <a:avLst>
              <a:gd name="adj" fmla="val 6740"/>
            </a:avLst>
          </a:prstGeom>
          <a:solidFill>
            <a:srgbClr val="F5F5F5"/>
          </a:solidFill>
          <a:ln/>
        </p:spPr>
        <p:txBody>
          <a:bodyPr/>
          <a:lstStyle/>
          <a:p>
            <a:endParaRPr lang="en-US" sz="1200"/>
          </a:p>
        </p:txBody>
      </p:sp>
      <p:sp>
        <p:nvSpPr>
          <p:cNvPr id="60" name="Shape 35">
            <a:extLst>
              <a:ext uri="{FF2B5EF4-FFF2-40B4-BE49-F238E27FC236}">
                <a16:creationId xmlns:a16="http://schemas.microsoft.com/office/drawing/2014/main" id="{40AEC16C-9EB6-525F-3FF2-80145B6BE18D}"/>
              </a:ext>
            </a:extLst>
          </p:cNvPr>
          <p:cNvSpPr/>
          <p:nvPr/>
        </p:nvSpPr>
        <p:spPr>
          <a:xfrm>
            <a:off x="6748391" y="4431090"/>
            <a:ext cx="3429000" cy="778384"/>
          </a:xfrm>
          <a:prstGeom prst="roundRect">
            <a:avLst>
              <a:gd name="adj" fmla="val 6740"/>
            </a:avLst>
          </a:prstGeom>
          <a:solidFill>
            <a:srgbClr val="F5F5F5"/>
          </a:solidFill>
          <a:ln/>
        </p:spPr>
        <p:txBody>
          <a:bodyPr/>
          <a:lstStyle/>
          <a:p>
            <a:endParaRPr lang="en-US" sz="1200"/>
          </a:p>
        </p:txBody>
      </p:sp>
      <p:graphicFrame>
        <p:nvGraphicFramePr>
          <p:cNvPr id="11" name="think-cell data - do not delete" hidden="1">
            <a:extLst>
              <a:ext uri="{FF2B5EF4-FFF2-40B4-BE49-F238E27FC236}">
                <a16:creationId xmlns:a16="http://schemas.microsoft.com/office/drawing/2014/main" id="{A5FCBA71-635C-605B-7697-425E7C2342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think-cell data - do not delete" hidden="1">
                        <a:extLst>
                          <a:ext uri="{FF2B5EF4-FFF2-40B4-BE49-F238E27FC236}">
                            <a16:creationId xmlns:a16="http://schemas.microsoft.com/office/drawing/2014/main" id="{A5FCBA71-635C-605B-7697-425E7C2342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5791D46-46B2-851F-C88B-3C8B469E9926}"/>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solidFill>
                  <a:schemeClr val="bg1"/>
                </a:solidFill>
                <a:latin typeface="Moderat" pitchFamily="2" charset="77"/>
              </a:rPr>
              <a:t>Change Leadership &amp; Transformation</a:t>
            </a:r>
          </a:p>
        </p:txBody>
      </p:sp>
      <p:sp>
        <p:nvSpPr>
          <p:cNvPr id="3" name="Text 33">
            <a:extLst>
              <a:ext uri="{FF2B5EF4-FFF2-40B4-BE49-F238E27FC236}">
                <a16:creationId xmlns:a16="http://schemas.microsoft.com/office/drawing/2014/main" id="{59039F12-583D-CA3A-45B4-CF5507BACC19}"/>
              </a:ext>
            </a:extLst>
          </p:cNvPr>
          <p:cNvSpPr/>
          <p:nvPr/>
        </p:nvSpPr>
        <p:spPr>
          <a:xfrm>
            <a:off x="412841" y="2683205"/>
            <a:ext cx="4409669" cy="369332"/>
          </a:xfrm>
          <a:prstGeom prst="rect">
            <a:avLst/>
          </a:prstGeom>
          <a:noFill/>
        </p:spPr>
        <p:txBody>
          <a:bodyPr wrap="none" rtlCol="0">
            <a:spAutoFit/>
          </a:bodyPr>
          <a:lstStyle/>
          <a:p>
            <a:r>
              <a:rPr lang="en-US" b="1">
                <a:solidFill>
                  <a:schemeClr val="accent1"/>
                </a:solidFill>
              </a:rPr>
              <a:t>Director-Level Change Leadership in Practice</a:t>
            </a:r>
          </a:p>
        </p:txBody>
      </p:sp>
      <p:grpSp>
        <p:nvGrpSpPr>
          <p:cNvPr id="44" name="Group 43">
            <a:extLst>
              <a:ext uri="{FF2B5EF4-FFF2-40B4-BE49-F238E27FC236}">
                <a16:creationId xmlns:a16="http://schemas.microsoft.com/office/drawing/2014/main" id="{F2B5173A-936B-981D-F3B2-46EFA28F98F4}"/>
              </a:ext>
            </a:extLst>
          </p:cNvPr>
          <p:cNvGrpSpPr/>
          <p:nvPr/>
        </p:nvGrpSpPr>
        <p:grpSpPr>
          <a:xfrm>
            <a:off x="412840" y="3029902"/>
            <a:ext cx="3520902" cy="947334"/>
            <a:chOff x="412840" y="3029902"/>
            <a:chExt cx="3520902" cy="947334"/>
          </a:xfrm>
        </p:grpSpPr>
        <p:sp>
          <p:nvSpPr>
            <p:cNvPr id="5" name="Shape 35">
              <a:extLst>
                <a:ext uri="{FF2B5EF4-FFF2-40B4-BE49-F238E27FC236}">
                  <a16:creationId xmlns:a16="http://schemas.microsoft.com/office/drawing/2014/main" id="{7E30A532-1D9A-EEAA-ABBC-2C98DB41B0C2}"/>
                </a:ext>
              </a:extLst>
            </p:cNvPr>
            <p:cNvSpPr/>
            <p:nvPr/>
          </p:nvSpPr>
          <p:spPr>
            <a:xfrm>
              <a:off x="412840" y="3198852"/>
              <a:ext cx="3429000" cy="778384"/>
            </a:xfrm>
            <a:prstGeom prst="roundRect">
              <a:avLst>
                <a:gd name="adj" fmla="val 6740"/>
              </a:avLst>
            </a:prstGeom>
            <a:solidFill>
              <a:srgbClr val="F5F5F5"/>
            </a:solidFill>
            <a:ln/>
          </p:spPr>
          <p:txBody>
            <a:bodyPr/>
            <a:lstStyle/>
            <a:p>
              <a:endParaRPr lang="en-US" sz="1200"/>
            </a:p>
          </p:txBody>
        </p:sp>
        <p:sp>
          <p:nvSpPr>
            <p:cNvPr id="6" name="Shape 36">
              <a:extLst>
                <a:ext uri="{FF2B5EF4-FFF2-40B4-BE49-F238E27FC236}">
                  <a16:creationId xmlns:a16="http://schemas.microsoft.com/office/drawing/2014/main" id="{06046F18-3DED-B374-2D66-9AA2F6DDA657}"/>
                </a:ext>
              </a:extLst>
            </p:cNvPr>
            <p:cNvSpPr/>
            <p:nvPr/>
          </p:nvSpPr>
          <p:spPr>
            <a:xfrm>
              <a:off x="412841" y="3150054"/>
              <a:ext cx="3403461" cy="125457"/>
            </a:xfrm>
            <a:prstGeom prst="roundRect">
              <a:avLst>
                <a:gd name="adj" fmla="val 101581"/>
              </a:avLst>
            </a:prstGeom>
            <a:solidFill>
              <a:srgbClr val="015465"/>
            </a:solidFill>
            <a:ln/>
          </p:spPr>
          <p:txBody>
            <a:bodyPr/>
            <a:lstStyle/>
            <a:p>
              <a:endParaRPr lang="en-US" sz="1200"/>
            </a:p>
          </p:txBody>
        </p:sp>
        <p:grpSp>
          <p:nvGrpSpPr>
            <p:cNvPr id="43" name="Group 42">
              <a:extLst>
                <a:ext uri="{FF2B5EF4-FFF2-40B4-BE49-F238E27FC236}">
                  <a16:creationId xmlns:a16="http://schemas.microsoft.com/office/drawing/2014/main" id="{D67590A2-3148-8891-CA84-21E8D7D302A6}"/>
                </a:ext>
              </a:extLst>
            </p:cNvPr>
            <p:cNvGrpSpPr/>
            <p:nvPr/>
          </p:nvGrpSpPr>
          <p:grpSpPr>
            <a:xfrm>
              <a:off x="1931691" y="3029902"/>
              <a:ext cx="365760" cy="365760"/>
              <a:chOff x="2583766" y="3029902"/>
              <a:chExt cx="365760" cy="365760"/>
            </a:xfrm>
          </p:grpSpPr>
          <p:sp>
            <p:nvSpPr>
              <p:cNvPr id="7" name="Shape 37">
                <a:extLst>
                  <a:ext uri="{FF2B5EF4-FFF2-40B4-BE49-F238E27FC236}">
                    <a16:creationId xmlns:a16="http://schemas.microsoft.com/office/drawing/2014/main" id="{B3BCE262-1712-43FA-33B3-A2D7C60D7540}"/>
                  </a:ext>
                </a:extLst>
              </p:cNvPr>
              <p:cNvSpPr/>
              <p:nvPr/>
            </p:nvSpPr>
            <p:spPr>
              <a:xfrm>
                <a:off x="2583766" y="3029902"/>
                <a:ext cx="365760" cy="365760"/>
              </a:xfrm>
              <a:prstGeom prst="roundRect">
                <a:avLst>
                  <a:gd name="adj" fmla="val 413570"/>
                </a:avLst>
              </a:prstGeom>
              <a:solidFill>
                <a:srgbClr val="015465"/>
              </a:solidFill>
              <a:ln/>
            </p:spPr>
            <p:txBody>
              <a:bodyPr/>
              <a:lstStyle/>
              <a:p>
                <a:endParaRPr lang="en-US" sz="1200"/>
              </a:p>
            </p:txBody>
          </p:sp>
          <p:sp>
            <p:nvSpPr>
              <p:cNvPr id="8" name="Text 38">
                <a:extLst>
                  <a:ext uri="{FF2B5EF4-FFF2-40B4-BE49-F238E27FC236}">
                    <a16:creationId xmlns:a16="http://schemas.microsoft.com/office/drawing/2014/main" id="{64B460A9-79D9-2D9C-A0EA-D56899F4F7BC}"/>
                  </a:ext>
                </a:extLst>
              </p:cNvPr>
              <p:cNvSpPr/>
              <p:nvPr/>
            </p:nvSpPr>
            <p:spPr>
              <a:xfrm>
                <a:off x="2722474" y="3157537"/>
                <a:ext cx="88344" cy="110490"/>
              </a:xfrm>
              <a:prstGeom prst="rect">
                <a:avLst/>
              </a:prstGeom>
              <a:noFill/>
              <a:ln/>
            </p:spPr>
            <p:txBody>
              <a:bodyPr wrap="none" lIns="0" tIns="0" rIns="0" bIns="0" rtlCol="0" anchor="t"/>
              <a:lstStyle/>
              <a:p>
                <a:pPr marL="0" indent="0" algn="l">
                  <a:lnSpc>
                    <a:spcPts val="1100"/>
                  </a:lnSpc>
                  <a:buNone/>
                </a:pPr>
                <a:r>
                  <a:rPr lang="en-US" sz="1200" b="1">
                    <a:solidFill>
                      <a:srgbClr val="FFFFFF"/>
                    </a:solidFill>
                    <a:latin typeface="Inter Bold" pitchFamily="34" charset="0"/>
                    <a:ea typeface="Inter Bold" pitchFamily="34" charset="-122"/>
                    <a:cs typeface="Inter Bold" pitchFamily="34" charset="-120"/>
                  </a:rPr>
                  <a:t>1</a:t>
                </a:r>
                <a:endParaRPr lang="en-US" sz="1200"/>
              </a:p>
            </p:txBody>
          </p:sp>
        </p:grpSp>
        <p:sp>
          <p:nvSpPr>
            <p:cNvPr id="9" name="Text 39">
              <a:extLst>
                <a:ext uri="{FF2B5EF4-FFF2-40B4-BE49-F238E27FC236}">
                  <a16:creationId xmlns:a16="http://schemas.microsoft.com/office/drawing/2014/main" id="{80BC8AD8-F0D9-781C-D52A-E4DB020CA4FF}"/>
                </a:ext>
              </a:extLst>
            </p:cNvPr>
            <p:cNvSpPr/>
            <p:nvPr/>
          </p:nvSpPr>
          <p:spPr>
            <a:xfrm>
              <a:off x="494161" y="3383042"/>
              <a:ext cx="927021" cy="115133"/>
            </a:xfrm>
            <a:prstGeom prst="rect">
              <a:avLst/>
            </a:prstGeom>
            <a:noFill/>
            <a:ln/>
          </p:spPr>
          <p:txBody>
            <a:bodyPr wrap="none" lIns="0" tIns="0" rIns="0" bIns="0" rtlCol="0" anchor="t"/>
            <a:lstStyle/>
            <a:p>
              <a:pPr marL="0" indent="0" algn="l">
                <a:lnSpc>
                  <a:spcPts val="900"/>
                </a:lnSpc>
                <a:buNone/>
              </a:pPr>
              <a:r>
                <a:rPr lang="en-US" sz="1200" b="1">
                  <a:solidFill>
                    <a:srgbClr val="333333"/>
                  </a:solidFill>
                  <a:latin typeface="Inter Bold" pitchFamily="34" charset="0"/>
                  <a:ea typeface="Inter Bold" pitchFamily="34" charset="-122"/>
                  <a:cs typeface="Inter Bold" pitchFamily="34" charset="-120"/>
                </a:rPr>
                <a:t>Redesign Workflows</a:t>
              </a:r>
              <a:endParaRPr lang="en-US" sz="1200"/>
            </a:p>
          </p:txBody>
        </p:sp>
        <p:sp>
          <p:nvSpPr>
            <p:cNvPr id="10" name="Text 40">
              <a:extLst>
                <a:ext uri="{FF2B5EF4-FFF2-40B4-BE49-F238E27FC236}">
                  <a16:creationId xmlns:a16="http://schemas.microsoft.com/office/drawing/2014/main" id="{9661E1B5-28D3-702E-D206-F527B3815B3A}"/>
                </a:ext>
              </a:extLst>
            </p:cNvPr>
            <p:cNvSpPr/>
            <p:nvPr/>
          </p:nvSpPr>
          <p:spPr>
            <a:xfrm>
              <a:off x="494162" y="3542347"/>
              <a:ext cx="3439580" cy="221099"/>
            </a:xfrm>
            <a:prstGeom prst="rect">
              <a:avLst/>
            </a:prstGeom>
            <a:noFill/>
            <a:ln/>
          </p:spPr>
          <p:txBody>
            <a:bodyPr wrap="square" lIns="0" tIns="0" rIns="0" bIns="0" rtlCol="0" anchor="t"/>
            <a:lstStyle/>
            <a:p>
              <a:pPr marL="0" indent="0" algn="l">
                <a:buNone/>
              </a:pPr>
              <a:r>
                <a:rPr lang="en-US" sz="1200">
                  <a:solidFill>
                    <a:srgbClr val="333333"/>
                  </a:solidFill>
                  <a:latin typeface="Inter" pitchFamily="34" charset="0"/>
                  <a:ea typeface="Inter" pitchFamily="34" charset="-122"/>
                  <a:cs typeface="Inter" pitchFamily="34" charset="-120"/>
                </a:rPr>
                <a:t>Reshape decision flows and operating rhythms—not just messaging. Change how work gets done.</a:t>
              </a:r>
              <a:endParaRPr lang="en-US" sz="1200"/>
            </a:p>
          </p:txBody>
        </p:sp>
      </p:grpSp>
      <p:grpSp>
        <p:nvGrpSpPr>
          <p:cNvPr id="45" name="Group 44">
            <a:extLst>
              <a:ext uri="{FF2B5EF4-FFF2-40B4-BE49-F238E27FC236}">
                <a16:creationId xmlns:a16="http://schemas.microsoft.com/office/drawing/2014/main" id="{FF6E9175-1C1C-3DE6-8981-349093FC6D4A}"/>
              </a:ext>
            </a:extLst>
          </p:cNvPr>
          <p:cNvGrpSpPr/>
          <p:nvPr/>
        </p:nvGrpSpPr>
        <p:grpSpPr>
          <a:xfrm>
            <a:off x="4444251" y="3198852"/>
            <a:ext cx="3429001" cy="771156"/>
            <a:chOff x="5051655" y="3206080"/>
            <a:chExt cx="3429001" cy="771156"/>
          </a:xfrm>
        </p:grpSpPr>
        <p:sp>
          <p:nvSpPr>
            <p:cNvPr id="12" name="Shape 41">
              <a:extLst>
                <a:ext uri="{FF2B5EF4-FFF2-40B4-BE49-F238E27FC236}">
                  <a16:creationId xmlns:a16="http://schemas.microsoft.com/office/drawing/2014/main" id="{F84F6B36-6F2E-4EFC-EC7C-5442436A349D}"/>
                </a:ext>
              </a:extLst>
            </p:cNvPr>
            <p:cNvSpPr/>
            <p:nvPr/>
          </p:nvSpPr>
          <p:spPr>
            <a:xfrm>
              <a:off x="5051655" y="3206080"/>
              <a:ext cx="3429000" cy="771156"/>
            </a:xfrm>
            <a:prstGeom prst="roundRect">
              <a:avLst>
                <a:gd name="adj" fmla="val 6740"/>
              </a:avLst>
            </a:prstGeom>
            <a:solidFill>
              <a:srgbClr val="F5F5F5"/>
            </a:solidFill>
            <a:ln/>
          </p:spPr>
          <p:txBody>
            <a:bodyPr/>
            <a:lstStyle/>
            <a:p>
              <a:endParaRPr lang="en-US" sz="1200"/>
            </a:p>
          </p:txBody>
        </p:sp>
        <p:sp>
          <p:nvSpPr>
            <p:cNvPr id="18" name="Text 45">
              <a:extLst>
                <a:ext uri="{FF2B5EF4-FFF2-40B4-BE49-F238E27FC236}">
                  <a16:creationId xmlns:a16="http://schemas.microsoft.com/office/drawing/2014/main" id="{D8E176B4-A993-6122-CAA6-36723754DAE6}"/>
                </a:ext>
              </a:extLst>
            </p:cNvPr>
            <p:cNvSpPr/>
            <p:nvPr/>
          </p:nvSpPr>
          <p:spPr>
            <a:xfrm>
              <a:off x="5132975" y="3390270"/>
              <a:ext cx="921425" cy="115133"/>
            </a:xfrm>
            <a:prstGeom prst="rect">
              <a:avLst/>
            </a:prstGeom>
            <a:noFill/>
            <a:ln/>
          </p:spPr>
          <p:txBody>
            <a:bodyPr wrap="none" lIns="0" tIns="0" rIns="0" bIns="0" rtlCol="0" anchor="t"/>
            <a:lstStyle/>
            <a:p>
              <a:pPr marL="0" indent="0" algn="l">
                <a:lnSpc>
                  <a:spcPts val="900"/>
                </a:lnSpc>
                <a:buNone/>
              </a:pPr>
              <a:r>
                <a:rPr lang="en-US" sz="1200" b="1">
                  <a:solidFill>
                    <a:srgbClr val="333333"/>
                  </a:solidFill>
                  <a:latin typeface="Inter Bold" pitchFamily="34" charset="0"/>
                  <a:ea typeface="Inter Bold" pitchFamily="34" charset="-122"/>
                  <a:cs typeface="Inter Bold" pitchFamily="34" charset="-120"/>
                </a:rPr>
                <a:t>Model the Behaviors</a:t>
              </a:r>
              <a:endParaRPr lang="en-US" sz="1200"/>
            </a:p>
          </p:txBody>
        </p:sp>
        <p:sp>
          <p:nvSpPr>
            <p:cNvPr id="19" name="Text 46">
              <a:extLst>
                <a:ext uri="{FF2B5EF4-FFF2-40B4-BE49-F238E27FC236}">
                  <a16:creationId xmlns:a16="http://schemas.microsoft.com/office/drawing/2014/main" id="{92F30D38-5DA4-411E-E7E4-CE950CB5D834}"/>
                </a:ext>
              </a:extLst>
            </p:cNvPr>
            <p:cNvSpPr/>
            <p:nvPr/>
          </p:nvSpPr>
          <p:spPr>
            <a:xfrm>
              <a:off x="5132976" y="3549575"/>
              <a:ext cx="3347680" cy="330019"/>
            </a:xfrm>
            <a:prstGeom prst="rect">
              <a:avLst/>
            </a:prstGeom>
            <a:noFill/>
            <a:ln/>
          </p:spPr>
          <p:txBody>
            <a:bodyPr wrap="square" lIns="0" tIns="0" rIns="0" bIns="0" rtlCol="0" anchor="t"/>
            <a:lstStyle/>
            <a:p>
              <a:pPr marL="0" indent="0" algn="l">
                <a:buNone/>
              </a:pPr>
              <a:r>
                <a:rPr lang="en-US" sz="1200">
                  <a:solidFill>
                    <a:srgbClr val="333333"/>
                  </a:solidFill>
                  <a:latin typeface="Inter" pitchFamily="34" charset="0"/>
                  <a:ea typeface="Inter" pitchFamily="34" charset="-122"/>
                  <a:cs typeface="Inter" pitchFamily="34" charset="-120"/>
                </a:rPr>
                <a:t>Demonstrate the transformation you're asking for. Leaders go first, visibly and consistently.</a:t>
              </a:r>
              <a:endParaRPr lang="en-US" sz="1200"/>
            </a:p>
          </p:txBody>
        </p:sp>
      </p:grpSp>
      <p:grpSp>
        <p:nvGrpSpPr>
          <p:cNvPr id="46" name="Group 45">
            <a:extLst>
              <a:ext uri="{FF2B5EF4-FFF2-40B4-BE49-F238E27FC236}">
                <a16:creationId xmlns:a16="http://schemas.microsoft.com/office/drawing/2014/main" id="{75B710C5-346B-22F4-8EAB-7B89BA15B1D1}"/>
              </a:ext>
            </a:extLst>
          </p:cNvPr>
          <p:cNvGrpSpPr/>
          <p:nvPr/>
        </p:nvGrpSpPr>
        <p:grpSpPr>
          <a:xfrm>
            <a:off x="8475662" y="3198852"/>
            <a:ext cx="3429001" cy="778384"/>
            <a:chOff x="9140278" y="3198852"/>
            <a:chExt cx="3429001" cy="778384"/>
          </a:xfrm>
        </p:grpSpPr>
        <p:sp>
          <p:nvSpPr>
            <p:cNvPr id="20" name="Shape 47">
              <a:extLst>
                <a:ext uri="{FF2B5EF4-FFF2-40B4-BE49-F238E27FC236}">
                  <a16:creationId xmlns:a16="http://schemas.microsoft.com/office/drawing/2014/main" id="{1325ED34-71AE-C5C2-06C7-276A433AB914}"/>
                </a:ext>
              </a:extLst>
            </p:cNvPr>
            <p:cNvSpPr/>
            <p:nvPr/>
          </p:nvSpPr>
          <p:spPr>
            <a:xfrm>
              <a:off x="9140278" y="3198852"/>
              <a:ext cx="3429000" cy="778384"/>
            </a:xfrm>
            <a:prstGeom prst="roundRect">
              <a:avLst>
                <a:gd name="adj" fmla="val 6740"/>
              </a:avLst>
            </a:prstGeom>
            <a:solidFill>
              <a:srgbClr val="F5F5F5"/>
            </a:solidFill>
            <a:ln/>
          </p:spPr>
          <p:txBody>
            <a:bodyPr/>
            <a:lstStyle/>
            <a:p>
              <a:endParaRPr lang="en-US" sz="1200"/>
            </a:p>
          </p:txBody>
        </p:sp>
        <p:sp>
          <p:nvSpPr>
            <p:cNvPr id="24" name="Text 51">
              <a:extLst>
                <a:ext uri="{FF2B5EF4-FFF2-40B4-BE49-F238E27FC236}">
                  <a16:creationId xmlns:a16="http://schemas.microsoft.com/office/drawing/2014/main" id="{2F51B6FD-0E03-6ADB-F8BC-45CD6CF6A030}"/>
                </a:ext>
              </a:extLst>
            </p:cNvPr>
            <p:cNvSpPr/>
            <p:nvPr/>
          </p:nvSpPr>
          <p:spPr>
            <a:xfrm>
              <a:off x="9221598" y="3383042"/>
              <a:ext cx="921425" cy="115133"/>
            </a:xfrm>
            <a:prstGeom prst="rect">
              <a:avLst/>
            </a:prstGeom>
            <a:noFill/>
            <a:ln/>
          </p:spPr>
          <p:txBody>
            <a:bodyPr wrap="none" lIns="0" tIns="0" rIns="0" bIns="0" rtlCol="0" anchor="t"/>
            <a:lstStyle/>
            <a:p>
              <a:pPr marL="0" indent="0" algn="l">
                <a:lnSpc>
                  <a:spcPts val="900"/>
                </a:lnSpc>
                <a:buNone/>
              </a:pPr>
              <a:r>
                <a:rPr lang="en-US" sz="1200" b="1">
                  <a:solidFill>
                    <a:srgbClr val="333333"/>
                  </a:solidFill>
                  <a:latin typeface="Inter Bold" pitchFamily="34" charset="0"/>
                  <a:ea typeface="Inter Bold" pitchFamily="34" charset="-122"/>
                  <a:cs typeface="Inter Bold" pitchFamily="34" charset="-120"/>
                </a:rPr>
                <a:t>Build Momentum</a:t>
              </a:r>
              <a:endParaRPr lang="en-US" sz="1200"/>
            </a:p>
          </p:txBody>
        </p:sp>
        <p:sp>
          <p:nvSpPr>
            <p:cNvPr id="25" name="Text 52">
              <a:extLst>
                <a:ext uri="{FF2B5EF4-FFF2-40B4-BE49-F238E27FC236}">
                  <a16:creationId xmlns:a16="http://schemas.microsoft.com/office/drawing/2014/main" id="{2224E4D6-3BA2-5231-190A-9C5FEDD9649F}"/>
                </a:ext>
              </a:extLst>
            </p:cNvPr>
            <p:cNvSpPr/>
            <p:nvPr/>
          </p:nvSpPr>
          <p:spPr>
            <a:xfrm>
              <a:off x="9221599" y="3542347"/>
              <a:ext cx="3347680" cy="206811"/>
            </a:xfrm>
            <a:prstGeom prst="rect">
              <a:avLst/>
            </a:prstGeom>
            <a:noFill/>
            <a:ln/>
          </p:spPr>
          <p:txBody>
            <a:bodyPr wrap="square" lIns="0" tIns="0" rIns="0" bIns="0" rtlCol="0" anchor="t"/>
            <a:lstStyle/>
            <a:p>
              <a:pPr marL="0" indent="0" algn="l">
                <a:buNone/>
              </a:pPr>
              <a:r>
                <a:rPr lang="en-US" sz="1200">
                  <a:solidFill>
                    <a:srgbClr val="333333"/>
                  </a:solidFill>
                  <a:latin typeface="Inter" pitchFamily="34" charset="0"/>
                  <a:ea typeface="Inter" pitchFamily="34" charset="-122"/>
                  <a:cs typeface="Inter" pitchFamily="34" charset="-120"/>
                </a:rPr>
                <a:t>Create visible wins. Accelerate adoption through strategic leadership actions that compound.</a:t>
              </a:r>
              <a:endParaRPr lang="en-US" sz="1200"/>
            </a:p>
          </p:txBody>
        </p:sp>
      </p:grpSp>
      <p:sp>
        <p:nvSpPr>
          <p:cNvPr id="39" name="TextBox 38">
            <a:extLst>
              <a:ext uri="{FF2B5EF4-FFF2-40B4-BE49-F238E27FC236}">
                <a16:creationId xmlns:a16="http://schemas.microsoft.com/office/drawing/2014/main" id="{9C7E3872-025F-1905-D35D-DB0DF666D915}"/>
              </a:ext>
            </a:extLst>
          </p:cNvPr>
          <p:cNvSpPr txBox="1"/>
          <p:nvPr/>
        </p:nvSpPr>
        <p:spPr>
          <a:xfrm>
            <a:off x="412841" y="1224641"/>
            <a:ext cx="3520900" cy="369332"/>
          </a:xfrm>
          <a:prstGeom prst="rect">
            <a:avLst/>
          </a:prstGeom>
          <a:noFill/>
        </p:spPr>
        <p:txBody>
          <a:bodyPr wrap="none" rtlCol="0">
            <a:spAutoFit/>
          </a:bodyPr>
          <a:lstStyle/>
          <a:p>
            <a:r>
              <a:rPr lang="en-US" b="1">
                <a:solidFill>
                  <a:schemeClr val="accent1"/>
                </a:solidFill>
              </a:rPr>
              <a:t>Building Transformation that Sticks</a:t>
            </a:r>
          </a:p>
        </p:txBody>
      </p:sp>
      <p:sp>
        <p:nvSpPr>
          <p:cNvPr id="40" name="TextBox 39">
            <a:extLst>
              <a:ext uri="{FF2B5EF4-FFF2-40B4-BE49-F238E27FC236}">
                <a16:creationId xmlns:a16="http://schemas.microsoft.com/office/drawing/2014/main" id="{69544D3F-2498-31BE-0D9E-530CF30ABB1D}"/>
              </a:ext>
            </a:extLst>
          </p:cNvPr>
          <p:cNvSpPr txBox="1"/>
          <p:nvPr/>
        </p:nvSpPr>
        <p:spPr>
          <a:xfrm>
            <a:off x="6606946" y="1222933"/>
            <a:ext cx="1948419" cy="369332"/>
          </a:xfrm>
          <a:prstGeom prst="rect">
            <a:avLst/>
          </a:prstGeom>
          <a:noFill/>
        </p:spPr>
        <p:txBody>
          <a:bodyPr wrap="none" rtlCol="0">
            <a:spAutoFit/>
          </a:bodyPr>
          <a:lstStyle/>
          <a:p>
            <a:r>
              <a:rPr lang="en-US" b="1">
                <a:solidFill>
                  <a:schemeClr val="accent1"/>
                </a:solidFill>
              </a:rPr>
              <a:t>The Shift Required</a:t>
            </a:r>
          </a:p>
        </p:txBody>
      </p:sp>
      <p:sp>
        <p:nvSpPr>
          <p:cNvPr id="41" name="TextBox 40">
            <a:extLst>
              <a:ext uri="{FF2B5EF4-FFF2-40B4-BE49-F238E27FC236}">
                <a16:creationId xmlns:a16="http://schemas.microsoft.com/office/drawing/2014/main" id="{E801B814-485A-18F8-DA5F-B3079FE1DDA0}"/>
              </a:ext>
            </a:extLst>
          </p:cNvPr>
          <p:cNvSpPr txBox="1"/>
          <p:nvPr/>
        </p:nvSpPr>
        <p:spPr>
          <a:xfrm>
            <a:off x="412841" y="1593973"/>
            <a:ext cx="5580062" cy="923330"/>
          </a:xfrm>
          <a:prstGeom prst="rect">
            <a:avLst/>
          </a:prstGeom>
          <a:noFill/>
        </p:spPr>
        <p:txBody>
          <a:bodyPr wrap="square" rtlCol="0">
            <a:spAutoFit/>
          </a:bodyPr>
          <a:lstStyle/>
          <a:p>
            <a:r>
              <a:rPr lang="en-US" b="1"/>
              <a:t>The business problem: </a:t>
            </a:r>
            <a:r>
              <a:rPr lang="en-US"/>
              <a:t>Legacy ways of working block next-phase growth</a:t>
            </a:r>
          </a:p>
          <a:p>
            <a:r>
              <a:rPr lang="en-US" b="1"/>
              <a:t>The core insight: </a:t>
            </a:r>
            <a:r>
              <a:rPr lang="en-US">
                <a:solidFill>
                  <a:srgbClr val="333333"/>
                </a:solidFill>
                <a:latin typeface="Inter" pitchFamily="34" charset="0"/>
                <a:ea typeface="Inter" pitchFamily="34" charset="-122"/>
                <a:cs typeface="Inter" pitchFamily="34" charset="-120"/>
              </a:rPr>
              <a:t>Misalignment drains momentum.</a:t>
            </a:r>
          </a:p>
        </p:txBody>
      </p:sp>
      <p:sp>
        <p:nvSpPr>
          <p:cNvPr id="42" name="TextBox 41">
            <a:extLst>
              <a:ext uri="{FF2B5EF4-FFF2-40B4-BE49-F238E27FC236}">
                <a16:creationId xmlns:a16="http://schemas.microsoft.com/office/drawing/2014/main" id="{83E989F5-D477-391A-822E-B7BB14CA55BC}"/>
              </a:ext>
            </a:extLst>
          </p:cNvPr>
          <p:cNvSpPr txBox="1"/>
          <p:nvPr/>
        </p:nvSpPr>
        <p:spPr>
          <a:xfrm>
            <a:off x="6606946" y="1709561"/>
            <a:ext cx="5580062" cy="923330"/>
          </a:xfrm>
          <a:prstGeom prst="rect">
            <a:avLst/>
          </a:prstGeom>
          <a:noFill/>
        </p:spPr>
        <p:txBody>
          <a:bodyPr wrap="square" rtlCol="0">
            <a:spAutoFit/>
          </a:bodyPr>
          <a:lstStyle/>
          <a:p>
            <a:r>
              <a:rPr lang="en-US"/>
              <a:t>From executing plans to </a:t>
            </a:r>
            <a:r>
              <a:rPr lang="en-US" b="1"/>
              <a:t>reshaping execution</a:t>
            </a:r>
          </a:p>
          <a:p>
            <a:r>
              <a:rPr lang="en-US"/>
              <a:t>From announcing change to </a:t>
            </a:r>
            <a:r>
              <a:rPr lang="en-US" b="1"/>
              <a:t>embodying change</a:t>
            </a:r>
          </a:p>
          <a:p>
            <a:r>
              <a:rPr lang="en-US"/>
              <a:t>From managing activities to </a:t>
            </a:r>
            <a:r>
              <a:rPr lang="en-US" b="1"/>
              <a:t>owning outcomes</a:t>
            </a:r>
          </a:p>
        </p:txBody>
      </p:sp>
      <p:sp>
        <p:nvSpPr>
          <p:cNvPr id="47" name="Shape 36">
            <a:extLst>
              <a:ext uri="{FF2B5EF4-FFF2-40B4-BE49-F238E27FC236}">
                <a16:creationId xmlns:a16="http://schemas.microsoft.com/office/drawing/2014/main" id="{5475F94E-D9D1-BB5E-69BD-814EA85C2879}"/>
              </a:ext>
            </a:extLst>
          </p:cNvPr>
          <p:cNvSpPr/>
          <p:nvPr/>
        </p:nvSpPr>
        <p:spPr>
          <a:xfrm>
            <a:off x="4469790" y="3092678"/>
            <a:ext cx="3403461" cy="125457"/>
          </a:xfrm>
          <a:prstGeom prst="roundRect">
            <a:avLst>
              <a:gd name="adj" fmla="val 101581"/>
            </a:avLst>
          </a:prstGeom>
          <a:solidFill>
            <a:srgbClr val="015465"/>
          </a:solidFill>
          <a:ln/>
        </p:spPr>
        <p:txBody>
          <a:bodyPr/>
          <a:lstStyle/>
          <a:p>
            <a:endParaRPr lang="en-US" sz="1200"/>
          </a:p>
        </p:txBody>
      </p:sp>
      <p:sp>
        <p:nvSpPr>
          <p:cNvPr id="48" name="Shape 37">
            <a:extLst>
              <a:ext uri="{FF2B5EF4-FFF2-40B4-BE49-F238E27FC236}">
                <a16:creationId xmlns:a16="http://schemas.microsoft.com/office/drawing/2014/main" id="{CDBCDE07-5B39-237C-DA2E-BEA6D3652D9F}"/>
              </a:ext>
            </a:extLst>
          </p:cNvPr>
          <p:cNvSpPr/>
          <p:nvPr/>
        </p:nvSpPr>
        <p:spPr>
          <a:xfrm>
            <a:off x="5988640" y="2972526"/>
            <a:ext cx="365760" cy="365760"/>
          </a:xfrm>
          <a:prstGeom prst="roundRect">
            <a:avLst>
              <a:gd name="adj" fmla="val 413570"/>
            </a:avLst>
          </a:prstGeom>
          <a:solidFill>
            <a:srgbClr val="015465"/>
          </a:solidFill>
          <a:ln/>
        </p:spPr>
        <p:txBody>
          <a:bodyPr/>
          <a:lstStyle/>
          <a:p>
            <a:endParaRPr lang="en-US" sz="1200"/>
          </a:p>
        </p:txBody>
      </p:sp>
      <p:sp>
        <p:nvSpPr>
          <p:cNvPr id="49" name="Text 38">
            <a:extLst>
              <a:ext uri="{FF2B5EF4-FFF2-40B4-BE49-F238E27FC236}">
                <a16:creationId xmlns:a16="http://schemas.microsoft.com/office/drawing/2014/main" id="{534C47C7-23BC-5D57-FC03-D50D6BF56ECD}"/>
              </a:ext>
            </a:extLst>
          </p:cNvPr>
          <p:cNvSpPr/>
          <p:nvPr/>
        </p:nvSpPr>
        <p:spPr>
          <a:xfrm>
            <a:off x="6127348" y="3100161"/>
            <a:ext cx="88344" cy="110490"/>
          </a:xfrm>
          <a:prstGeom prst="rect">
            <a:avLst/>
          </a:prstGeom>
          <a:noFill/>
          <a:ln/>
        </p:spPr>
        <p:txBody>
          <a:bodyPr wrap="none" lIns="0" tIns="0" rIns="0" bIns="0" rtlCol="0" anchor="t"/>
          <a:lstStyle/>
          <a:p>
            <a:pPr marL="0" indent="0" algn="l">
              <a:lnSpc>
                <a:spcPts val="1100"/>
              </a:lnSpc>
              <a:buNone/>
            </a:pPr>
            <a:r>
              <a:rPr lang="en-US" sz="1200" b="1">
                <a:solidFill>
                  <a:srgbClr val="FFFFFF"/>
                </a:solidFill>
                <a:latin typeface="Inter Bold" pitchFamily="34" charset="0"/>
                <a:ea typeface="Inter Bold" pitchFamily="34" charset="-122"/>
                <a:cs typeface="Inter Bold" pitchFamily="34" charset="-120"/>
              </a:rPr>
              <a:t>2</a:t>
            </a:r>
            <a:endParaRPr lang="en-US" sz="1200"/>
          </a:p>
        </p:txBody>
      </p:sp>
      <p:sp>
        <p:nvSpPr>
          <p:cNvPr id="50" name="Shape 36">
            <a:extLst>
              <a:ext uri="{FF2B5EF4-FFF2-40B4-BE49-F238E27FC236}">
                <a16:creationId xmlns:a16="http://schemas.microsoft.com/office/drawing/2014/main" id="{79407834-5B0B-34C8-F4BF-B92BB33A72F6}"/>
              </a:ext>
            </a:extLst>
          </p:cNvPr>
          <p:cNvSpPr/>
          <p:nvPr/>
        </p:nvSpPr>
        <p:spPr>
          <a:xfrm>
            <a:off x="8475661" y="3094808"/>
            <a:ext cx="3403461" cy="125457"/>
          </a:xfrm>
          <a:prstGeom prst="roundRect">
            <a:avLst>
              <a:gd name="adj" fmla="val 101581"/>
            </a:avLst>
          </a:prstGeom>
          <a:solidFill>
            <a:srgbClr val="015465"/>
          </a:solidFill>
          <a:ln/>
        </p:spPr>
        <p:txBody>
          <a:bodyPr/>
          <a:lstStyle/>
          <a:p>
            <a:endParaRPr lang="en-US" sz="1200"/>
          </a:p>
        </p:txBody>
      </p:sp>
      <p:sp>
        <p:nvSpPr>
          <p:cNvPr id="51" name="Shape 37">
            <a:extLst>
              <a:ext uri="{FF2B5EF4-FFF2-40B4-BE49-F238E27FC236}">
                <a16:creationId xmlns:a16="http://schemas.microsoft.com/office/drawing/2014/main" id="{73DE98EE-1261-5F9B-B26F-6091A9563B32}"/>
              </a:ext>
            </a:extLst>
          </p:cNvPr>
          <p:cNvSpPr/>
          <p:nvPr/>
        </p:nvSpPr>
        <p:spPr>
          <a:xfrm>
            <a:off x="9994511" y="2974656"/>
            <a:ext cx="365760" cy="365760"/>
          </a:xfrm>
          <a:prstGeom prst="roundRect">
            <a:avLst>
              <a:gd name="adj" fmla="val 413570"/>
            </a:avLst>
          </a:prstGeom>
          <a:solidFill>
            <a:srgbClr val="015465"/>
          </a:solidFill>
          <a:ln/>
        </p:spPr>
        <p:txBody>
          <a:bodyPr/>
          <a:lstStyle/>
          <a:p>
            <a:endParaRPr lang="en-US" sz="1200"/>
          </a:p>
        </p:txBody>
      </p:sp>
      <p:sp>
        <p:nvSpPr>
          <p:cNvPr id="52" name="Text 38">
            <a:extLst>
              <a:ext uri="{FF2B5EF4-FFF2-40B4-BE49-F238E27FC236}">
                <a16:creationId xmlns:a16="http://schemas.microsoft.com/office/drawing/2014/main" id="{A316B17E-5EE5-A2B5-CFC6-683E00433531}"/>
              </a:ext>
            </a:extLst>
          </p:cNvPr>
          <p:cNvSpPr/>
          <p:nvPr/>
        </p:nvSpPr>
        <p:spPr>
          <a:xfrm>
            <a:off x="10140199" y="3102291"/>
            <a:ext cx="88344" cy="110490"/>
          </a:xfrm>
          <a:prstGeom prst="rect">
            <a:avLst/>
          </a:prstGeom>
          <a:noFill/>
          <a:ln/>
        </p:spPr>
        <p:txBody>
          <a:bodyPr wrap="none" lIns="0" tIns="0" rIns="0" bIns="0" rtlCol="0" anchor="t"/>
          <a:lstStyle/>
          <a:p>
            <a:pPr marL="0" indent="0" algn="l">
              <a:lnSpc>
                <a:spcPts val="1100"/>
              </a:lnSpc>
              <a:buNone/>
            </a:pPr>
            <a:r>
              <a:rPr lang="en-US" sz="1200" b="1">
                <a:solidFill>
                  <a:srgbClr val="FFFFFF"/>
                </a:solidFill>
                <a:latin typeface="Inter Bold" pitchFamily="34" charset="0"/>
                <a:ea typeface="Inter Bold" pitchFamily="34" charset="-122"/>
              </a:rPr>
              <a:t>3</a:t>
            </a:r>
            <a:endParaRPr lang="en-US" sz="1200"/>
          </a:p>
        </p:txBody>
      </p:sp>
      <p:sp>
        <p:nvSpPr>
          <p:cNvPr id="53" name="Shape 36">
            <a:extLst>
              <a:ext uri="{FF2B5EF4-FFF2-40B4-BE49-F238E27FC236}">
                <a16:creationId xmlns:a16="http://schemas.microsoft.com/office/drawing/2014/main" id="{C552D07E-CE3D-2A2E-040B-1C9C74232DEC}"/>
              </a:ext>
            </a:extLst>
          </p:cNvPr>
          <p:cNvSpPr/>
          <p:nvPr/>
        </p:nvSpPr>
        <p:spPr>
          <a:xfrm>
            <a:off x="2070399" y="4325968"/>
            <a:ext cx="3403461" cy="125457"/>
          </a:xfrm>
          <a:prstGeom prst="roundRect">
            <a:avLst>
              <a:gd name="adj" fmla="val 101581"/>
            </a:avLst>
          </a:prstGeom>
          <a:solidFill>
            <a:srgbClr val="015465"/>
          </a:solidFill>
          <a:ln/>
        </p:spPr>
        <p:txBody>
          <a:bodyPr/>
          <a:lstStyle/>
          <a:p>
            <a:endParaRPr lang="en-US" sz="1200"/>
          </a:p>
        </p:txBody>
      </p:sp>
      <p:sp>
        <p:nvSpPr>
          <p:cNvPr id="54" name="Shape 37">
            <a:extLst>
              <a:ext uri="{FF2B5EF4-FFF2-40B4-BE49-F238E27FC236}">
                <a16:creationId xmlns:a16="http://schemas.microsoft.com/office/drawing/2014/main" id="{7514778E-CBE0-884A-5F18-D674D2E80B9A}"/>
              </a:ext>
            </a:extLst>
          </p:cNvPr>
          <p:cNvSpPr/>
          <p:nvPr/>
        </p:nvSpPr>
        <p:spPr>
          <a:xfrm>
            <a:off x="3589249" y="4205816"/>
            <a:ext cx="365760" cy="365760"/>
          </a:xfrm>
          <a:prstGeom prst="roundRect">
            <a:avLst>
              <a:gd name="adj" fmla="val 413570"/>
            </a:avLst>
          </a:prstGeom>
          <a:solidFill>
            <a:srgbClr val="015465"/>
          </a:solidFill>
          <a:ln/>
        </p:spPr>
        <p:txBody>
          <a:bodyPr/>
          <a:lstStyle/>
          <a:p>
            <a:endParaRPr lang="en-US" sz="1200"/>
          </a:p>
        </p:txBody>
      </p:sp>
      <p:sp>
        <p:nvSpPr>
          <p:cNvPr id="55" name="Text 38">
            <a:extLst>
              <a:ext uri="{FF2B5EF4-FFF2-40B4-BE49-F238E27FC236}">
                <a16:creationId xmlns:a16="http://schemas.microsoft.com/office/drawing/2014/main" id="{15988A5F-7724-99B1-C866-F14E09F61B6B}"/>
              </a:ext>
            </a:extLst>
          </p:cNvPr>
          <p:cNvSpPr/>
          <p:nvPr/>
        </p:nvSpPr>
        <p:spPr>
          <a:xfrm>
            <a:off x="3727957" y="4333451"/>
            <a:ext cx="88344" cy="110490"/>
          </a:xfrm>
          <a:prstGeom prst="rect">
            <a:avLst/>
          </a:prstGeom>
          <a:noFill/>
          <a:ln/>
        </p:spPr>
        <p:txBody>
          <a:bodyPr wrap="none" lIns="0" tIns="0" rIns="0" bIns="0" rtlCol="0" anchor="t"/>
          <a:lstStyle/>
          <a:p>
            <a:pPr marL="0" indent="0" algn="l">
              <a:lnSpc>
                <a:spcPts val="1100"/>
              </a:lnSpc>
              <a:buNone/>
            </a:pPr>
            <a:r>
              <a:rPr lang="en-US" sz="1200" b="1">
                <a:solidFill>
                  <a:srgbClr val="FFFFFF"/>
                </a:solidFill>
                <a:latin typeface="Inter Bold" pitchFamily="34" charset="0"/>
                <a:ea typeface="Inter Bold" pitchFamily="34" charset="-122"/>
              </a:rPr>
              <a:t>4</a:t>
            </a:r>
            <a:endParaRPr lang="en-US" sz="1200"/>
          </a:p>
        </p:txBody>
      </p:sp>
      <p:sp>
        <p:nvSpPr>
          <p:cNvPr id="56" name="Shape 36">
            <a:extLst>
              <a:ext uri="{FF2B5EF4-FFF2-40B4-BE49-F238E27FC236}">
                <a16:creationId xmlns:a16="http://schemas.microsoft.com/office/drawing/2014/main" id="{BA1E9CBC-2A66-8DFA-7D03-751E080A060A}"/>
              </a:ext>
            </a:extLst>
          </p:cNvPr>
          <p:cNvSpPr/>
          <p:nvPr/>
        </p:nvSpPr>
        <p:spPr>
          <a:xfrm>
            <a:off x="6729758" y="4301420"/>
            <a:ext cx="3403461" cy="125457"/>
          </a:xfrm>
          <a:prstGeom prst="roundRect">
            <a:avLst>
              <a:gd name="adj" fmla="val 101581"/>
            </a:avLst>
          </a:prstGeom>
          <a:solidFill>
            <a:srgbClr val="015465"/>
          </a:solidFill>
          <a:ln/>
        </p:spPr>
        <p:txBody>
          <a:bodyPr/>
          <a:lstStyle/>
          <a:p>
            <a:endParaRPr lang="en-US" sz="1200"/>
          </a:p>
        </p:txBody>
      </p:sp>
      <p:sp>
        <p:nvSpPr>
          <p:cNvPr id="57" name="Shape 37">
            <a:extLst>
              <a:ext uri="{FF2B5EF4-FFF2-40B4-BE49-F238E27FC236}">
                <a16:creationId xmlns:a16="http://schemas.microsoft.com/office/drawing/2014/main" id="{9F372DC5-C11B-520A-C4B2-8141A6469E30}"/>
              </a:ext>
            </a:extLst>
          </p:cNvPr>
          <p:cNvSpPr/>
          <p:nvPr/>
        </p:nvSpPr>
        <p:spPr>
          <a:xfrm>
            <a:off x="8248608" y="4181268"/>
            <a:ext cx="365760" cy="365760"/>
          </a:xfrm>
          <a:prstGeom prst="roundRect">
            <a:avLst>
              <a:gd name="adj" fmla="val 413570"/>
            </a:avLst>
          </a:prstGeom>
          <a:solidFill>
            <a:srgbClr val="015465"/>
          </a:solidFill>
          <a:ln/>
        </p:spPr>
        <p:txBody>
          <a:bodyPr/>
          <a:lstStyle/>
          <a:p>
            <a:endParaRPr lang="en-US" sz="1200"/>
          </a:p>
        </p:txBody>
      </p:sp>
      <p:sp>
        <p:nvSpPr>
          <p:cNvPr id="58" name="Text 38">
            <a:extLst>
              <a:ext uri="{FF2B5EF4-FFF2-40B4-BE49-F238E27FC236}">
                <a16:creationId xmlns:a16="http://schemas.microsoft.com/office/drawing/2014/main" id="{8054BEAA-7257-2693-F825-638A90768618}"/>
              </a:ext>
            </a:extLst>
          </p:cNvPr>
          <p:cNvSpPr/>
          <p:nvPr/>
        </p:nvSpPr>
        <p:spPr>
          <a:xfrm>
            <a:off x="8387316" y="4308903"/>
            <a:ext cx="88344" cy="110490"/>
          </a:xfrm>
          <a:prstGeom prst="rect">
            <a:avLst/>
          </a:prstGeom>
          <a:noFill/>
          <a:ln/>
        </p:spPr>
        <p:txBody>
          <a:bodyPr wrap="none" lIns="0" tIns="0" rIns="0" bIns="0" rtlCol="0" anchor="t"/>
          <a:lstStyle/>
          <a:p>
            <a:pPr marL="0" indent="0" algn="l">
              <a:lnSpc>
                <a:spcPts val="1100"/>
              </a:lnSpc>
              <a:buNone/>
            </a:pPr>
            <a:r>
              <a:rPr lang="en-US" sz="1200" b="1">
                <a:solidFill>
                  <a:srgbClr val="FFFFFF"/>
                </a:solidFill>
                <a:latin typeface="Inter Bold" pitchFamily="34" charset="0"/>
                <a:ea typeface="Inter Bold" pitchFamily="34" charset="-122"/>
              </a:rPr>
              <a:t>5</a:t>
            </a:r>
            <a:endParaRPr lang="en-US" sz="1200"/>
          </a:p>
        </p:txBody>
      </p:sp>
      <p:sp>
        <p:nvSpPr>
          <p:cNvPr id="61" name="Text 57">
            <a:extLst>
              <a:ext uri="{FF2B5EF4-FFF2-40B4-BE49-F238E27FC236}">
                <a16:creationId xmlns:a16="http://schemas.microsoft.com/office/drawing/2014/main" id="{776C7F2B-9AE2-0528-8307-1CA4BF5DE391}"/>
              </a:ext>
            </a:extLst>
          </p:cNvPr>
          <p:cNvSpPr/>
          <p:nvPr/>
        </p:nvSpPr>
        <p:spPr>
          <a:xfrm>
            <a:off x="2136512" y="4552772"/>
            <a:ext cx="1120259" cy="115133"/>
          </a:xfrm>
          <a:prstGeom prst="rect">
            <a:avLst/>
          </a:prstGeom>
          <a:noFill/>
          <a:ln/>
        </p:spPr>
        <p:txBody>
          <a:bodyPr wrap="none" lIns="0" tIns="0" rIns="0" bIns="0" rtlCol="0" anchor="t"/>
          <a:lstStyle/>
          <a:p>
            <a:pPr marL="0" indent="0" algn="l">
              <a:lnSpc>
                <a:spcPts val="900"/>
              </a:lnSpc>
              <a:buNone/>
            </a:pPr>
            <a:r>
              <a:rPr lang="en-US" sz="1200" b="1">
                <a:solidFill>
                  <a:srgbClr val="333333"/>
                </a:solidFill>
                <a:latin typeface="Inter Bold" pitchFamily="34" charset="0"/>
                <a:ea typeface="Inter Bold" pitchFamily="34" charset="-122"/>
                <a:cs typeface="Inter Bold" pitchFamily="34" charset="-120"/>
              </a:rPr>
              <a:t>Create Behavioral Clarity</a:t>
            </a:r>
            <a:endParaRPr lang="en-US" sz="1200"/>
          </a:p>
        </p:txBody>
      </p:sp>
      <p:sp>
        <p:nvSpPr>
          <p:cNvPr id="62" name="Text 63">
            <a:extLst>
              <a:ext uri="{FF2B5EF4-FFF2-40B4-BE49-F238E27FC236}">
                <a16:creationId xmlns:a16="http://schemas.microsoft.com/office/drawing/2014/main" id="{36CD8443-7735-E42D-523D-4A1524E5F399}"/>
              </a:ext>
            </a:extLst>
          </p:cNvPr>
          <p:cNvSpPr/>
          <p:nvPr/>
        </p:nvSpPr>
        <p:spPr>
          <a:xfrm>
            <a:off x="6825963" y="4551901"/>
            <a:ext cx="921425" cy="115133"/>
          </a:xfrm>
          <a:prstGeom prst="rect">
            <a:avLst/>
          </a:prstGeom>
          <a:noFill/>
          <a:ln/>
        </p:spPr>
        <p:txBody>
          <a:bodyPr wrap="none" lIns="0" tIns="0" rIns="0" bIns="0" rtlCol="0" anchor="t"/>
          <a:lstStyle/>
          <a:p>
            <a:pPr marL="0" indent="0" algn="l">
              <a:lnSpc>
                <a:spcPts val="900"/>
              </a:lnSpc>
              <a:buNone/>
            </a:pPr>
            <a:r>
              <a:rPr lang="en-US" sz="1200" b="1">
                <a:solidFill>
                  <a:srgbClr val="333333"/>
                </a:solidFill>
                <a:latin typeface="Inter Bold" pitchFamily="34" charset="0"/>
                <a:ea typeface="Inter Bold" pitchFamily="34" charset="-122"/>
                <a:cs typeface="Inter Bold" pitchFamily="34" charset="-120"/>
              </a:rPr>
              <a:t>Align Systems</a:t>
            </a:r>
            <a:endParaRPr lang="en-US" sz="1200"/>
          </a:p>
        </p:txBody>
      </p:sp>
      <p:sp>
        <p:nvSpPr>
          <p:cNvPr id="63" name="Text 58">
            <a:extLst>
              <a:ext uri="{FF2B5EF4-FFF2-40B4-BE49-F238E27FC236}">
                <a16:creationId xmlns:a16="http://schemas.microsoft.com/office/drawing/2014/main" id="{35405898-3E0E-DB4F-6BBF-5703B689F2F7}"/>
              </a:ext>
            </a:extLst>
          </p:cNvPr>
          <p:cNvSpPr/>
          <p:nvPr/>
        </p:nvSpPr>
        <p:spPr>
          <a:xfrm>
            <a:off x="2127340" y="4721026"/>
            <a:ext cx="3429000" cy="359794"/>
          </a:xfrm>
          <a:prstGeom prst="rect">
            <a:avLst/>
          </a:prstGeom>
          <a:noFill/>
          <a:ln/>
        </p:spPr>
        <p:txBody>
          <a:bodyPr wrap="square" lIns="0" tIns="0" rIns="0" bIns="0" rtlCol="0" anchor="t"/>
          <a:lstStyle/>
          <a:p>
            <a:pPr marL="0" indent="0" algn="l">
              <a:buNone/>
            </a:pPr>
            <a:r>
              <a:rPr lang="en-US" sz="1200">
                <a:solidFill>
                  <a:srgbClr val="333333"/>
                </a:solidFill>
                <a:latin typeface="Inter" pitchFamily="34" charset="0"/>
                <a:ea typeface="Inter" pitchFamily="34" charset="-122"/>
                <a:cs typeface="Inter" pitchFamily="34" charset="-120"/>
              </a:rPr>
              <a:t>Define expectations precisely. Align teams and functions around shared behaviors and outcomes.</a:t>
            </a:r>
            <a:endParaRPr lang="en-US" sz="1200"/>
          </a:p>
        </p:txBody>
      </p:sp>
      <p:sp>
        <p:nvSpPr>
          <p:cNvPr id="64" name="Text 64">
            <a:extLst>
              <a:ext uri="{FF2B5EF4-FFF2-40B4-BE49-F238E27FC236}">
                <a16:creationId xmlns:a16="http://schemas.microsoft.com/office/drawing/2014/main" id="{7510BE7C-F8D7-7211-98AF-3D8947F0F442}"/>
              </a:ext>
            </a:extLst>
          </p:cNvPr>
          <p:cNvSpPr/>
          <p:nvPr/>
        </p:nvSpPr>
        <p:spPr>
          <a:xfrm>
            <a:off x="6824202" y="4710161"/>
            <a:ext cx="3429000" cy="416274"/>
          </a:xfrm>
          <a:prstGeom prst="rect">
            <a:avLst/>
          </a:prstGeom>
          <a:noFill/>
          <a:ln/>
        </p:spPr>
        <p:txBody>
          <a:bodyPr wrap="square" lIns="0" tIns="0" rIns="0" bIns="0" rtlCol="0" anchor="t"/>
          <a:lstStyle/>
          <a:p>
            <a:pPr marL="0" indent="0" algn="l">
              <a:buNone/>
            </a:pPr>
            <a:r>
              <a:rPr lang="en-US" sz="1200">
                <a:solidFill>
                  <a:srgbClr val="333333"/>
                </a:solidFill>
                <a:latin typeface="Inter" pitchFamily="34" charset="0"/>
                <a:ea typeface="Inter" pitchFamily="34" charset="-122"/>
                <a:cs typeface="Inter" pitchFamily="34" charset="-120"/>
              </a:rPr>
              <a:t>Redesign incentives, metrics, and operating cadences to reinforce the transformation.</a:t>
            </a:r>
            <a:endParaRPr lang="en-US" sz="1200"/>
          </a:p>
        </p:txBody>
      </p:sp>
      <p:sp>
        <p:nvSpPr>
          <p:cNvPr id="65" name="Text 71">
            <a:extLst>
              <a:ext uri="{FF2B5EF4-FFF2-40B4-BE49-F238E27FC236}">
                <a16:creationId xmlns:a16="http://schemas.microsoft.com/office/drawing/2014/main" id="{A51CEB0B-BD5C-408D-A4A2-8B0C4701D39A}"/>
              </a:ext>
            </a:extLst>
          </p:cNvPr>
          <p:cNvSpPr/>
          <p:nvPr/>
        </p:nvSpPr>
        <p:spPr>
          <a:xfrm>
            <a:off x="614027" y="5456497"/>
            <a:ext cx="1576035" cy="299366"/>
          </a:xfrm>
          <a:prstGeom prst="rect">
            <a:avLst/>
          </a:prstGeom>
          <a:noFill/>
          <a:ln/>
        </p:spPr>
        <p:txBody>
          <a:bodyPr wrap="none" lIns="0" tIns="0" rIns="0" bIns="0" rtlCol="0" anchor="t"/>
          <a:lstStyle/>
          <a:p>
            <a:pPr marL="0" indent="0" algn="l">
              <a:buNone/>
            </a:pPr>
            <a:r>
              <a:rPr lang="en-US" sz="1600" b="1">
                <a:solidFill>
                  <a:srgbClr val="015465"/>
                </a:solidFill>
                <a:latin typeface="Inter Bold" pitchFamily="34" charset="0"/>
                <a:ea typeface="Inter Bold" pitchFamily="34" charset="-122"/>
                <a:cs typeface="Inter Bold" pitchFamily="34" charset="-120"/>
              </a:rPr>
              <a:t>This is not about managing change.</a:t>
            </a:r>
            <a:endParaRPr lang="en-US" sz="1600"/>
          </a:p>
        </p:txBody>
      </p:sp>
      <p:sp>
        <p:nvSpPr>
          <p:cNvPr id="66" name="Text 72">
            <a:extLst>
              <a:ext uri="{FF2B5EF4-FFF2-40B4-BE49-F238E27FC236}">
                <a16:creationId xmlns:a16="http://schemas.microsoft.com/office/drawing/2014/main" id="{37F55ACA-F9BC-2A37-B832-DD9379108DDA}"/>
              </a:ext>
            </a:extLst>
          </p:cNvPr>
          <p:cNvSpPr/>
          <p:nvPr/>
        </p:nvSpPr>
        <p:spPr>
          <a:xfrm>
            <a:off x="614027" y="5705218"/>
            <a:ext cx="11265095" cy="255273"/>
          </a:xfrm>
          <a:prstGeom prst="rect">
            <a:avLst/>
          </a:prstGeom>
          <a:noFill/>
          <a:ln/>
        </p:spPr>
        <p:txBody>
          <a:bodyPr wrap="none" lIns="0" tIns="0" rIns="0" bIns="0" rtlCol="0" anchor="t"/>
          <a:lstStyle/>
          <a:p>
            <a:pPr marL="0" indent="0" algn="l">
              <a:buNone/>
            </a:pPr>
            <a:r>
              <a:rPr lang="en-US" sz="1600">
                <a:solidFill>
                  <a:srgbClr val="333333"/>
                </a:solidFill>
                <a:latin typeface="Inter" pitchFamily="34" charset="0"/>
                <a:ea typeface="Inter" pitchFamily="34" charset="-122"/>
                <a:cs typeface="Inter" pitchFamily="34" charset="-120"/>
              </a:rPr>
              <a:t>It is about leading the enterprise differently with purpose, precision, and the behaviors that make transformation stick.</a:t>
            </a:r>
            <a:endParaRPr lang="en-US" sz="1600"/>
          </a:p>
        </p:txBody>
      </p:sp>
      <p:sp>
        <p:nvSpPr>
          <p:cNvPr id="67" name="Shape 73">
            <a:extLst>
              <a:ext uri="{FF2B5EF4-FFF2-40B4-BE49-F238E27FC236}">
                <a16:creationId xmlns:a16="http://schemas.microsoft.com/office/drawing/2014/main" id="{F43ED86E-A5CA-2E0A-3779-9A49B4F93C63}"/>
              </a:ext>
            </a:extLst>
          </p:cNvPr>
          <p:cNvSpPr/>
          <p:nvPr/>
        </p:nvSpPr>
        <p:spPr>
          <a:xfrm>
            <a:off x="503536" y="5409508"/>
            <a:ext cx="45719" cy="614484"/>
          </a:xfrm>
          <a:prstGeom prst="rect">
            <a:avLst/>
          </a:prstGeom>
          <a:solidFill>
            <a:srgbClr val="015465"/>
          </a:solidFill>
          <a:ln/>
        </p:spPr>
        <p:txBody>
          <a:bodyPr/>
          <a:lstStyle/>
          <a:p>
            <a:endParaRPr lang="en-US" sz="1200"/>
          </a:p>
        </p:txBody>
      </p:sp>
    </p:spTree>
    <p:extLst>
      <p:ext uri="{BB962C8B-B14F-4D97-AF65-F5344CB8AC3E}">
        <p14:creationId xmlns:p14="http://schemas.microsoft.com/office/powerpoint/2010/main" val="18757591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B45778-81EC-286F-C846-4E5C1C90D20B}"/>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3029DF0-CE8A-9B71-27C8-F090D8E1D8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think-cell data - do not delete" hidden="1">
                        <a:extLst>
                          <a:ext uri="{FF2B5EF4-FFF2-40B4-BE49-F238E27FC236}">
                            <a16:creationId xmlns:a16="http://schemas.microsoft.com/office/drawing/2014/main" id="{23029DF0-CE8A-9B71-27C8-F090D8E1D8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65EFEB1-36B4-C7DA-5B88-15D91260D49B}"/>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solidFill>
                  <a:schemeClr val="bg1"/>
                </a:solidFill>
                <a:latin typeface="Moderat" pitchFamily="2" charset="77"/>
              </a:rPr>
              <a:t>Leadership Coaching for Cross-border Impact</a:t>
            </a:r>
          </a:p>
        </p:txBody>
      </p:sp>
      <p:sp>
        <p:nvSpPr>
          <p:cNvPr id="16" name="Text 5">
            <a:extLst>
              <a:ext uri="{FF2B5EF4-FFF2-40B4-BE49-F238E27FC236}">
                <a16:creationId xmlns:a16="http://schemas.microsoft.com/office/drawing/2014/main" id="{991AD272-73D6-A778-841A-7EBEEA59E1EB}"/>
              </a:ext>
            </a:extLst>
          </p:cNvPr>
          <p:cNvSpPr/>
          <p:nvPr/>
        </p:nvSpPr>
        <p:spPr>
          <a:xfrm>
            <a:off x="384326" y="1272833"/>
            <a:ext cx="4035274" cy="4797073"/>
          </a:xfrm>
          <a:prstGeom prst="rect">
            <a:avLst/>
          </a:prstGeom>
          <a:noFill/>
          <a:ln/>
        </p:spPr>
        <p:txBody>
          <a:bodyPr wrap="square" lIns="144000" tIns="36000" rIns="90000" bIns="36000" rtlCol="0" anchor="t">
            <a:spAutoFit/>
          </a:bodyPr>
          <a:lstStyle/>
          <a:p>
            <a:pPr defTabSz="571500">
              <a:spcAft>
                <a:spcPts val="200"/>
              </a:spcAft>
              <a:buClr>
                <a:schemeClr val="accent5"/>
              </a:buClr>
              <a:buSzPct val="100000"/>
            </a:pPr>
            <a:r>
              <a:rPr lang="en-US" sz="2000" b="1">
                <a:solidFill>
                  <a:schemeClr val="accent1"/>
                </a:solidFill>
                <a:latin typeface="Moderat" pitchFamily="2" charset="77"/>
              </a:rPr>
              <a:t>High-stakes 1:1 executive coaching</a:t>
            </a:r>
          </a:p>
          <a:p>
            <a:pPr marL="171450" indent="-171450" defTabSz="571500">
              <a:spcAft>
                <a:spcPts val="200"/>
              </a:spcAft>
              <a:buClr>
                <a:schemeClr val="accent5"/>
              </a:buClr>
              <a:buSzPct val="100000"/>
              <a:buFont typeface="Arial" panose="020B0604020202020204" pitchFamily="34" charset="0"/>
              <a:buChar char="•"/>
            </a:pPr>
            <a:r>
              <a:rPr lang="en-US">
                <a:solidFill>
                  <a:srgbClr val="4A4A45"/>
                </a:solidFill>
                <a:latin typeface="Moderat" pitchFamily="2" charset="77"/>
              </a:rPr>
              <a:t>Personalized focus on presence, communication, and organizational politics</a:t>
            </a:r>
          </a:p>
          <a:p>
            <a:pPr marL="171450" indent="-171450" defTabSz="571500">
              <a:spcAft>
                <a:spcPts val="200"/>
              </a:spcAft>
              <a:buClr>
                <a:schemeClr val="accent5"/>
              </a:buClr>
              <a:buSzPct val="100000"/>
              <a:buFont typeface="Arial" panose="020B0604020202020204" pitchFamily="34" charset="0"/>
              <a:buChar char="•"/>
            </a:pPr>
            <a:endParaRPr lang="en-US">
              <a:solidFill>
                <a:srgbClr val="4A4A45"/>
              </a:solidFill>
              <a:latin typeface="Moderat" pitchFamily="2" charset="77"/>
            </a:endParaRPr>
          </a:p>
          <a:p>
            <a:pPr defTabSz="571500">
              <a:spcAft>
                <a:spcPts val="200"/>
              </a:spcAft>
              <a:buClr>
                <a:schemeClr val="accent5"/>
              </a:buClr>
              <a:buSzPct val="100000"/>
            </a:pPr>
            <a:r>
              <a:rPr lang="en-US" sz="2000" b="1">
                <a:solidFill>
                  <a:schemeClr val="accent1"/>
                </a:solidFill>
                <a:latin typeface="Moderat" pitchFamily="2" charset="77"/>
              </a:rPr>
              <a:t>Approach</a:t>
            </a:r>
          </a:p>
          <a:p>
            <a:pPr marL="171450" indent="-171450" defTabSz="571500">
              <a:spcAft>
                <a:spcPts val="200"/>
              </a:spcAft>
              <a:buClr>
                <a:schemeClr val="accent5"/>
              </a:buClr>
              <a:buSzPct val="100000"/>
              <a:buFont typeface="Arial" panose="020B0604020202020204" pitchFamily="34" charset="0"/>
              <a:buChar char="•"/>
            </a:pPr>
            <a:r>
              <a:rPr lang="en-US">
                <a:solidFill>
                  <a:srgbClr val="4A4A45"/>
                </a:solidFill>
                <a:latin typeface="Moderat" pitchFamily="2" charset="77"/>
              </a:rPr>
              <a:t>Scenario-based coaching and data-driven reflection</a:t>
            </a:r>
          </a:p>
          <a:p>
            <a:pPr marL="171450" indent="-171450" defTabSz="571500">
              <a:spcAft>
                <a:spcPts val="200"/>
              </a:spcAft>
              <a:buClr>
                <a:schemeClr val="accent5"/>
              </a:buClr>
              <a:buSzPct val="100000"/>
              <a:buFont typeface="Arial" panose="020B0604020202020204" pitchFamily="34" charset="0"/>
              <a:buChar char="•"/>
            </a:pPr>
            <a:r>
              <a:rPr lang="en-US">
                <a:solidFill>
                  <a:srgbClr val="4A4A45"/>
                </a:solidFill>
                <a:latin typeface="Moderat" pitchFamily="2" charset="77"/>
              </a:rPr>
              <a:t>Practice strategic updates and risk escalations</a:t>
            </a:r>
          </a:p>
          <a:p>
            <a:pPr marL="171450" indent="-171450" defTabSz="571500">
              <a:spcAft>
                <a:spcPts val="200"/>
              </a:spcAft>
              <a:buClr>
                <a:schemeClr val="accent5"/>
              </a:buClr>
              <a:buSzPct val="100000"/>
              <a:buFont typeface="Arial" panose="020B0604020202020204" pitchFamily="34" charset="0"/>
              <a:buChar char="•"/>
            </a:pPr>
            <a:r>
              <a:rPr lang="en-US">
                <a:solidFill>
                  <a:srgbClr val="4A4A45"/>
                </a:solidFill>
                <a:latin typeface="Moderat" pitchFamily="2" charset="77"/>
              </a:rPr>
              <a:t>Translate operational excellence into strategic impact</a:t>
            </a:r>
          </a:p>
          <a:p>
            <a:pPr marL="171450" indent="-171450" defTabSz="571500">
              <a:spcAft>
                <a:spcPts val="200"/>
              </a:spcAft>
              <a:buClr>
                <a:schemeClr val="accent5"/>
              </a:buClr>
              <a:buSzPct val="100000"/>
              <a:buFont typeface="Arial" panose="020B0604020202020204" pitchFamily="34" charset="0"/>
              <a:buChar char="•"/>
            </a:pPr>
            <a:endParaRPr lang="en-US">
              <a:solidFill>
                <a:srgbClr val="4A4A45"/>
              </a:solidFill>
              <a:latin typeface="Moderat" pitchFamily="2" charset="77"/>
            </a:endParaRPr>
          </a:p>
          <a:p>
            <a:pPr defTabSz="571500">
              <a:spcAft>
                <a:spcPts val="200"/>
              </a:spcAft>
              <a:buClr>
                <a:schemeClr val="accent5"/>
              </a:buClr>
              <a:buSzPct val="100000"/>
            </a:pPr>
            <a:r>
              <a:rPr lang="en-US" sz="2000" b="1">
                <a:solidFill>
                  <a:schemeClr val="accent1"/>
                </a:solidFill>
                <a:latin typeface="Moderat" pitchFamily="2" charset="77"/>
              </a:rPr>
              <a:t>Outcome</a:t>
            </a:r>
            <a:endParaRPr lang="en-US" sz="2000">
              <a:solidFill>
                <a:schemeClr val="accent1"/>
              </a:solidFill>
              <a:latin typeface="Moderat" pitchFamily="2" charset="77"/>
            </a:endParaRPr>
          </a:p>
          <a:p>
            <a:pPr marL="171450" indent="-171450" defTabSz="571500">
              <a:spcAft>
                <a:spcPts val="200"/>
              </a:spcAft>
              <a:buClr>
                <a:schemeClr val="accent5"/>
              </a:buClr>
              <a:buSzPct val="100000"/>
              <a:buFont typeface="Arial" panose="020B0604020202020204" pitchFamily="34" charset="0"/>
              <a:buChar char="•"/>
            </a:pPr>
            <a:r>
              <a:rPr lang="en-US">
                <a:solidFill>
                  <a:srgbClr val="4A4A45"/>
                </a:solidFill>
                <a:latin typeface="Moderat" pitchFamily="2" charset="77"/>
              </a:rPr>
              <a:t>Confident global leaders with HQ influence</a:t>
            </a:r>
          </a:p>
        </p:txBody>
      </p:sp>
      <p:pic>
        <p:nvPicPr>
          <p:cNvPr id="4" name="Picture 3" descr="A person sitting outside with a white tent&#10;&#10;AI-generated content may be incorrect.">
            <a:extLst>
              <a:ext uri="{FF2B5EF4-FFF2-40B4-BE49-F238E27FC236}">
                <a16:creationId xmlns:a16="http://schemas.microsoft.com/office/drawing/2014/main" id="{FD3C059E-69BE-8328-2E16-0F049D4045C1}"/>
              </a:ext>
            </a:extLst>
          </p:cNvPr>
          <p:cNvPicPr>
            <a:picLocks noChangeAspect="1"/>
          </p:cNvPicPr>
          <p:nvPr/>
        </p:nvPicPr>
        <p:blipFill>
          <a:blip r:embed="rId5"/>
          <a:stretch>
            <a:fillRect/>
          </a:stretch>
        </p:blipFill>
        <p:spPr>
          <a:xfrm>
            <a:off x="4419600" y="1061603"/>
            <a:ext cx="7772400" cy="5854535"/>
          </a:xfrm>
          <a:prstGeom prst="rect">
            <a:avLst/>
          </a:prstGeom>
        </p:spPr>
      </p:pic>
    </p:spTree>
    <p:extLst>
      <p:ext uri="{BB962C8B-B14F-4D97-AF65-F5344CB8AC3E}">
        <p14:creationId xmlns:p14="http://schemas.microsoft.com/office/powerpoint/2010/main" val="22512206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C030EA-1634-EEBE-E154-2FFC005941CB}"/>
            </a:ext>
          </a:extLst>
        </p:cNvPr>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051ECD6E-F04E-0D6F-B46C-48B57A1444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6" name="think-cell data - do not delete" hidden="1">
                        <a:extLst>
                          <a:ext uri="{FF2B5EF4-FFF2-40B4-BE49-F238E27FC236}">
                            <a16:creationId xmlns:a16="http://schemas.microsoft.com/office/drawing/2014/main" id="{051ECD6E-F04E-0D6F-B46C-48B57A1444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677AA9C-6A07-4C9A-C98D-71856EB54B75}"/>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solidFill>
                  <a:schemeClr val="bg1"/>
                </a:solidFill>
                <a:latin typeface="Moderat" pitchFamily="2" charset="77"/>
              </a:rPr>
              <a:t>Enterprise Mindset &amp; Business Strategy </a:t>
            </a:r>
          </a:p>
        </p:txBody>
      </p:sp>
      <p:sp>
        <p:nvSpPr>
          <p:cNvPr id="8" name="Text 8">
            <a:extLst>
              <a:ext uri="{FF2B5EF4-FFF2-40B4-BE49-F238E27FC236}">
                <a16:creationId xmlns:a16="http://schemas.microsoft.com/office/drawing/2014/main" id="{215D0A05-5C5D-1A97-F710-B9862DBBA383}"/>
              </a:ext>
            </a:extLst>
          </p:cNvPr>
          <p:cNvSpPr/>
          <p:nvPr/>
        </p:nvSpPr>
        <p:spPr>
          <a:xfrm>
            <a:off x="515938" y="1256554"/>
            <a:ext cx="11141074" cy="830997"/>
          </a:xfrm>
          <a:prstGeom prst="rect">
            <a:avLst/>
          </a:prstGeom>
          <a:noFill/>
          <a:ln/>
        </p:spPr>
        <p:txBody>
          <a:bodyPr wrap="square" lIns="0" tIns="0" rIns="0" bIns="0" rtlCol="0" anchor="t">
            <a:spAutoFit/>
          </a:bodyPr>
          <a:lstStyle/>
          <a:p>
            <a:pPr>
              <a:spcBef>
                <a:spcPts val="400"/>
              </a:spcBef>
              <a:spcAft>
                <a:spcPts val="400"/>
              </a:spcAft>
            </a:pPr>
            <a:r>
              <a:rPr lang="en-US"/>
              <a:t>This course builds an enterprise mindset that enables Directors to move beyond execution and alignment, developing the strategic, commercial, and analytical capabilities required to actively shape global strategy and operate as true business partners to HQ.</a:t>
            </a:r>
            <a:endParaRPr lang="en-US">
              <a:solidFill>
                <a:schemeClr val="bg2">
                  <a:lumMod val="25000"/>
                </a:schemeClr>
              </a:solidFill>
              <a:latin typeface="Moderat" pitchFamily="2" charset="77"/>
              <a:ea typeface="Lato" pitchFamily="34" charset="-122"/>
              <a:cs typeface="Lato" pitchFamily="34" charset="-120"/>
            </a:endParaRPr>
          </a:p>
        </p:txBody>
      </p:sp>
      <p:graphicFrame>
        <p:nvGraphicFramePr>
          <p:cNvPr id="2" name="Diagram 1">
            <a:extLst>
              <a:ext uri="{FF2B5EF4-FFF2-40B4-BE49-F238E27FC236}">
                <a16:creationId xmlns:a16="http://schemas.microsoft.com/office/drawing/2014/main" id="{A04E0043-9845-4956-9F4C-65D4ECEE031E}"/>
              </a:ext>
            </a:extLst>
          </p:cNvPr>
          <p:cNvGraphicFramePr/>
          <p:nvPr>
            <p:extLst>
              <p:ext uri="{D42A27DB-BD31-4B8C-83A1-F6EECF244321}">
                <p14:modId xmlns:p14="http://schemas.microsoft.com/office/powerpoint/2010/main" val="4184836692"/>
              </p:ext>
            </p:extLst>
          </p:nvPr>
        </p:nvGraphicFramePr>
        <p:xfrm>
          <a:off x="515937" y="2087551"/>
          <a:ext cx="11141073" cy="435771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7876102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5FCBA71-635C-605B-7697-425E7C2342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think-cell data - do not delete" hidden="1">
                        <a:extLst>
                          <a:ext uri="{FF2B5EF4-FFF2-40B4-BE49-F238E27FC236}">
                            <a16:creationId xmlns:a16="http://schemas.microsoft.com/office/drawing/2014/main" id="{A5FCBA71-635C-605B-7697-425E7C2342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5791D46-46B2-851F-C88B-3C8B469E9926}"/>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solidFill>
                  <a:schemeClr val="bg1"/>
                </a:solidFill>
                <a:latin typeface="Moderat" pitchFamily="2" charset="77"/>
              </a:rPr>
              <a:t>Global Mobility Readiness</a:t>
            </a:r>
          </a:p>
        </p:txBody>
      </p:sp>
      <p:graphicFrame>
        <p:nvGraphicFramePr>
          <p:cNvPr id="3" name="Diagram 2">
            <a:extLst>
              <a:ext uri="{FF2B5EF4-FFF2-40B4-BE49-F238E27FC236}">
                <a16:creationId xmlns:a16="http://schemas.microsoft.com/office/drawing/2014/main" id="{41007261-FBCA-4A18-8154-F8D1A228A875}"/>
              </a:ext>
            </a:extLst>
          </p:cNvPr>
          <p:cNvGraphicFramePr/>
          <p:nvPr>
            <p:extLst>
              <p:ext uri="{D42A27DB-BD31-4B8C-83A1-F6EECF244321}">
                <p14:modId xmlns:p14="http://schemas.microsoft.com/office/powerpoint/2010/main" val="1774311861"/>
              </p:ext>
            </p:extLst>
          </p:nvPr>
        </p:nvGraphicFramePr>
        <p:xfrm>
          <a:off x="2032000" y="2011469"/>
          <a:ext cx="8128000" cy="412686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Rectangle 1">
            <a:extLst>
              <a:ext uri="{FF2B5EF4-FFF2-40B4-BE49-F238E27FC236}">
                <a16:creationId xmlns:a16="http://schemas.microsoft.com/office/drawing/2014/main" id="{99EE7F52-5677-91A3-18A6-09BDE7F258AB}"/>
              </a:ext>
            </a:extLst>
          </p:cNvPr>
          <p:cNvSpPr>
            <a:spLocks noChangeArrowheads="1"/>
          </p:cNvSpPr>
          <p:nvPr/>
        </p:nvSpPr>
        <p:spPr bwMode="auto">
          <a:xfrm>
            <a:off x="515938" y="1074871"/>
            <a:ext cx="11216279"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webkit-standard"/>
              </a:rPr>
              <a:t>This program prepares executives to step into global roles with confidence by scaling their leadership identity across cultures, systems, and markets while navigating the real operational and personal demands of international deploym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2547864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F72733-10E5-2C03-83E3-892D7D061D14}"/>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A459D35-C86F-FA49-5AD5-3160B73FF5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think-cell data - do not delete" hidden="1">
                        <a:extLst>
                          <a:ext uri="{FF2B5EF4-FFF2-40B4-BE49-F238E27FC236}">
                            <a16:creationId xmlns:a16="http://schemas.microsoft.com/office/drawing/2014/main" id="{6A459D35-C86F-FA49-5AD5-3160B73FF5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302F02E-3217-4465-E605-11D2C7970B60}"/>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latin typeface="Moderat" pitchFamily="2" charset="77"/>
              </a:rPr>
              <a:t>SUMMIT: </a:t>
            </a:r>
            <a:r>
              <a:rPr lang="en-US" b="1">
                <a:solidFill>
                  <a:schemeClr val="bg1"/>
                </a:solidFill>
                <a:latin typeface="Moderat" pitchFamily="2" charset="77"/>
              </a:rPr>
              <a:t>Building a Growth and Innovation Mindset</a:t>
            </a:r>
          </a:p>
        </p:txBody>
      </p:sp>
      <p:sp>
        <p:nvSpPr>
          <p:cNvPr id="41" name="Text 1">
            <a:extLst>
              <a:ext uri="{FF2B5EF4-FFF2-40B4-BE49-F238E27FC236}">
                <a16:creationId xmlns:a16="http://schemas.microsoft.com/office/drawing/2014/main" id="{061CCF6C-3014-4CC9-E46A-A5A05B25A0C0}"/>
              </a:ext>
            </a:extLst>
          </p:cNvPr>
          <p:cNvSpPr/>
          <p:nvPr/>
        </p:nvSpPr>
        <p:spPr>
          <a:xfrm>
            <a:off x="515938" y="1129635"/>
            <a:ext cx="11141074" cy="369332"/>
          </a:xfrm>
          <a:prstGeom prst="rect">
            <a:avLst/>
          </a:prstGeom>
          <a:noFill/>
          <a:ln/>
        </p:spPr>
        <p:txBody>
          <a:bodyPr wrap="square" lIns="0" tIns="0" rIns="0" bIns="0" rtlCol="0" anchor="t">
            <a:spAutoFit/>
          </a:bodyPr>
          <a:lstStyle/>
          <a:p>
            <a:pPr defTabSz="571500"/>
            <a:r>
              <a:rPr lang="en-US" sz="2400" b="1">
                <a:solidFill>
                  <a:schemeClr val="accent6"/>
                </a:solidFill>
                <a:latin typeface="Moderat" pitchFamily="2" charset="77"/>
                <a:ea typeface="Source Serif 4" pitchFamily="34" charset="-122"/>
                <a:cs typeface="Source Serif 4" pitchFamily="34" charset="-120"/>
              </a:rPr>
              <a:t>Capstone for Executive Leaders</a:t>
            </a:r>
          </a:p>
        </p:txBody>
      </p:sp>
      <p:sp>
        <p:nvSpPr>
          <p:cNvPr id="3" name="Shape 2">
            <a:extLst>
              <a:ext uri="{FF2B5EF4-FFF2-40B4-BE49-F238E27FC236}">
                <a16:creationId xmlns:a16="http://schemas.microsoft.com/office/drawing/2014/main" id="{B3313FCF-7586-655F-705D-34D808D1C110}"/>
              </a:ext>
            </a:extLst>
          </p:cNvPr>
          <p:cNvSpPr/>
          <p:nvPr/>
        </p:nvSpPr>
        <p:spPr>
          <a:xfrm>
            <a:off x="827669" y="2395206"/>
            <a:ext cx="5067731" cy="1003691"/>
          </a:xfrm>
          <a:prstGeom prst="roundRect">
            <a:avLst>
              <a:gd name="adj" fmla="val 2503"/>
            </a:avLst>
          </a:prstGeom>
          <a:solidFill>
            <a:schemeClr val="bg1">
              <a:lumMod val="95000"/>
            </a:schemeClr>
          </a:solidFill>
          <a:ln w="22860">
            <a:noFill/>
            <a:prstDash val="solid"/>
          </a:ln>
        </p:spPr>
        <p:txBody>
          <a:bodyPr/>
          <a:lstStyle/>
          <a:p>
            <a:pPr defTabSz="304770"/>
            <a:endParaRPr lang="en-IN" sz="1500">
              <a:solidFill>
                <a:srgbClr val="000000"/>
              </a:solidFill>
              <a:latin typeface="Moderat" pitchFamily="2" charset="77"/>
            </a:endParaRPr>
          </a:p>
        </p:txBody>
      </p:sp>
      <p:grpSp>
        <p:nvGrpSpPr>
          <p:cNvPr id="29" name="Group 28">
            <a:extLst>
              <a:ext uri="{FF2B5EF4-FFF2-40B4-BE49-F238E27FC236}">
                <a16:creationId xmlns:a16="http://schemas.microsoft.com/office/drawing/2014/main" id="{DAC2567E-AA37-BB7E-B313-5937796F5FC8}"/>
              </a:ext>
            </a:extLst>
          </p:cNvPr>
          <p:cNvGrpSpPr/>
          <p:nvPr/>
        </p:nvGrpSpPr>
        <p:grpSpPr>
          <a:xfrm>
            <a:off x="1185863" y="2489482"/>
            <a:ext cx="4507439" cy="815138"/>
            <a:chOff x="1245659" y="2555037"/>
            <a:chExt cx="4507439" cy="815138"/>
          </a:xfrm>
        </p:grpSpPr>
        <p:sp>
          <p:nvSpPr>
            <p:cNvPr id="4" name="Text 7">
              <a:extLst>
                <a:ext uri="{FF2B5EF4-FFF2-40B4-BE49-F238E27FC236}">
                  <a16:creationId xmlns:a16="http://schemas.microsoft.com/office/drawing/2014/main" id="{0820A0A6-D445-BEC3-9D9D-2B776732723E}"/>
                </a:ext>
              </a:extLst>
            </p:cNvPr>
            <p:cNvSpPr/>
            <p:nvPr/>
          </p:nvSpPr>
          <p:spPr>
            <a:xfrm>
              <a:off x="1245659" y="2555037"/>
              <a:ext cx="4507438" cy="230128"/>
            </a:xfrm>
            <a:prstGeom prst="rect">
              <a:avLst/>
            </a:prstGeom>
            <a:noFill/>
            <a:ln/>
          </p:spPr>
          <p:txBody>
            <a:bodyPr wrap="square" lIns="0" tIns="0" rIns="0" bIns="0" rtlCol="0" anchor="t">
              <a:spAutoFit/>
            </a:bodyPr>
            <a:lstStyle/>
            <a:p>
              <a:pPr>
                <a:lnSpc>
                  <a:spcPts val="1916"/>
                </a:lnSpc>
              </a:pPr>
              <a:r>
                <a:rPr lang="en-US" sz="1400" b="1">
                  <a:solidFill>
                    <a:schemeClr val="accent6"/>
                  </a:solidFill>
                  <a:latin typeface="Moderat" pitchFamily="2" charset="77"/>
                  <a:ea typeface="Lato Bold" pitchFamily="34" charset="-122"/>
                  <a:cs typeface="Lato Bold" pitchFamily="34" charset="-120"/>
                </a:rPr>
                <a:t>Growth and innovation as leadership capability</a:t>
              </a:r>
            </a:p>
          </p:txBody>
        </p:sp>
        <p:sp>
          <p:nvSpPr>
            <p:cNvPr id="5" name="Text 8">
              <a:extLst>
                <a:ext uri="{FF2B5EF4-FFF2-40B4-BE49-F238E27FC236}">
                  <a16:creationId xmlns:a16="http://schemas.microsoft.com/office/drawing/2014/main" id="{A6FC4C02-5742-468E-5330-D29C817CFE37}"/>
                </a:ext>
              </a:extLst>
            </p:cNvPr>
            <p:cNvSpPr/>
            <p:nvPr/>
          </p:nvSpPr>
          <p:spPr>
            <a:xfrm>
              <a:off x="1245660" y="2816177"/>
              <a:ext cx="4507438" cy="553998"/>
            </a:xfrm>
            <a:prstGeom prst="rect">
              <a:avLst/>
            </a:prstGeom>
            <a:noFill/>
            <a:ln/>
          </p:spPr>
          <p:txBody>
            <a:bodyPr wrap="square" lIns="0" tIns="0" rIns="0" bIns="0" rtlCol="0" anchor="t">
              <a:spAutoFit/>
            </a:bodyPr>
            <a:lstStyle/>
            <a:p>
              <a:pPr>
                <a:spcBef>
                  <a:spcPts val="400"/>
                </a:spcBef>
                <a:spcAft>
                  <a:spcPts val="400"/>
                </a:spcAft>
              </a:pPr>
              <a:r>
                <a:rPr lang="en-US" sz="1200">
                  <a:solidFill>
                    <a:schemeClr val="bg2">
                      <a:lumMod val="25000"/>
                    </a:schemeClr>
                  </a:solidFill>
                  <a:latin typeface="Moderat" pitchFamily="2" charset="77"/>
                  <a:ea typeface="Lato" pitchFamily="34" charset="-122"/>
                  <a:cs typeface="Lato" pitchFamily="34" charset="-120"/>
                </a:rPr>
                <a:t>Understand enterprise goals and GCC charter. Clarify team roles and success metrics. Guide your team through </a:t>
              </a:r>
              <a:r>
                <a:rPr lang="en-US" sz="1200" b="1">
                  <a:solidFill>
                    <a:schemeClr val="bg2">
                      <a:lumMod val="25000"/>
                    </a:schemeClr>
                  </a:solidFill>
                  <a:latin typeface="Moderat" pitchFamily="2" charset="77"/>
                  <a:ea typeface="Lato" pitchFamily="34" charset="-122"/>
                  <a:cs typeface="Lato" pitchFamily="34" charset="-120"/>
                </a:rPr>
                <a:t>Forming</a:t>
              </a:r>
              <a:r>
                <a:rPr lang="en-US" sz="1200">
                  <a:solidFill>
                    <a:schemeClr val="bg2">
                      <a:lumMod val="25000"/>
                    </a:schemeClr>
                  </a:solidFill>
                  <a:latin typeface="Moderat" pitchFamily="2" charset="77"/>
                  <a:ea typeface="Lato" pitchFamily="34" charset="-122"/>
                  <a:cs typeface="Lato" pitchFamily="34" charset="-120"/>
                </a:rPr>
                <a:t>: establish purpose and ways of working</a:t>
              </a:r>
            </a:p>
          </p:txBody>
        </p:sp>
      </p:grpSp>
      <p:sp>
        <p:nvSpPr>
          <p:cNvPr id="7" name="Shape 7">
            <a:extLst>
              <a:ext uri="{FF2B5EF4-FFF2-40B4-BE49-F238E27FC236}">
                <a16:creationId xmlns:a16="http://schemas.microsoft.com/office/drawing/2014/main" id="{B40C0F42-9E0D-7077-F21E-C2030AB7AC37}"/>
              </a:ext>
            </a:extLst>
          </p:cNvPr>
          <p:cNvSpPr/>
          <p:nvPr/>
        </p:nvSpPr>
        <p:spPr>
          <a:xfrm>
            <a:off x="773669" y="2395207"/>
            <a:ext cx="54000" cy="1003691"/>
          </a:xfrm>
          <a:prstGeom prst="roundRect">
            <a:avLst>
              <a:gd name="adj" fmla="val 0"/>
            </a:avLst>
          </a:prstGeom>
          <a:solidFill>
            <a:schemeClr val="accent5"/>
          </a:solidFill>
          <a:ln>
            <a:noFill/>
          </a:ln>
        </p:spPr>
        <p:txBody>
          <a:bodyPr/>
          <a:lstStyle/>
          <a:p>
            <a:endParaRPr lang="en-IN" sz="1500">
              <a:latin typeface="Moderat" pitchFamily="2" charset="77"/>
            </a:endParaRPr>
          </a:p>
        </p:txBody>
      </p:sp>
      <p:sp>
        <p:nvSpPr>
          <p:cNvPr id="28" name="Text 8">
            <a:extLst>
              <a:ext uri="{FF2B5EF4-FFF2-40B4-BE49-F238E27FC236}">
                <a16:creationId xmlns:a16="http://schemas.microsoft.com/office/drawing/2014/main" id="{E7BD1AF7-32EF-642D-0A67-E2BA98435AE3}"/>
              </a:ext>
            </a:extLst>
          </p:cNvPr>
          <p:cNvSpPr/>
          <p:nvPr/>
        </p:nvSpPr>
        <p:spPr>
          <a:xfrm>
            <a:off x="515936" y="1579595"/>
            <a:ext cx="11160127" cy="430887"/>
          </a:xfrm>
          <a:prstGeom prst="rect">
            <a:avLst/>
          </a:prstGeom>
          <a:noFill/>
          <a:ln/>
        </p:spPr>
        <p:txBody>
          <a:bodyPr wrap="square" lIns="0" tIns="0" rIns="0" bIns="0" rtlCol="0" anchor="t">
            <a:spAutoFit/>
          </a:bodyPr>
          <a:lstStyle/>
          <a:p>
            <a:pPr lvl="0" eaLnBrk="0" fontAlgn="base" hangingPunct="0">
              <a:spcBef>
                <a:spcPct val="0"/>
              </a:spcBef>
              <a:spcAft>
                <a:spcPct val="0"/>
              </a:spcAft>
            </a:pPr>
            <a:r>
              <a:rPr lang="en-US" altLang="en-US" sz="1400">
                <a:latin typeface="Arial" panose="020B0604020202020204" pitchFamily="34" charset="0"/>
              </a:rPr>
              <a:t>SUMMIT is a capstone experience for executive leaders who recognize that growth and innovation are leadership obligations. It reshapes how leaders think, decide, and act so innovation becomes a repeatable enterprise capability, not a one-off initiative.</a:t>
            </a:r>
          </a:p>
        </p:txBody>
      </p:sp>
      <p:sp>
        <p:nvSpPr>
          <p:cNvPr id="32" name="Shape 2">
            <a:extLst>
              <a:ext uri="{FF2B5EF4-FFF2-40B4-BE49-F238E27FC236}">
                <a16:creationId xmlns:a16="http://schemas.microsoft.com/office/drawing/2014/main" id="{DA1E9166-6319-28FA-4DDC-6F08A4DCC760}"/>
              </a:ext>
            </a:extLst>
          </p:cNvPr>
          <p:cNvSpPr/>
          <p:nvPr/>
        </p:nvSpPr>
        <p:spPr>
          <a:xfrm>
            <a:off x="827669" y="3512806"/>
            <a:ext cx="5067731" cy="1003691"/>
          </a:xfrm>
          <a:prstGeom prst="roundRect">
            <a:avLst>
              <a:gd name="adj" fmla="val 2503"/>
            </a:avLst>
          </a:prstGeom>
          <a:solidFill>
            <a:schemeClr val="bg1">
              <a:lumMod val="95000"/>
            </a:schemeClr>
          </a:solidFill>
          <a:ln w="22860">
            <a:noFill/>
            <a:prstDash val="solid"/>
          </a:ln>
        </p:spPr>
        <p:txBody>
          <a:bodyPr/>
          <a:lstStyle/>
          <a:p>
            <a:pPr defTabSz="304770"/>
            <a:endParaRPr lang="en-IN" sz="1500">
              <a:solidFill>
                <a:srgbClr val="000000"/>
              </a:solidFill>
              <a:latin typeface="Moderat" pitchFamily="2" charset="77"/>
            </a:endParaRPr>
          </a:p>
        </p:txBody>
      </p:sp>
      <p:grpSp>
        <p:nvGrpSpPr>
          <p:cNvPr id="33" name="Group 32">
            <a:extLst>
              <a:ext uri="{FF2B5EF4-FFF2-40B4-BE49-F238E27FC236}">
                <a16:creationId xmlns:a16="http://schemas.microsoft.com/office/drawing/2014/main" id="{D4AF5A6A-A712-24A9-2CEB-6580F1A6A27F}"/>
              </a:ext>
            </a:extLst>
          </p:cNvPr>
          <p:cNvGrpSpPr/>
          <p:nvPr/>
        </p:nvGrpSpPr>
        <p:grpSpPr>
          <a:xfrm>
            <a:off x="1185863" y="3607082"/>
            <a:ext cx="4507439" cy="815138"/>
            <a:chOff x="1245659" y="2555037"/>
            <a:chExt cx="4507439" cy="815138"/>
          </a:xfrm>
        </p:grpSpPr>
        <p:sp>
          <p:nvSpPr>
            <p:cNvPr id="46" name="Text 7">
              <a:extLst>
                <a:ext uri="{FF2B5EF4-FFF2-40B4-BE49-F238E27FC236}">
                  <a16:creationId xmlns:a16="http://schemas.microsoft.com/office/drawing/2014/main" id="{AC66858B-E38D-5B7E-D2B5-B59EB3BB7B89}"/>
                </a:ext>
              </a:extLst>
            </p:cNvPr>
            <p:cNvSpPr/>
            <p:nvPr/>
          </p:nvSpPr>
          <p:spPr>
            <a:xfrm>
              <a:off x="1245659" y="2555037"/>
              <a:ext cx="4507438" cy="230128"/>
            </a:xfrm>
            <a:prstGeom prst="rect">
              <a:avLst/>
            </a:prstGeom>
            <a:noFill/>
            <a:ln/>
          </p:spPr>
          <p:txBody>
            <a:bodyPr wrap="square" lIns="0" tIns="0" rIns="0" bIns="0" rtlCol="0" anchor="t">
              <a:spAutoFit/>
            </a:bodyPr>
            <a:lstStyle/>
            <a:p>
              <a:pPr>
                <a:lnSpc>
                  <a:spcPts val="1916"/>
                </a:lnSpc>
              </a:pPr>
              <a:r>
                <a:rPr lang="en-US" sz="1400" b="1">
                  <a:solidFill>
                    <a:schemeClr val="accent6"/>
                  </a:solidFill>
                  <a:latin typeface="Moderat" pitchFamily="2" charset="77"/>
                  <a:ea typeface="Lato Bold" pitchFamily="34" charset="-122"/>
                  <a:cs typeface="Lato Bold" pitchFamily="34" charset="-120"/>
                </a:rPr>
                <a:t>Identify opportunities in data and market signals</a:t>
              </a:r>
            </a:p>
          </p:txBody>
        </p:sp>
        <p:sp>
          <p:nvSpPr>
            <p:cNvPr id="47" name="Text 8">
              <a:extLst>
                <a:ext uri="{FF2B5EF4-FFF2-40B4-BE49-F238E27FC236}">
                  <a16:creationId xmlns:a16="http://schemas.microsoft.com/office/drawing/2014/main" id="{2D585A88-FFAB-0A13-319A-D5FDA6D49DE4}"/>
                </a:ext>
              </a:extLst>
            </p:cNvPr>
            <p:cNvSpPr/>
            <p:nvPr/>
          </p:nvSpPr>
          <p:spPr>
            <a:xfrm>
              <a:off x="1245660" y="2816177"/>
              <a:ext cx="4507438" cy="553998"/>
            </a:xfrm>
            <a:prstGeom prst="rect">
              <a:avLst/>
            </a:prstGeom>
            <a:noFill/>
            <a:ln/>
          </p:spPr>
          <p:txBody>
            <a:bodyPr wrap="square" lIns="0" tIns="0" rIns="0" bIns="0" rtlCol="0" anchor="t">
              <a:spAutoFit/>
            </a:bodyPr>
            <a:lstStyle/>
            <a:p>
              <a:pPr>
                <a:spcBef>
                  <a:spcPts val="400"/>
                </a:spcBef>
                <a:spcAft>
                  <a:spcPts val="400"/>
                </a:spcAft>
              </a:pPr>
              <a:r>
                <a:rPr lang="en-US" sz="1200">
                  <a:solidFill>
                    <a:schemeClr val="bg2">
                      <a:lumMod val="25000"/>
                    </a:schemeClr>
                  </a:solidFill>
                  <a:latin typeface="Moderat" pitchFamily="2" charset="77"/>
                  <a:ea typeface="Lato" pitchFamily="34" charset="-122"/>
                  <a:cs typeface="Lato" pitchFamily="34" charset="-120"/>
                </a:rPr>
                <a:t>Shape a trusting, psychologically safe environment. Model communication norms and accountability. Enable your team to move into </a:t>
              </a:r>
              <a:r>
                <a:rPr lang="en-US" sz="1200" b="1">
                  <a:solidFill>
                    <a:schemeClr val="bg2">
                      <a:lumMod val="25000"/>
                    </a:schemeClr>
                  </a:solidFill>
                  <a:latin typeface="Moderat" pitchFamily="2" charset="77"/>
                  <a:ea typeface="Lato" pitchFamily="34" charset="-122"/>
                  <a:cs typeface="Lato" pitchFamily="34" charset="-120"/>
                </a:rPr>
                <a:t>Norming</a:t>
              </a:r>
              <a:r>
                <a:rPr lang="en-US" sz="1200">
                  <a:solidFill>
                    <a:schemeClr val="bg2">
                      <a:lumMod val="25000"/>
                    </a:schemeClr>
                  </a:solidFill>
                  <a:latin typeface="Moderat" pitchFamily="2" charset="77"/>
                  <a:ea typeface="Lato" pitchFamily="34" charset="-122"/>
                  <a:cs typeface="Lato" pitchFamily="34" charset="-120"/>
                </a:rPr>
                <a:t>: embed rituals and create consistency</a:t>
              </a:r>
            </a:p>
          </p:txBody>
        </p:sp>
      </p:grpSp>
      <p:sp>
        <p:nvSpPr>
          <p:cNvPr id="34" name="Shape 7">
            <a:extLst>
              <a:ext uri="{FF2B5EF4-FFF2-40B4-BE49-F238E27FC236}">
                <a16:creationId xmlns:a16="http://schemas.microsoft.com/office/drawing/2014/main" id="{5510C6E7-05D0-411D-98F5-1640858BD6E9}"/>
              </a:ext>
            </a:extLst>
          </p:cNvPr>
          <p:cNvSpPr/>
          <p:nvPr/>
        </p:nvSpPr>
        <p:spPr>
          <a:xfrm>
            <a:off x="773669" y="3512807"/>
            <a:ext cx="54000" cy="1003691"/>
          </a:xfrm>
          <a:prstGeom prst="roundRect">
            <a:avLst>
              <a:gd name="adj" fmla="val 0"/>
            </a:avLst>
          </a:prstGeom>
          <a:solidFill>
            <a:schemeClr val="accent5"/>
          </a:solidFill>
          <a:ln>
            <a:noFill/>
          </a:ln>
        </p:spPr>
        <p:txBody>
          <a:bodyPr/>
          <a:lstStyle/>
          <a:p>
            <a:endParaRPr lang="en-IN" sz="1500">
              <a:latin typeface="Moderat" pitchFamily="2" charset="77"/>
            </a:endParaRPr>
          </a:p>
        </p:txBody>
      </p:sp>
      <p:sp>
        <p:nvSpPr>
          <p:cNvPr id="51" name="Shape 2">
            <a:extLst>
              <a:ext uri="{FF2B5EF4-FFF2-40B4-BE49-F238E27FC236}">
                <a16:creationId xmlns:a16="http://schemas.microsoft.com/office/drawing/2014/main" id="{5910170D-73DE-34FC-32FC-DD3D01B405A1}"/>
              </a:ext>
            </a:extLst>
          </p:cNvPr>
          <p:cNvSpPr/>
          <p:nvPr/>
        </p:nvSpPr>
        <p:spPr>
          <a:xfrm>
            <a:off x="827669" y="4630406"/>
            <a:ext cx="5067731" cy="1003691"/>
          </a:xfrm>
          <a:prstGeom prst="roundRect">
            <a:avLst>
              <a:gd name="adj" fmla="val 2503"/>
            </a:avLst>
          </a:prstGeom>
          <a:solidFill>
            <a:schemeClr val="bg1">
              <a:lumMod val="95000"/>
            </a:schemeClr>
          </a:solidFill>
          <a:ln w="22860">
            <a:noFill/>
            <a:prstDash val="solid"/>
          </a:ln>
        </p:spPr>
        <p:txBody>
          <a:bodyPr/>
          <a:lstStyle/>
          <a:p>
            <a:pPr defTabSz="304770"/>
            <a:endParaRPr lang="en-IN" sz="1500">
              <a:solidFill>
                <a:srgbClr val="000000"/>
              </a:solidFill>
              <a:latin typeface="Moderat" pitchFamily="2" charset="77"/>
            </a:endParaRPr>
          </a:p>
        </p:txBody>
      </p:sp>
      <p:grpSp>
        <p:nvGrpSpPr>
          <p:cNvPr id="54" name="Group 53">
            <a:extLst>
              <a:ext uri="{FF2B5EF4-FFF2-40B4-BE49-F238E27FC236}">
                <a16:creationId xmlns:a16="http://schemas.microsoft.com/office/drawing/2014/main" id="{393E9904-7C2F-4957-BF78-C4744C0F2B44}"/>
              </a:ext>
            </a:extLst>
          </p:cNvPr>
          <p:cNvGrpSpPr/>
          <p:nvPr/>
        </p:nvGrpSpPr>
        <p:grpSpPr>
          <a:xfrm>
            <a:off x="1185863" y="4724682"/>
            <a:ext cx="4507439" cy="815138"/>
            <a:chOff x="1245659" y="2555037"/>
            <a:chExt cx="4507439" cy="815138"/>
          </a:xfrm>
        </p:grpSpPr>
        <p:sp>
          <p:nvSpPr>
            <p:cNvPr id="63" name="Text 7">
              <a:extLst>
                <a:ext uri="{FF2B5EF4-FFF2-40B4-BE49-F238E27FC236}">
                  <a16:creationId xmlns:a16="http://schemas.microsoft.com/office/drawing/2014/main" id="{D91736AF-E59F-EF62-535D-E4C6ADE240DC}"/>
                </a:ext>
              </a:extLst>
            </p:cNvPr>
            <p:cNvSpPr/>
            <p:nvPr/>
          </p:nvSpPr>
          <p:spPr>
            <a:xfrm>
              <a:off x="1245659" y="2555037"/>
              <a:ext cx="4507438" cy="230128"/>
            </a:xfrm>
            <a:prstGeom prst="rect">
              <a:avLst/>
            </a:prstGeom>
            <a:noFill/>
            <a:ln/>
          </p:spPr>
          <p:txBody>
            <a:bodyPr wrap="square" lIns="0" tIns="0" rIns="0" bIns="0" rtlCol="0" anchor="t">
              <a:spAutoFit/>
            </a:bodyPr>
            <a:lstStyle/>
            <a:p>
              <a:pPr>
                <a:lnSpc>
                  <a:spcPts val="1916"/>
                </a:lnSpc>
              </a:pPr>
              <a:r>
                <a:rPr lang="en-US" sz="1400" b="1">
                  <a:solidFill>
                    <a:schemeClr val="accent6"/>
                  </a:solidFill>
                  <a:latin typeface="Moderat" pitchFamily="2" charset="77"/>
                  <a:ea typeface="Lato Bold" pitchFamily="34" charset="-122"/>
                  <a:cs typeface="Lato Bold" pitchFamily="34" charset="-120"/>
                </a:rPr>
                <a:t>Anticipate disruption; internally and externally</a:t>
              </a:r>
            </a:p>
          </p:txBody>
        </p:sp>
        <p:sp>
          <p:nvSpPr>
            <p:cNvPr id="64" name="Text 8">
              <a:extLst>
                <a:ext uri="{FF2B5EF4-FFF2-40B4-BE49-F238E27FC236}">
                  <a16:creationId xmlns:a16="http://schemas.microsoft.com/office/drawing/2014/main" id="{8571BABC-1C51-9043-E091-063E3A8C5717}"/>
                </a:ext>
              </a:extLst>
            </p:cNvPr>
            <p:cNvSpPr/>
            <p:nvPr/>
          </p:nvSpPr>
          <p:spPr>
            <a:xfrm>
              <a:off x="1245660" y="2816177"/>
              <a:ext cx="4507438" cy="553998"/>
            </a:xfrm>
            <a:prstGeom prst="rect">
              <a:avLst/>
            </a:prstGeom>
            <a:noFill/>
            <a:ln/>
          </p:spPr>
          <p:txBody>
            <a:bodyPr wrap="square" lIns="0" tIns="0" rIns="0" bIns="0" rtlCol="0" anchor="t">
              <a:spAutoFit/>
            </a:bodyPr>
            <a:lstStyle/>
            <a:p>
              <a:pPr>
                <a:spcBef>
                  <a:spcPts val="400"/>
                </a:spcBef>
                <a:spcAft>
                  <a:spcPts val="400"/>
                </a:spcAft>
              </a:pPr>
              <a:r>
                <a:rPr lang="en-US" sz="1200">
                  <a:solidFill>
                    <a:schemeClr val="bg2">
                      <a:lumMod val="25000"/>
                    </a:schemeClr>
                  </a:solidFill>
                  <a:latin typeface="Moderat" pitchFamily="2" charset="77"/>
                  <a:ea typeface="Lato" pitchFamily="34" charset="-122"/>
                  <a:cs typeface="Lato" pitchFamily="34" charset="-120"/>
                </a:rPr>
                <a:t>Develop capability through upskilling and coaching. Give clear performance feedback. Identify early talent and promote peer learning throughout the organization</a:t>
              </a:r>
            </a:p>
          </p:txBody>
        </p:sp>
      </p:grpSp>
      <p:sp>
        <p:nvSpPr>
          <p:cNvPr id="66" name="Shape 2">
            <a:extLst>
              <a:ext uri="{FF2B5EF4-FFF2-40B4-BE49-F238E27FC236}">
                <a16:creationId xmlns:a16="http://schemas.microsoft.com/office/drawing/2014/main" id="{D98BAEB3-3EA3-746F-3D95-A9709600EE4F}"/>
              </a:ext>
            </a:extLst>
          </p:cNvPr>
          <p:cNvSpPr/>
          <p:nvPr/>
        </p:nvSpPr>
        <p:spPr>
          <a:xfrm>
            <a:off x="6608332" y="2395206"/>
            <a:ext cx="5067731" cy="1003691"/>
          </a:xfrm>
          <a:prstGeom prst="roundRect">
            <a:avLst>
              <a:gd name="adj" fmla="val 2503"/>
            </a:avLst>
          </a:prstGeom>
          <a:solidFill>
            <a:schemeClr val="bg1">
              <a:lumMod val="95000"/>
            </a:schemeClr>
          </a:solidFill>
          <a:ln w="22860">
            <a:noFill/>
            <a:prstDash val="solid"/>
          </a:ln>
        </p:spPr>
        <p:txBody>
          <a:bodyPr/>
          <a:lstStyle/>
          <a:p>
            <a:pPr defTabSz="304770"/>
            <a:endParaRPr lang="en-IN" sz="1500">
              <a:solidFill>
                <a:srgbClr val="000000"/>
              </a:solidFill>
              <a:latin typeface="Moderat" pitchFamily="2" charset="77"/>
            </a:endParaRPr>
          </a:p>
        </p:txBody>
      </p:sp>
      <p:grpSp>
        <p:nvGrpSpPr>
          <p:cNvPr id="67" name="Group 66">
            <a:extLst>
              <a:ext uri="{FF2B5EF4-FFF2-40B4-BE49-F238E27FC236}">
                <a16:creationId xmlns:a16="http://schemas.microsoft.com/office/drawing/2014/main" id="{DC5242CB-6A9A-A211-120A-96247255E167}"/>
              </a:ext>
            </a:extLst>
          </p:cNvPr>
          <p:cNvGrpSpPr/>
          <p:nvPr/>
        </p:nvGrpSpPr>
        <p:grpSpPr>
          <a:xfrm>
            <a:off x="6966526" y="2489482"/>
            <a:ext cx="4507439" cy="815138"/>
            <a:chOff x="1245659" y="2555037"/>
            <a:chExt cx="4507439" cy="815138"/>
          </a:xfrm>
        </p:grpSpPr>
        <p:sp>
          <p:nvSpPr>
            <p:cNvPr id="70" name="Text 7">
              <a:extLst>
                <a:ext uri="{FF2B5EF4-FFF2-40B4-BE49-F238E27FC236}">
                  <a16:creationId xmlns:a16="http://schemas.microsoft.com/office/drawing/2014/main" id="{542BD7C4-C8E2-C41E-7F6A-326CC3A6D8D1}"/>
                </a:ext>
              </a:extLst>
            </p:cNvPr>
            <p:cNvSpPr/>
            <p:nvPr/>
          </p:nvSpPr>
          <p:spPr>
            <a:xfrm>
              <a:off x="1245659" y="2555037"/>
              <a:ext cx="4507438" cy="230128"/>
            </a:xfrm>
            <a:prstGeom prst="rect">
              <a:avLst/>
            </a:prstGeom>
            <a:noFill/>
            <a:ln/>
          </p:spPr>
          <p:txBody>
            <a:bodyPr wrap="square" lIns="0" tIns="0" rIns="0" bIns="0" rtlCol="0" anchor="t">
              <a:spAutoFit/>
            </a:bodyPr>
            <a:lstStyle/>
            <a:p>
              <a:pPr>
                <a:lnSpc>
                  <a:spcPts val="1916"/>
                </a:lnSpc>
              </a:pPr>
              <a:r>
                <a:rPr lang="en-US" sz="1400" b="1">
                  <a:solidFill>
                    <a:schemeClr val="accent6"/>
                  </a:solidFill>
                  <a:latin typeface="Moderat" pitchFamily="2" charset="77"/>
                  <a:ea typeface="Lato Bold" pitchFamily="34" charset="-122"/>
                  <a:cs typeface="Lato Bold" pitchFamily="34" charset="-120"/>
                </a:rPr>
                <a:t>Innovation labs and experimentation frameworks</a:t>
              </a:r>
            </a:p>
          </p:txBody>
        </p:sp>
        <p:sp>
          <p:nvSpPr>
            <p:cNvPr id="71" name="Text 8">
              <a:extLst>
                <a:ext uri="{FF2B5EF4-FFF2-40B4-BE49-F238E27FC236}">
                  <a16:creationId xmlns:a16="http://schemas.microsoft.com/office/drawing/2014/main" id="{080786F6-6B3F-B99D-8F97-F37C672880F9}"/>
                </a:ext>
              </a:extLst>
            </p:cNvPr>
            <p:cNvSpPr/>
            <p:nvPr/>
          </p:nvSpPr>
          <p:spPr>
            <a:xfrm>
              <a:off x="1245660" y="2816177"/>
              <a:ext cx="4507438" cy="553998"/>
            </a:xfrm>
            <a:prstGeom prst="rect">
              <a:avLst/>
            </a:prstGeom>
            <a:noFill/>
            <a:ln/>
          </p:spPr>
          <p:txBody>
            <a:bodyPr wrap="square" lIns="0" tIns="0" rIns="0" bIns="0" rtlCol="0" anchor="t">
              <a:spAutoFit/>
            </a:bodyPr>
            <a:lstStyle/>
            <a:p>
              <a:pPr>
                <a:spcBef>
                  <a:spcPts val="400"/>
                </a:spcBef>
                <a:spcAft>
                  <a:spcPts val="400"/>
                </a:spcAft>
              </a:pPr>
              <a:r>
                <a:rPr lang="en-US" sz="1200">
                  <a:solidFill>
                    <a:schemeClr val="bg2">
                      <a:lumMod val="25000"/>
                    </a:schemeClr>
                  </a:solidFill>
                  <a:latin typeface="Moderat" pitchFamily="2" charset="77"/>
                  <a:ea typeface="Lato" pitchFamily="34" charset="-122"/>
                  <a:cs typeface="Lato" pitchFamily="34" charset="-120"/>
                </a:rPr>
                <a:t>Set 30/60/90-day priorities for operational readiness. Build repeatable processes. Support your team in </a:t>
              </a:r>
              <a:r>
                <a:rPr lang="en-US" sz="1200" b="1">
                  <a:solidFill>
                    <a:schemeClr val="bg2">
                      <a:lumMod val="25000"/>
                    </a:schemeClr>
                  </a:solidFill>
                  <a:latin typeface="Moderat" pitchFamily="2" charset="77"/>
                  <a:ea typeface="Lato" pitchFamily="34" charset="-122"/>
                  <a:cs typeface="Lato" pitchFamily="34" charset="-120"/>
                </a:rPr>
                <a:t>Storming</a:t>
              </a:r>
              <a:r>
                <a:rPr lang="en-US" sz="1200">
                  <a:solidFill>
                    <a:schemeClr val="bg2">
                      <a:lumMod val="25000"/>
                    </a:schemeClr>
                  </a:solidFill>
                  <a:latin typeface="Moderat" pitchFamily="2" charset="77"/>
                  <a:ea typeface="Lato" pitchFamily="34" charset="-122"/>
                  <a:cs typeface="Lato" pitchFamily="34" charset="-120"/>
                </a:rPr>
                <a:t>: normalize conflict and address friction early</a:t>
              </a:r>
            </a:p>
          </p:txBody>
        </p:sp>
      </p:grpSp>
      <p:sp>
        <p:nvSpPr>
          <p:cNvPr id="68" name="Shape 7">
            <a:extLst>
              <a:ext uri="{FF2B5EF4-FFF2-40B4-BE49-F238E27FC236}">
                <a16:creationId xmlns:a16="http://schemas.microsoft.com/office/drawing/2014/main" id="{78F3B6AC-FB6D-EFFE-3F68-920EF0368CD4}"/>
              </a:ext>
            </a:extLst>
          </p:cNvPr>
          <p:cNvSpPr/>
          <p:nvPr/>
        </p:nvSpPr>
        <p:spPr>
          <a:xfrm>
            <a:off x="6554332" y="2395207"/>
            <a:ext cx="54000" cy="1003691"/>
          </a:xfrm>
          <a:prstGeom prst="roundRect">
            <a:avLst>
              <a:gd name="adj" fmla="val 0"/>
            </a:avLst>
          </a:prstGeom>
          <a:solidFill>
            <a:schemeClr val="accent5"/>
          </a:solidFill>
          <a:ln>
            <a:noFill/>
          </a:ln>
        </p:spPr>
        <p:txBody>
          <a:bodyPr/>
          <a:lstStyle/>
          <a:p>
            <a:endParaRPr lang="en-IN" sz="1500">
              <a:latin typeface="Moderat" pitchFamily="2" charset="77"/>
            </a:endParaRPr>
          </a:p>
        </p:txBody>
      </p:sp>
      <p:sp>
        <p:nvSpPr>
          <p:cNvPr id="73" name="Shape 2">
            <a:extLst>
              <a:ext uri="{FF2B5EF4-FFF2-40B4-BE49-F238E27FC236}">
                <a16:creationId xmlns:a16="http://schemas.microsoft.com/office/drawing/2014/main" id="{96F0E4F5-2B1D-8BB7-4550-561EAACB1B01}"/>
              </a:ext>
            </a:extLst>
          </p:cNvPr>
          <p:cNvSpPr/>
          <p:nvPr/>
        </p:nvSpPr>
        <p:spPr>
          <a:xfrm>
            <a:off x="6608332" y="3512806"/>
            <a:ext cx="5067731" cy="1003691"/>
          </a:xfrm>
          <a:prstGeom prst="roundRect">
            <a:avLst>
              <a:gd name="adj" fmla="val 2503"/>
            </a:avLst>
          </a:prstGeom>
          <a:solidFill>
            <a:schemeClr val="bg1">
              <a:lumMod val="95000"/>
            </a:schemeClr>
          </a:solidFill>
          <a:ln w="22860">
            <a:noFill/>
            <a:prstDash val="solid"/>
          </a:ln>
        </p:spPr>
        <p:txBody>
          <a:bodyPr/>
          <a:lstStyle/>
          <a:p>
            <a:pPr defTabSz="304770"/>
            <a:endParaRPr lang="en-IN" sz="1500">
              <a:solidFill>
                <a:srgbClr val="000000"/>
              </a:solidFill>
              <a:latin typeface="Moderat" pitchFamily="2" charset="77"/>
            </a:endParaRPr>
          </a:p>
        </p:txBody>
      </p:sp>
      <p:grpSp>
        <p:nvGrpSpPr>
          <p:cNvPr id="74" name="Group 73">
            <a:extLst>
              <a:ext uri="{FF2B5EF4-FFF2-40B4-BE49-F238E27FC236}">
                <a16:creationId xmlns:a16="http://schemas.microsoft.com/office/drawing/2014/main" id="{D19915DF-E0A2-A0E4-2043-95BD1B715DE4}"/>
              </a:ext>
            </a:extLst>
          </p:cNvPr>
          <p:cNvGrpSpPr/>
          <p:nvPr/>
        </p:nvGrpSpPr>
        <p:grpSpPr>
          <a:xfrm>
            <a:off x="6966526" y="3607082"/>
            <a:ext cx="4507439" cy="815138"/>
            <a:chOff x="1245659" y="2555037"/>
            <a:chExt cx="4507439" cy="815138"/>
          </a:xfrm>
        </p:grpSpPr>
        <p:sp>
          <p:nvSpPr>
            <p:cNvPr id="77" name="Text 7">
              <a:extLst>
                <a:ext uri="{FF2B5EF4-FFF2-40B4-BE49-F238E27FC236}">
                  <a16:creationId xmlns:a16="http://schemas.microsoft.com/office/drawing/2014/main" id="{A3384B7A-C8F1-1519-EEB2-854948158390}"/>
                </a:ext>
              </a:extLst>
            </p:cNvPr>
            <p:cNvSpPr/>
            <p:nvPr/>
          </p:nvSpPr>
          <p:spPr>
            <a:xfrm>
              <a:off x="1245659" y="2555037"/>
              <a:ext cx="4507438" cy="230128"/>
            </a:xfrm>
            <a:prstGeom prst="rect">
              <a:avLst/>
            </a:prstGeom>
            <a:noFill/>
            <a:ln/>
          </p:spPr>
          <p:txBody>
            <a:bodyPr wrap="square" lIns="0" tIns="0" rIns="0" bIns="0" rtlCol="0" anchor="t">
              <a:spAutoFit/>
            </a:bodyPr>
            <a:lstStyle/>
            <a:p>
              <a:pPr>
                <a:lnSpc>
                  <a:spcPts val="1916"/>
                </a:lnSpc>
              </a:pPr>
              <a:r>
                <a:rPr lang="en-US" sz="1400" b="1">
                  <a:solidFill>
                    <a:schemeClr val="accent6"/>
                  </a:solidFill>
                  <a:latin typeface="Moderat" pitchFamily="2" charset="77"/>
                  <a:ea typeface="Lato Bold" pitchFamily="34" charset="-122"/>
                  <a:cs typeface="Lato Bold" pitchFamily="34" charset="-120"/>
                </a:rPr>
                <a:t>Curiosity, risk-taking, psychological safety</a:t>
              </a:r>
            </a:p>
          </p:txBody>
        </p:sp>
        <p:sp>
          <p:nvSpPr>
            <p:cNvPr id="78" name="Text 8">
              <a:extLst>
                <a:ext uri="{FF2B5EF4-FFF2-40B4-BE49-F238E27FC236}">
                  <a16:creationId xmlns:a16="http://schemas.microsoft.com/office/drawing/2014/main" id="{F51AEE90-DB29-66CB-5F33-F096957E21E9}"/>
                </a:ext>
              </a:extLst>
            </p:cNvPr>
            <p:cNvSpPr/>
            <p:nvPr/>
          </p:nvSpPr>
          <p:spPr>
            <a:xfrm>
              <a:off x="1245660" y="2816177"/>
              <a:ext cx="4507438" cy="553998"/>
            </a:xfrm>
            <a:prstGeom prst="rect">
              <a:avLst/>
            </a:prstGeom>
            <a:noFill/>
            <a:ln/>
          </p:spPr>
          <p:txBody>
            <a:bodyPr wrap="square" lIns="0" tIns="0" rIns="0" bIns="0" rtlCol="0" anchor="t">
              <a:spAutoFit/>
            </a:bodyPr>
            <a:lstStyle/>
            <a:p>
              <a:pPr>
                <a:spcBef>
                  <a:spcPts val="400"/>
                </a:spcBef>
                <a:spcAft>
                  <a:spcPts val="400"/>
                </a:spcAft>
              </a:pPr>
              <a:r>
                <a:rPr lang="en-US" sz="1200">
                  <a:solidFill>
                    <a:schemeClr val="bg2">
                      <a:lumMod val="25000"/>
                    </a:schemeClr>
                  </a:solidFill>
                  <a:latin typeface="Moderat" pitchFamily="2" charset="77"/>
                  <a:ea typeface="Lato" pitchFamily="34" charset="-122"/>
                  <a:cs typeface="Lato" pitchFamily="34" charset="-120"/>
                </a:rPr>
                <a:t>Build strong relationships with HQ and global partners. Communicate progress effectively. Reinforce cross-functional collaboration and shared ownership across teams</a:t>
              </a:r>
            </a:p>
          </p:txBody>
        </p:sp>
      </p:grpSp>
      <p:sp>
        <p:nvSpPr>
          <p:cNvPr id="75" name="Shape 7">
            <a:extLst>
              <a:ext uri="{FF2B5EF4-FFF2-40B4-BE49-F238E27FC236}">
                <a16:creationId xmlns:a16="http://schemas.microsoft.com/office/drawing/2014/main" id="{735CACEA-069E-AD58-ECC3-A3FED461F2FC}"/>
              </a:ext>
            </a:extLst>
          </p:cNvPr>
          <p:cNvSpPr/>
          <p:nvPr/>
        </p:nvSpPr>
        <p:spPr>
          <a:xfrm>
            <a:off x="6554332" y="3512807"/>
            <a:ext cx="54000" cy="1003691"/>
          </a:xfrm>
          <a:prstGeom prst="roundRect">
            <a:avLst>
              <a:gd name="adj" fmla="val 0"/>
            </a:avLst>
          </a:prstGeom>
          <a:solidFill>
            <a:schemeClr val="accent5"/>
          </a:solidFill>
          <a:ln>
            <a:noFill/>
          </a:ln>
        </p:spPr>
        <p:txBody>
          <a:bodyPr/>
          <a:lstStyle/>
          <a:p>
            <a:endParaRPr lang="en-IN" sz="1500">
              <a:latin typeface="Moderat" pitchFamily="2" charset="77"/>
            </a:endParaRPr>
          </a:p>
        </p:txBody>
      </p:sp>
      <p:sp>
        <p:nvSpPr>
          <p:cNvPr id="80" name="Shape 2">
            <a:extLst>
              <a:ext uri="{FF2B5EF4-FFF2-40B4-BE49-F238E27FC236}">
                <a16:creationId xmlns:a16="http://schemas.microsoft.com/office/drawing/2014/main" id="{2FB478C6-940B-BD3B-ED47-8929BE54D0C6}"/>
              </a:ext>
            </a:extLst>
          </p:cNvPr>
          <p:cNvSpPr/>
          <p:nvPr/>
        </p:nvSpPr>
        <p:spPr>
          <a:xfrm>
            <a:off x="6608332" y="4630406"/>
            <a:ext cx="5067731" cy="1003691"/>
          </a:xfrm>
          <a:prstGeom prst="roundRect">
            <a:avLst>
              <a:gd name="adj" fmla="val 2503"/>
            </a:avLst>
          </a:prstGeom>
          <a:solidFill>
            <a:schemeClr val="bg1">
              <a:lumMod val="95000"/>
            </a:schemeClr>
          </a:solidFill>
          <a:ln w="22860">
            <a:noFill/>
            <a:prstDash val="solid"/>
          </a:ln>
        </p:spPr>
        <p:txBody>
          <a:bodyPr/>
          <a:lstStyle/>
          <a:p>
            <a:pPr defTabSz="304770"/>
            <a:endParaRPr lang="en-IN" sz="1500">
              <a:solidFill>
                <a:srgbClr val="000000"/>
              </a:solidFill>
              <a:latin typeface="Moderat" pitchFamily="2" charset="77"/>
            </a:endParaRPr>
          </a:p>
        </p:txBody>
      </p:sp>
      <p:grpSp>
        <p:nvGrpSpPr>
          <p:cNvPr id="81" name="Group 80">
            <a:extLst>
              <a:ext uri="{FF2B5EF4-FFF2-40B4-BE49-F238E27FC236}">
                <a16:creationId xmlns:a16="http://schemas.microsoft.com/office/drawing/2014/main" id="{DE051F39-2ED0-083F-B19C-E9CC26A5D77A}"/>
              </a:ext>
            </a:extLst>
          </p:cNvPr>
          <p:cNvGrpSpPr/>
          <p:nvPr/>
        </p:nvGrpSpPr>
        <p:grpSpPr>
          <a:xfrm>
            <a:off x="6966526" y="4724682"/>
            <a:ext cx="4507439" cy="815138"/>
            <a:chOff x="1245659" y="2555037"/>
            <a:chExt cx="4507439" cy="815138"/>
          </a:xfrm>
        </p:grpSpPr>
        <p:sp>
          <p:nvSpPr>
            <p:cNvPr id="84" name="Text 7">
              <a:extLst>
                <a:ext uri="{FF2B5EF4-FFF2-40B4-BE49-F238E27FC236}">
                  <a16:creationId xmlns:a16="http://schemas.microsoft.com/office/drawing/2014/main" id="{6C6E3884-67AC-D36D-9332-F32FF0BF85BF}"/>
                </a:ext>
              </a:extLst>
            </p:cNvPr>
            <p:cNvSpPr/>
            <p:nvPr/>
          </p:nvSpPr>
          <p:spPr>
            <a:xfrm>
              <a:off x="1245659" y="2555037"/>
              <a:ext cx="4507438" cy="230128"/>
            </a:xfrm>
            <a:prstGeom prst="rect">
              <a:avLst/>
            </a:prstGeom>
            <a:noFill/>
            <a:ln/>
          </p:spPr>
          <p:txBody>
            <a:bodyPr wrap="square" lIns="0" tIns="0" rIns="0" bIns="0" rtlCol="0" anchor="t">
              <a:spAutoFit/>
            </a:bodyPr>
            <a:lstStyle/>
            <a:p>
              <a:pPr>
                <a:lnSpc>
                  <a:spcPts val="1916"/>
                </a:lnSpc>
              </a:pPr>
              <a:r>
                <a:rPr lang="en-US" sz="1400" b="1">
                  <a:solidFill>
                    <a:schemeClr val="accent6"/>
                  </a:solidFill>
                  <a:latin typeface="Moderat" pitchFamily="2" charset="77"/>
                  <a:ea typeface="Lato Bold" pitchFamily="34" charset="-122"/>
                  <a:cs typeface="Lato Bold" pitchFamily="34" charset="-120"/>
                </a:rPr>
                <a:t>Daily growth habits and coaching integration</a:t>
              </a:r>
            </a:p>
          </p:txBody>
        </p:sp>
        <p:sp>
          <p:nvSpPr>
            <p:cNvPr id="85" name="Text 8">
              <a:extLst>
                <a:ext uri="{FF2B5EF4-FFF2-40B4-BE49-F238E27FC236}">
                  <a16:creationId xmlns:a16="http://schemas.microsoft.com/office/drawing/2014/main" id="{7B3DAFEB-6DEF-578D-C087-A4CB2F564055}"/>
                </a:ext>
              </a:extLst>
            </p:cNvPr>
            <p:cNvSpPr/>
            <p:nvPr/>
          </p:nvSpPr>
          <p:spPr>
            <a:xfrm>
              <a:off x="1245660" y="2816177"/>
              <a:ext cx="4507438" cy="553998"/>
            </a:xfrm>
            <a:prstGeom prst="rect">
              <a:avLst/>
            </a:prstGeom>
            <a:noFill/>
            <a:ln/>
          </p:spPr>
          <p:txBody>
            <a:bodyPr wrap="square" lIns="0" tIns="0" rIns="0" bIns="0" rtlCol="0" anchor="t">
              <a:spAutoFit/>
            </a:bodyPr>
            <a:lstStyle/>
            <a:p>
              <a:pPr>
                <a:spcBef>
                  <a:spcPts val="400"/>
                </a:spcBef>
                <a:spcAft>
                  <a:spcPts val="400"/>
                </a:spcAft>
              </a:pPr>
              <a:r>
                <a:rPr lang="en-US" sz="1200">
                  <a:solidFill>
                    <a:schemeClr val="bg2">
                      <a:lumMod val="25000"/>
                    </a:schemeClr>
                  </a:solidFill>
                  <a:latin typeface="Moderat" pitchFamily="2" charset="77"/>
                  <a:ea typeface="Lato" pitchFamily="34" charset="-122"/>
                  <a:cs typeface="Lato" pitchFamily="34" charset="-120"/>
                </a:rPr>
                <a:t>Lead performance rhythms that enable predictable outcomes. Use data and continuous improvement. Guide your team into </a:t>
              </a:r>
              <a:r>
                <a:rPr lang="en-US" sz="1200" b="1">
                  <a:solidFill>
                    <a:schemeClr val="bg2">
                      <a:lumMod val="25000"/>
                    </a:schemeClr>
                  </a:solidFill>
                  <a:latin typeface="Moderat" pitchFamily="2" charset="77"/>
                  <a:ea typeface="Lato" pitchFamily="34" charset="-122"/>
                  <a:cs typeface="Lato" pitchFamily="34" charset="-120"/>
                </a:rPr>
                <a:t>Performing</a:t>
              </a:r>
              <a:r>
                <a:rPr lang="en-US" sz="1200">
                  <a:solidFill>
                    <a:schemeClr val="bg2">
                      <a:lumMod val="25000"/>
                    </a:schemeClr>
                  </a:solidFill>
                  <a:latin typeface="Moderat" pitchFamily="2" charset="77"/>
                  <a:ea typeface="Lato" pitchFamily="34" charset="-122"/>
                  <a:cs typeface="Lato" pitchFamily="34" charset="-120"/>
                </a:rPr>
                <a:t>: high ownership and consistent delivery</a:t>
              </a:r>
            </a:p>
          </p:txBody>
        </p:sp>
      </p:grpSp>
      <p:sp>
        <p:nvSpPr>
          <p:cNvPr id="82" name="Shape 7">
            <a:extLst>
              <a:ext uri="{FF2B5EF4-FFF2-40B4-BE49-F238E27FC236}">
                <a16:creationId xmlns:a16="http://schemas.microsoft.com/office/drawing/2014/main" id="{6CD6BFCE-1113-09D7-C365-27404FC4AB5D}"/>
              </a:ext>
            </a:extLst>
          </p:cNvPr>
          <p:cNvSpPr/>
          <p:nvPr/>
        </p:nvSpPr>
        <p:spPr>
          <a:xfrm>
            <a:off x="6554332" y="4630407"/>
            <a:ext cx="54000" cy="1003691"/>
          </a:xfrm>
          <a:prstGeom prst="roundRect">
            <a:avLst>
              <a:gd name="adj" fmla="val 0"/>
            </a:avLst>
          </a:prstGeom>
          <a:solidFill>
            <a:schemeClr val="accent5"/>
          </a:solidFill>
          <a:ln>
            <a:noFill/>
          </a:ln>
        </p:spPr>
        <p:txBody>
          <a:bodyPr/>
          <a:lstStyle/>
          <a:p>
            <a:endParaRPr lang="en-IN" sz="1500">
              <a:latin typeface="Moderat" pitchFamily="2" charset="77"/>
            </a:endParaRPr>
          </a:p>
        </p:txBody>
      </p:sp>
      <p:sp>
        <p:nvSpPr>
          <p:cNvPr id="86" name="Text 8">
            <a:extLst>
              <a:ext uri="{FF2B5EF4-FFF2-40B4-BE49-F238E27FC236}">
                <a16:creationId xmlns:a16="http://schemas.microsoft.com/office/drawing/2014/main" id="{A3C1325B-A800-6624-C574-E9A8AD32C7D8}"/>
              </a:ext>
            </a:extLst>
          </p:cNvPr>
          <p:cNvSpPr/>
          <p:nvPr/>
        </p:nvSpPr>
        <p:spPr>
          <a:xfrm>
            <a:off x="496885" y="5965117"/>
            <a:ext cx="11160127" cy="307777"/>
          </a:xfrm>
          <a:prstGeom prst="rect">
            <a:avLst/>
          </a:prstGeom>
          <a:noFill/>
          <a:ln/>
        </p:spPr>
        <p:txBody>
          <a:bodyPr wrap="square" lIns="0" tIns="0" rIns="0" bIns="0" rtlCol="0" anchor="t">
            <a:spAutoFit/>
          </a:bodyPr>
          <a:lstStyle/>
          <a:p>
            <a:pPr algn="ctr" defTabSz="571500">
              <a:spcAft>
                <a:spcPts val="200"/>
              </a:spcAft>
              <a:buClr>
                <a:schemeClr val="accent5"/>
              </a:buClr>
              <a:buSzPct val="100000"/>
            </a:pPr>
            <a:r>
              <a:rPr lang="en-US" sz="2000" b="1">
                <a:solidFill>
                  <a:schemeClr val="accent6"/>
                </a:solidFill>
                <a:latin typeface="Moderat" pitchFamily="2" charset="77"/>
              </a:rPr>
              <a:t>Outcome</a:t>
            </a:r>
            <a:r>
              <a:rPr lang="en-US" sz="2000">
                <a:solidFill>
                  <a:schemeClr val="accent6"/>
                </a:solidFill>
                <a:latin typeface="Moderat" pitchFamily="2" charset="77"/>
              </a:rPr>
              <a:t>: GCC leaders as architects of future growth</a:t>
            </a:r>
          </a:p>
        </p:txBody>
      </p:sp>
      <p:sp>
        <p:nvSpPr>
          <p:cNvPr id="8" name="Oval 7">
            <a:extLst>
              <a:ext uri="{FF2B5EF4-FFF2-40B4-BE49-F238E27FC236}">
                <a16:creationId xmlns:a16="http://schemas.microsoft.com/office/drawing/2014/main" id="{B265127B-9738-73FD-6E2C-0FA4BDE1D02B}"/>
              </a:ext>
            </a:extLst>
          </p:cNvPr>
          <p:cNvSpPr>
            <a:spLocks noChangeAspect="1"/>
          </p:cNvSpPr>
          <p:nvPr/>
        </p:nvSpPr>
        <p:spPr>
          <a:xfrm>
            <a:off x="515936" y="2612318"/>
            <a:ext cx="569466" cy="56946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sp>
        <p:nvSpPr>
          <p:cNvPr id="69" name="Oval 68">
            <a:extLst>
              <a:ext uri="{FF2B5EF4-FFF2-40B4-BE49-F238E27FC236}">
                <a16:creationId xmlns:a16="http://schemas.microsoft.com/office/drawing/2014/main" id="{B2FD5FB1-1D12-5E45-E804-AD3607B4E1CA}"/>
              </a:ext>
            </a:extLst>
          </p:cNvPr>
          <p:cNvSpPr>
            <a:spLocks noChangeAspect="1"/>
          </p:cNvSpPr>
          <p:nvPr/>
        </p:nvSpPr>
        <p:spPr>
          <a:xfrm>
            <a:off x="6296599" y="2612318"/>
            <a:ext cx="569466" cy="56946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sp>
        <p:nvSpPr>
          <p:cNvPr id="38" name="Oval 37">
            <a:extLst>
              <a:ext uri="{FF2B5EF4-FFF2-40B4-BE49-F238E27FC236}">
                <a16:creationId xmlns:a16="http://schemas.microsoft.com/office/drawing/2014/main" id="{E1AD6FC6-C7AC-1E77-1324-A8A7329E5F3F}"/>
              </a:ext>
            </a:extLst>
          </p:cNvPr>
          <p:cNvSpPr>
            <a:spLocks noChangeAspect="1"/>
          </p:cNvSpPr>
          <p:nvPr/>
        </p:nvSpPr>
        <p:spPr>
          <a:xfrm>
            <a:off x="515936" y="3729918"/>
            <a:ext cx="569466" cy="56946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sp>
        <p:nvSpPr>
          <p:cNvPr id="76" name="Oval 75">
            <a:extLst>
              <a:ext uri="{FF2B5EF4-FFF2-40B4-BE49-F238E27FC236}">
                <a16:creationId xmlns:a16="http://schemas.microsoft.com/office/drawing/2014/main" id="{7DF8C169-E8D4-2E7A-51F0-72ACC748E821}"/>
              </a:ext>
            </a:extLst>
          </p:cNvPr>
          <p:cNvSpPr>
            <a:spLocks noChangeAspect="1"/>
          </p:cNvSpPr>
          <p:nvPr/>
        </p:nvSpPr>
        <p:spPr>
          <a:xfrm>
            <a:off x="6296599" y="3729918"/>
            <a:ext cx="569466" cy="56946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sp>
        <p:nvSpPr>
          <p:cNvPr id="55" name="Shape 7">
            <a:extLst>
              <a:ext uri="{FF2B5EF4-FFF2-40B4-BE49-F238E27FC236}">
                <a16:creationId xmlns:a16="http://schemas.microsoft.com/office/drawing/2014/main" id="{8EF6E224-C287-833C-2C1C-208515E1F3A2}"/>
              </a:ext>
            </a:extLst>
          </p:cNvPr>
          <p:cNvSpPr/>
          <p:nvPr/>
        </p:nvSpPr>
        <p:spPr>
          <a:xfrm>
            <a:off x="773669" y="4630407"/>
            <a:ext cx="54000" cy="1003691"/>
          </a:xfrm>
          <a:prstGeom prst="roundRect">
            <a:avLst>
              <a:gd name="adj" fmla="val 0"/>
            </a:avLst>
          </a:prstGeom>
          <a:solidFill>
            <a:schemeClr val="accent5"/>
          </a:solidFill>
          <a:ln>
            <a:noFill/>
          </a:ln>
        </p:spPr>
        <p:txBody>
          <a:bodyPr/>
          <a:lstStyle/>
          <a:p>
            <a:endParaRPr lang="en-IN" sz="1500">
              <a:latin typeface="Moderat" pitchFamily="2" charset="77"/>
            </a:endParaRPr>
          </a:p>
        </p:txBody>
      </p:sp>
      <p:sp>
        <p:nvSpPr>
          <p:cNvPr id="59" name="Oval 58">
            <a:extLst>
              <a:ext uri="{FF2B5EF4-FFF2-40B4-BE49-F238E27FC236}">
                <a16:creationId xmlns:a16="http://schemas.microsoft.com/office/drawing/2014/main" id="{8BFB59D4-8A1C-5B78-60F6-EF9C8491A431}"/>
              </a:ext>
            </a:extLst>
          </p:cNvPr>
          <p:cNvSpPr>
            <a:spLocks noChangeAspect="1"/>
          </p:cNvSpPr>
          <p:nvPr/>
        </p:nvSpPr>
        <p:spPr>
          <a:xfrm>
            <a:off x="515936" y="4847518"/>
            <a:ext cx="569466" cy="56946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sp>
        <p:nvSpPr>
          <p:cNvPr id="83" name="Oval 82">
            <a:extLst>
              <a:ext uri="{FF2B5EF4-FFF2-40B4-BE49-F238E27FC236}">
                <a16:creationId xmlns:a16="http://schemas.microsoft.com/office/drawing/2014/main" id="{2E5C2AD2-898E-AFFA-AD42-128D261C1ABC}"/>
              </a:ext>
            </a:extLst>
          </p:cNvPr>
          <p:cNvSpPr>
            <a:spLocks noChangeAspect="1"/>
          </p:cNvSpPr>
          <p:nvPr/>
        </p:nvSpPr>
        <p:spPr>
          <a:xfrm>
            <a:off x="6296599" y="4847518"/>
            <a:ext cx="569466" cy="56946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pic>
        <p:nvPicPr>
          <p:cNvPr id="10" name="Graphic 9">
            <a:extLst>
              <a:ext uri="{FF2B5EF4-FFF2-40B4-BE49-F238E27FC236}">
                <a16:creationId xmlns:a16="http://schemas.microsoft.com/office/drawing/2014/main" id="{53953124-D4B5-9607-695E-4D4CD9D364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8699" y="2660368"/>
            <a:ext cx="457200" cy="457200"/>
          </a:xfrm>
          <a:prstGeom prst="rect">
            <a:avLst/>
          </a:prstGeom>
        </p:spPr>
      </p:pic>
      <p:pic>
        <p:nvPicPr>
          <p:cNvPr id="16" name="Graphic 15">
            <a:extLst>
              <a:ext uri="{FF2B5EF4-FFF2-40B4-BE49-F238E27FC236}">
                <a16:creationId xmlns:a16="http://schemas.microsoft.com/office/drawing/2014/main" id="{3A6B7F96-A1E7-BA2D-1553-0EA568B4562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7010" y="3797488"/>
            <a:ext cx="411480" cy="411480"/>
          </a:xfrm>
          <a:prstGeom prst="rect">
            <a:avLst/>
          </a:prstGeom>
        </p:spPr>
      </p:pic>
      <p:pic>
        <p:nvPicPr>
          <p:cNvPr id="17" name="Graphic 16">
            <a:extLst>
              <a:ext uri="{FF2B5EF4-FFF2-40B4-BE49-F238E27FC236}">
                <a16:creationId xmlns:a16="http://schemas.microsoft.com/office/drawing/2014/main" id="{E67C41AF-D01F-D493-772C-792689ABC53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8006" y="4965680"/>
            <a:ext cx="365760" cy="365760"/>
          </a:xfrm>
          <a:prstGeom prst="rect">
            <a:avLst/>
          </a:prstGeom>
        </p:spPr>
      </p:pic>
      <p:pic>
        <p:nvPicPr>
          <p:cNvPr id="18" name="Graphic 17">
            <a:extLst>
              <a:ext uri="{FF2B5EF4-FFF2-40B4-BE49-F238E27FC236}">
                <a16:creationId xmlns:a16="http://schemas.microsoft.com/office/drawing/2014/main" id="{9A8C55FF-B741-F670-11C4-690991D9136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60631" y="2654517"/>
            <a:ext cx="457200" cy="457200"/>
          </a:xfrm>
          <a:prstGeom prst="rect">
            <a:avLst/>
          </a:prstGeom>
        </p:spPr>
      </p:pic>
      <p:pic>
        <p:nvPicPr>
          <p:cNvPr id="19" name="Graphic 18">
            <a:extLst>
              <a:ext uri="{FF2B5EF4-FFF2-40B4-BE49-F238E27FC236}">
                <a16:creationId xmlns:a16="http://schemas.microsoft.com/office/drawing/2014/main" id="{746FB9F9-6E5C-8964-F1A3-91DCAE7029F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350566" y="4884462"/>
            <a:ext cx="457200" cy="457200"/>
          </a:xfrm>
          <a:prstGeom prst="rect">
            <a:avLst/>
          </a:prstGeom>
        </p:spPr>
      </p:pic>
      <p:pic>
        <p:nvPicPr>
          <p:cNvPr id="20" name="Graphic 19">
            <a:extLst>
              <a:ext uri="{FF2B5EF4-FFF2-40B4-BE49-F238E27FC236}">
                <a16:creationId xmlns:a16="http://schemas.microsoft.com/office/drawing/2014/main" id="{4C3362B2-E97C-28A3-BCB5-6E8856A63A8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76129" y="3807403"/>
            <a:ext cx="411480" cy="411480"/>
          </a:xfrm>
          <a:prstGeom prst="rect">
            <a:avLst/>
          </a:prstGeom>
        </p:spPr>
      </p:pic>
    </p:spTree>
    <p:extLst>
      <p:ext uri="{BB962C8B-B14F-4D97-AF65-F5344CB8AC3E}">
        <p14:creationId xmlns:p14="http://schemas.microsoft.com/office/powerpoint/2010/main" val="40888189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B54D6D4-331C-42DE-6F20-F0463625EDDC}"/>
              </a:ext>
            </a:extLst>
          </p:cNvPr>
          <p:cNvSpPr txBox="1"/>
          <p:nvPr/>
        </p:nvSpPr>
        <p:spPr>
          <a:xfrm>
            <a:off x="887831" y="3573601"/>
            <a:ext cx="4700169" cy="523220"/>
          </a:xfrm>
          <a:prstGeom prst="rect">
            <a:avLst/>
          </a:prstGeom>
          <a:noFill/>
        </p:spPr>
        <p:txBody>
          <a:bodyPr wrap="square" lIns="91440" tIns="45720" rIns="91440" bIns="45720" rtlCol="0" anchor="ctr">
            <a:spAutoFit/>
          </a:bodyPr>
          <a:lstStyle/>
          <a:p>
            <a:r>
              <a:rPr lang="en-US" sz="2800" dirty="0">
                <a:solidFill>
                  <a:schemeClr val="bg1"/>
                </a:solidFill>
                <a:latin typeface="Moderat"/>
                <a:ea typeface="Roboto"/>
              </a:rPr>
              <a:t>Miscellaneous</a:t>
            </a:r>
            <a:endParaRPr lang="en-US" dirty="0">
              <a:solidFill>
                <a:srgbClr val="000000"/>
              </a:solidFill>
              <a:latin typeface="Calibri" panose="020F0502020204030204"/>
              <a:ea typeface="Calibri" panose="020F0502020204030204"/>
              <a:cs typeface="Calibri" panose="020F0502020204030204"/>
            </a:endParaRPr>
          </a:p>
        </p:txBody>
      </p:sp>
    </p:spTree>
    <p:extLst>
      <p:ext uri="{BB962C8B-B14F-4D97-AF65-F5344CB8AC3E}">
        <p14:creationId xmlns:p14="http://schemas.microsoft.com/office/powerpoint/2010/main" val="31934465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5FCBA71-635C-605B-7697-425E7C2342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think-cell data - do not delete" hidden="1">
                        <a:extLst>
                          <a:ext uri="{FF2B5EF4-FFF2-40B4-BE49-F238E27FC236}">
                            <a16:creationId xmlns:a16="http://schemas.microsoft.com/office/drawing/2014/main" id="{A5FCBA71-635C-605B-7697-425E7C2342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5791D46-46B2-851F-C88B-3C8B469E9926}"/>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latin typeface="Moderat" pitchFamily="2" charset="77"/>
              </a:rPr>
              <a:t>Global Perspectives</a:t>
            </a:r>
          </a:p>
        </p:txBody>
      </p:sp>
      <p:sp>
        <p:nvSpPr>
          <p:cNvPr id="41" name="Text 1">
            <a:extLst>
              <a:ext uri="{FF2B5EF4-FFF2-40B4-BE49-F238E27FC236}">
                <a16:creationId xmlns:a16="http://schemas.microsoft.com/office/drawing/2014/main" id="{BC3B09E7-98D5-66F9-D47C-78F78D67DD7B}"/>
              </a:ext>
            </a:extLst>
          </p:cNvPr>
          <p:cNvSpPr/>
          <p:nvPr/>
        </p:nvSpPr>
        <p:spPr>
          <a:xfrm>
            <a:off x="515938" y="1222623"/>
            <a:ext cx="11141074" cy="205184"/>
          </a:xfrm>
          <a:prstGeom prst="rect">
            <a:avLst/>
          </a:prstGeom>
          <a:noFill/>
          <a:ln/>
        </p:spPr>
        <p:txBody>
          <a:bodyPr wrap="square" lIns="0" tIns="0" rIns="0" bIns="0" rtlCol="0" anchor="t">
            <a:spAutoFit/>
          </a:bodyPr>
          <a:lstStyle/>
          <a:p>
            <a:pPr defTabSz="571500">
              <a:lnSpc>
                <a:spcPts val="1563"/>
              </a:lnSpc>
            </a:pPr>
            <a:r>
              <a:rPr lang="en-US" sz="1400">
                <a:solidFill>
                  <a:srgbClr val="504C49"/>
                </a:solidFill>
                <a:latin typeface="Moderat" pitchFamily="2" charset="77"/>
                <a:ea typeface="Source Serif 4" pitchFamily="34" charset="-122"/>
                <a:cs typeface="Source Serif 4" pitchFamily="34" charset="-120"/>
              </a:rPr>
              <a:t>First 30 Days Cross-Cultural Communication Onboarding</a:t>
            </a:r>
          </a:p>
        </p:txBody>
      </p:sp>
      <p:sp>
        <p:nvSpPr>
          <p:cNvPr id="9" name="Shape 22">
            <a:extLst>
              <a:ext uri="{FF2B5EF4-FFF2-40B4-BE49-F238E27FC236}">
                <a16:creationId xmlns:a16="http://schemas.microsoft.com/office/drawing/2014/main" id="{D8D6B9F7-1EAA-8CE9-21EA-59EBB03C00DD}"/>
              </a:ext>
            </a:extLst>
          </p:cNvPr>
          <p:cNvSpPr/>
          <p:nvPr/>
        </p:nvSpPr>
        <p:spPr>
          <a:xfrm>
            <a:off x="0" y="5795963"/>
            <a:ext cx="12192000" cy="1062037"/>
          </a:xfrm>
          <a:prstGeom prst="roundRect">
            <a:avLst>
              <a:gd name="adj" fmla="val 1453"/>
            </a:avLst>
          </a:prstGeom>
          <a:solidFill>
            <a:schemeClr val="accent1"/>
          </a:solidFill>
          <a:ln/>
        </p:spPr>
        <p:txBody>
          <a:bodyPr/>
          <a:lstStyle/>
          <a:p>
            <a:pPr defTabSz="571500"/>
            <a:endParaRPr lang="en-IN" sz="1125">
              <a:solidFill>
                <a:prstClr val="black"/>
              </a:solidFill>
              <a:latin typeface="Moderat" pitchFamily="2" charset="77"/>
            </a:endParaRPr>
          </a:p>
        </p:txBody>
      </p:sp>
      <p:sp>
        <p:nvSpPr>
          <p:cNvPr id="10" name="Text 18">
            <a:extLst>
              <a:ext uri="{FF2B5EF4-FFF2-40B4-BE49-F238E27FC236}">
                <a16:creationId xmlns:a16="http://schemas.microsoft.com/office/drawing/2014/main" id="{4951AC06-7B61-CDDB-36D2-BF82ED9328B4}"/>
              </a:ext>
            </a:extLst>
          </p:cNvPr>
          <p:cNvSpPr/>
          <p:nvPr/>
        </p:nvSpPr>
        <p:spPr>
          <a:xfrm>
            <a:off x="515939" y="5946666"/>
            <a:ext cx="10281763" cy="646331"/>
          </a:xfrm>
          <a:prstGeom prst="rect">
            <a:avLst/>
          </a:prstGeom>
          <a:noFill/>
          <a:ln/>
        </p:spPr>
        <p:txBody>
          <a:bodyPr wrap="square" lIns="0" tIns="0" rIns="0" bIns="0" rtlCol="0" anchor="t">
            <a:spAutoFit/>
          </a:bodyPr>
          <a:lstStyle/>
          <a:p>
            <a:r>
              <a:rPr lang="en-US" sz="1400" b="1">
                <a:solidFill>
                  <a:schemeClr val="bg1"/>
                </a:solidFill>
                <a:latin typeface="Moderat" pitchFamily="2" charset="77"/>
                <a:ea typeface="Raleway" pitchFamily="34" charset="-122"/>
                <a:cs typeface="Raleway" pitchFamily="34" charset="-120"/>
              </a:rPr>
              <a:t>"By the end of the first month, our employees understood how culture affects communication, what expectations were from HQ, where typical misunderstandings arise, and how to collaborate to deliver high performance”</a:t>
            </a:r>
          </a:p>
          <a:p>
            <a:pPr algn="r"/>
            <a:r>
              <a:rPr lang="en-US" sz="1400" b="1">
                <a:solidFill>
                  <a:schemeClr val="bg1"/>
                </a:solidFill>
                <a:latin typeface="Moderat" pitchFamily="2" charset="77"/>
                <a:ea typeface="Raleway" pitchFamily="34" charset="-122"/>
                <a:cs typeface="Raleway" pitchFamily="34" charset="-120"/>
              </a:rPr>
              <a:t>– GCC Site Head</a:t>
            </a:r>
          </a:p>
        </p:txBody>
      </p:sp>
      <p:sp>
        <p:nvSpPr>
          <p:cNvPr id="3" name="Shape 2">
            <a:extLst>
              <a:ext uri="{FF2B5EF4-FFF2-40B4-BE49-F238E27FC236}">
                <a16:creationId xmlns:a16="http://schemas.microsoft.com/office/drawing/2014/main" id="{35C580AF-C586-7359-7F7B-A3B4206BCE5C}"/>
              </a:ext>
            </a:extLst>
          </p:cNvPr>
          <p:cNvSpPr/>
          <p:nvPr/>
        </p:nvSpPr>
        <p:spPr>
          <a:xfrm>
            <a:off x="515938" y="1588828"/>
            <a:ext cx="3522537" cy="1007028"/>
          </a:xfrm>
          <a:prstGeom prst="roundRect">
            <a:avLst>
              <a:gd name="adj" fmla="val 6482"/>
            </a:avLst>
          </a:prstGeom>
          <a:solidFill>
            <a:schemeClr val="accent2">
              <a:lumMod val="10000"/>
              <a:lumOff val="90000"/>
            </a:schemeClr>
          </a:solidFill>
          <a:ln w="7620">
            <a:noFill/>
            <a:prstDash val="solid"/>
          </a:ln>
        </p:spPr>
        <p:txBody>
          <a:bodyPr/>
          <a:lstStyle/>
          <a:p>
            <a:endParaRPr lang="en-IN" sz="1400">
              <a:latin typeface="Moderat" pitchFamily="2" charset="77"/>
            </a:endParaRPr>
          </a:p>
        </p:txBody>
      </p:sp>
      <p:sp>
        <p:nvSpPr>
          <p:cNvPr id="4" name="Text 4">
            <a:extLst>
              <a:ext uri="{FF2B5EF4-FFF2-40B4-BE49-F238E27FC236}">
                <a16:creationId xmlns:a16="http://schemas.microsoft.com/office/drawing/2014/main" id="{D1400A59-F39D-C502-9A7A-77BEDF68A3DE}"/>
              </a:ext>
            </a:extLst>
          </p:cNvPr>
          <p:cNvSpPr/>
          <p:nvPr/>
        </p:nvSpPr>
        <p:spPr>
          <a:xfrm>
            <a:off x="673056" y="1665719"/>
            <a:ext cx="3164158" cy="215444"/>
          </a:xfrm>
          <a:prstGeom prst="rect">
            <a:avLst/>
          </a:prstGeom>
          <a:noFill/>
          <a:ln/>
        </p:spPr>
        <p:txBody>
          <a:bodyPr wrap="square" lIns="0" tIns="0" rIns="0" bIns="0" rtlCol="0" anchor="t">
            <a:spAutoFit/>
          </a:bodyPr>
          <a:lstStyle/>
          <a:p>
            <a:r>
              <a:rPr lang="en-US" sz="1400" b="1">
                <a:solidFill>
                  <a:schemeClr val="accent6"/>
                </a:solidFill>
                <a:latin typeface="Moderat" pitchFamily="2" charset="77"/>
                <a:ea typeface="Raleway" pitchFamily="34" charset="-122"/>
                <a:cs typeface="Raleway" pitchFamily="34" charset="-120"/>
              </a:rPr>
              <a:t>The Challenge</a:t>
            </a:r>
          </a:p>
        </p:txBody>
      </p:sp>
      <p:sp>
        <p:nvSpPr>
          <p:cNvPr id="5" name="Text 5">
            <a:extLst>
              <a:ext uri="{FF2B5EF4-FFF2-40B4-BE49-F238E27FC236}">
                <a16:creationId xmlns:a16="http://schemas.microsoft.com/office/drawing/2014/main" id="{A9A7F2E1-63CE-B150-A0C8-60331137B9F8}"/>
              </a:ext>
            </a:extLst>
          </p:cNvPr>
          <p:cNvSpPr/>
          <p:nvPr/>
        </p:nvSpPr>
        <p:spPr>
          <a:xfrm>
            <a:off x="673056" y="1877323"/>
            <a:ext cx="2997244" cy="626701"/>
          </a:xfrm>
          <a:prstGeom prst="rect">
            <a:avLst/>
          </a:prstGeom>
          <a:noFill/>
          <a:ln/>
        </p:spPr>
        <p:txBody>
          <a:bodyPr wrap="square" lIns="0" tIns="36000" rIns="0" bIns="36000" rtlCol="0" anchor="t">
            <a:spAutoFit/>
          </a:bodyPr>
          <a:lstStyle/>
          <a:p>
            <a:pPr defTabSz="571500">
              <a:spcAft>
                <a:spcPts val="200"/>
              </a:spcAft>
              <a:buClr>
                <a:schemeClr val="accent5"/>
              </a:buClr>
              <a:buSzPct val="100000"/>
            </a:pPr>
            <a:r>
              <a:rPr lang="en-US" sz="1200">
                <a:solidFill>
                  <a:srgbClr val="4A4A45"/>
                </a:solidFill>
                <a:latin typeface="Moderat" pitchFamily="2" charset="77"/>
              </a:rPr>
              <a:t>Same language, different meanings. High-context vs. low-context styles collide and cause miscommunication and rework</a:t>
            </a:r>
          </a:p>
        </p:txBody>
      </p:sp>
      <p:sp>
        <p:nvSpPr>
          <p:cNvPr id="14" name="Shape 2">
            <a:extLst>
              <a:ext uri="{FF2B5EF4-FFF2-40B4-BE49-F238E27FC236}">
                <a16:creationId xmlns:a16="http://schemas.microsoft.com/office/drawing/2014/main" id="{0CD057C2-C227-C602-6D64-C9F48A3001C8}"/>
              </a:ext>
            </a:extLst>
          </p:cNvPr>
          <p:cNvSpPr/>
          <p:nvPr/>
        </p:nvSpPr>
        <p:spPr>
          <a:xfrm>
            <a:off x="4325207" y="1588828"/>
            <a:ext cx="3522537" cy="1007028"/>
          </a:xfrm>
          <a:prstGeom prst="roundRect">
            <a:avLst>
              <a:gd name="adj" fmla="val 6482"/>
            </a:avLst>
          </a:prstGeom>
          <a:solidFill>
            <a:schemeClr val="accent2">
              <a:lumMod val="10000"/>
              <a:lumOff val="90000"/>
            </a:schemeClr>
          </a:solidFill>
          <a:ln w="7620">
            <a:noFill/>
            <a:prstDash val="solid"/>
          </a:ln>
        </p:spPr>
        <p:txBody>
          <a:bodyPr/>
          <a:lstStyle/>
          <a:p>
            <a:endParaRPr lang="en-IN" sz="1400">
              <a:latin typeface="Moderat" pitchFamily="2" charset="77"/>
            </a:endParaRPr>
          </a:p>
        </p:txBody>
      </p:sp>
      <p:sp>
        <p:nvSpPr>
          <p:cNvPr id="17" name="Text 4">
            <a:extLst>
              <a:ext uri="{FF2B5EF4-FFF2-40B4-BE49-F238E27FC236}">
                <a16:creationId xmlns:a16="http://schemas.microsoft.com/office/drawing/2014/main" id="{9A1049B2-63AF-B3F4-1DF9-EC8341C971FE}"/>
              </a:ext>
            </a:extLst>
          </p:cNvPr>
          <p:cNvSpPr/>
          <p:nvPr/>
        </p:nvSpPr>
        <p:spPr>
          <a:xfrm>
            <a:off x="4482325" y="1665719"/>
            <a:ext cx="3164158" cy="215444"/>
          </a:xfrm>
          <a:prstGeom prst="rect">
            <a:avLst/>
          </a:prstGeom>
          <a:noFill/>
          <a:ln/>
        </p:spPr>
        <p:txBody>
          <a:bodyPr wrap="square" lIns="0" tIns="0" rIns="0" bIns="0" rtlCol="0" anchor="t">
            <a:spAutoFit/>
          </a:bodyPr>
          <a:lstStyle/>
          <a:p>
            <a:r>
              <a:rPr lang="en-US" sz="1400" b="1">
                <a:solidFill>
                  <a:schemeClr val="accent6"/>
                </a:solidFill>
                <a:latin typeface="Moderat" pitchFamily="2" charset="77"/>
                <a:ea typeface="Raleway" pitchFamily="34" charset="-122"/>
                <a:cs typeface="Raleway" pitchFamily="34" charset="-120"/>
              </a:rPr>
              <a:t>The Solution</a:t>
            </a:r>
          </a:p>
        </p:txBody>
      </p:sp>
      <p:sp>
        <p:nvSpPr>
          <p:cNvPr id="18" name="Text 5">
            <a:extLst>
              <a:ext uri="{FF2B5EF4-FFF2-40B4-BE49-F238E27FC236}">
                <a16:creationId xmlns:a16="http://schemas.microsoft.com/office/drawing/2014/main" id="{E7F56016-1B1C-1CC1-D373-AE09E744847C}"/>
              </a:ext>
            </a:extLst>
          </p:cNvPr>
          <p:cNvSpPr/>
          <p:nvPr/>
        </p:nvSpPr>
        <p:spPr>
          <a:xfrm>
            <a:off x="4482325" y="1877323"/>
            <a:ext cx="3061476" cy="626701"/>
          </a:xfrm>
          <a:prstGeom prst="rect">
            <a:avLst/>
          </a:prstGeom>
          <a:noFill/>
          <a:ln/>
        </p:spPr>
        <p:txBody>
          <a:bodyPr wrap="square" lIns="0" tIns="36000" rIns="0" bIns="36000" rtlCol="0" anchor="t">
            <a:spAutoFit/>
          </a:bodyPr>
          <a:lstStyle/>
          <a:p>
            <a:pPr defTabSz="571500">
              <a:spcAft>
                <a:spcPts val="200"/>
              </a:spcAft>
              <a:buClr>
                <a:schemeClr val="accent5"/>
              </a:buClr>
              <a:buSzPct val="100000"/>
            </a:pPr>
            <a:r>
              <a:rPr lang="en-US" sz="1200">
                <a:solidFill>
                  <a:srgbClr val="4A4A45"/>
                </a:solidFill>
                <a:latin typeface="Moderat" pitchFamily="2" charset="77"/>
              </a:rPr>
              <a:t>Equip new hires with foundational skills to communicate clearly, respectfully, and confidently across cultures</a:t>
            </a:r>
          </a:p>
        </p:txBody>
      </p:sp>
      <p:sp>
        <p:nvSpPr>
          <p:cNvPr id="21" name="Shape 2">
            <a:extLst>
              <a:ext uri="{FF2B5EF4-FFF2-40B4-BE49-F238E27FC236}">
                <a16:creationId xmlns:a16="http://schemas.microsoft.com/office/drawing/2014/main" id="{857A5CEA-1F2F-DAF8-C60C-CA495770A0AD}"/>
              </a:ext>
            </a:extLst>
          </p:cNvPr>
          <p:cNvSpPr/>
          <p:nvPr/>
        </p:nvSpPr>
        <p:spPr>
          <a:xfrm>
            <a:off x="8134476" y="1588828"/>
            <a:ext cx="3522537" cy="1007028"/>
          </a:xfrm>
          <a:prstGeom prst="roundRect">
            <a:avLst>
              <a:gd name="adj" fmla="val 6482"/>
            </a:avLst>
          </a:prstGeom>
          <a:solidFill>
            <a:schemeClr val="accent2">
              <a:lumMod val="10000"/>
              <a:lumOff val="90000"/>
            </a:schemeClr>
          </a:solidFill>
          <a:ln w="7620">
            <a:noFill/>
            <a:prstDash val="solid"/>
          </a:ln>
        </p:spPr>
        <p:txBody>
          <a:bodyPr/>
          <a:lstStyle/>
          <a:p>
            <a:endParaRPr lang="en-IN" sz="1400">
              <a:latin typeface="Moderat" pitchFamily="2" charset="77"/>
            </a:endParaRPr>
          </a:p>
        </p:txBody>
      </p:sp>
      <p:sp>
        <p:nvSpPr>
          <p:cNvPr id="22" name="Text 4">
            <a:extLst>
              <a:ext uri="{FF2B5EF4-FFF2-40B4-BE49-F238E27FC236}">
                <a16:creationId xmlns:a16="http://schemas.microsoft.com/office/drawing/2014/main" id="{4187252D-7582-F4FF-5A49-D161EBF17217}"/>
              </a:ext>
            </a:extLst>
          </p:cNvPr>
          <p:cNvSpPr/>
          <p:nvPr/>
        </p:nvSpPr>
        <p:spPr>
          <a:xfrm>
            <a:off x="8291594" y="1665719"/>
            <a:ext cx="3164158" cy="215444"/>
          </a:xfrm>
          <a:prstGeom prst="rect">
            <a:avLst/>
          </a:prstGeom>
          <a:noFill/>
          <a:ln/>
        </p:spPr>
        <p:txBody>
          <a:bodyPr wrap="square" lIns="0" tIns="0" rIns="0" bIns="0" rtlCol="0" anchor="t">
            <a:spAutoFit/>
          </a:bodyPr>
          <a:lstStyle/>
          <a:p>
            <a:r>
              <a:rPr lang="en-US" sz="1400" b="1">
                <a:solidFill>
                  <a:schemeClr val="accent6"/>
                </a:solidFill>
                <a:latin typeface="Moderat" pitchFamily="2" charset="77"/>
                <a:ea typeface="Raleway" pitchFamily="34" charset="-122"/>
                <a:cs typeface="Raleway" pitchFamily="34" charset="-120"/>
              </a:rPr>
              <a:t>The Outcome</a:t>
            </a:r>
          </a:p>
        </p:txBody>
      </p:sp>
      <p:sp>
        <p:nvSpPr>
          <p:cNvPr id="28" name="Text 5">
            <a:extLst>
              <a:ext uri="{FF2B5EF4-FFF2-40B4-BE49-F238E27FC236}">
                <a16:creationId xmlns:a16="http://schemas.microsoft.com/office/drawing/2014/main" id="{BCA584A0-E696-2A91-9CC4-F8DABF9208DD}"/>
              </a:ext>
            </a:extLst>
          </p:cNvPr>
          <p:cNvSpPr/>
          <p:nvPr/>
        </p:nvSpPr>
        <p:spPr>
          <a:xfrm>
            <a:off x="8291594" y="1877323"/>
            <a:ext cx="2998706" cy="626701"/>
          </a:xfrm>
          <a:prstGeom prst="rect">
            <a:avLst/>
          </a:prstGeom>
          <a:noFill/>
          <a:ln/>
        </p:spPr>
        <p:txBody>
          <a:bodyPr wrap="square" lIns="0" tIns="36000" rIns="0" bIns="36000" rtlCol="0" anchor="t">
            <a:spAutoFit/>
          </a:bodyPr>
          <a:lstStyle/>
          <a:p>
            <a:pPr defTabSz="571500">
              <a:spcAft>
                <a:spcPts val="200"/>
              </a:spcAft>
              <a:buClr>
                <a:schemeClr val="accent5"/>
              </a:buClr>
              <a:buSzPct val="100000"/>
            </a:pPr>
            <a:r>
              <a:rPr lang="en-US" sz="1200">
                <a:solidFill>
                  <a:srgbClr val="4A4A45"/>
                </a:solidFill>
                <a:latin typeface="Moderat" pitchFamily="2" charset="77"/>
              </a:rPr>
              <a:t>Shared norms, stronger trust, faster collaboration to equip teams to perform seamlessly across borders</a:t>
            </a:r>
          </a:p>
        </p:txBody>
      </p:sp>
      <p:grpSp>
        <p:nvGrpSpPr>
          <p:cNvPr id="19" name="Group 18">
            <a:extLst>
              <a:ext uri="{FF2B5EF4-FFF2-40B4-BE49-F238E27FC236}">
                <a16:creationId xmlns:a16="http://schemas.microsoft.com/office/drawing/2014/main" id="{8F4258C6-D9B8-B9FC-296B-34B3181546F9}"/>
              </a:ext>
            </a:extLst>
          </p:cNvPr>
          <p:cNvGrpSpPr/>
          <p:nvPr/>
        </p:nvGrpSpPr>
        <p:grpSpPr>
          <a:xfrm>
            <a:off x="522439" y="2675843"/>
            <a:ext cx="11134574" cy="1354644"/>
            <a:chOff x="522439" y="2675843"/>
            <a:chExt cx="11134574" cy="1354644"/>
          </a:xfrm>
        </p:grpSpPr>
        <p:sp>
          <p:nvSpPr>
            <p:cNvPr id="29" name="Shape 20">
              <a:extLst>
                <a:ext uri="{FF2B5EF4-FFF2-40B4-BE49-F238E27FC236}">
                  <a16:creationId xmlns:a16="http://schemas.microsoft.com/office/drawing/2014/main" id="{30B32FA8-F12D-00C9-B3E3-B0027989CDED}"/>
                </a:ext>
              </a:extLst>
            </p:cNvPr>
            <p:cNvSpPr/>
            <p:nvPr/>
          </p:nvSpPr>
          <p:spPr>
            <a:xfrm rot="5400000">
              <a:off x="1366051" y="2177222"/>
              <a:ext cx="1009653" cy="2696877"/>
            </a:xfrm>
            <a:prstGeom prst="roundRect">
              <a:avLst>
                <a:gd name="adj" fmla="val 0"/>
              </a:avLst>
            </a:prstGeom>
            <a:solidFill>
              <a:schemeClr val="bg1">
                <a:lumMod val="95000"/>
              </a:schemeClr>
            </a:solidFill>
            <a:ln w="22860">
              <a:noFill/>
              <a:prstDash val="solid"/>
            </a:ln>
          </p:spPr>
          <p:txBody>
            <a:bodyPr/>
            <a:lstStyle/>
            <a:p>
              <a:endParaRPr lang="en-IN" sz="1400">
                <a:solidFill>
                  <a:schemeClr val="bg1"/>
                </a:solidFill>
                <a:latin typeface="Moderat" pitchFamily="2" charset="77"/>
              </a:endParaRPr>
            </a:p>
          </p:txBody>
        </p:sp>
        <p:sp>
          <p:nvSpPr>
            <p:cNvPr id="30" name="Text 7">
              <a:extLst>
                <a:ext uri="{FF2B5EF4-FFF2-40B4-BE49-F238E27FC236}">
                  <a16:creationId xmlns:a16="http://schemas.microsoft.com/office/drawing/2014/main" id="{6FD2BC0A-3F2F-E448-527B-C96A06801F0C}"/>
                </a:ext>
              </a:extLst>
            </p:cNvPr>
            <p:cNvSpPr/>
            <p:nvPr/>
          </p:nvSpPr>
          <p:spPr>
            <a:xfrm>
              <a:off x="669912" y="3096662"/>
              <a:ext cx="2412495" cy="230128"/>
            </a:xfrm>
            <a:prstGeom prst="rect">
              <a:avLst/>
            </a:prstGeom>
            <a:noFill/>
            <a:ln/>
          </p:spPr>
          <p:txBody>
            <a:bodyPr wrap="square" lIns="0" tIns="0" rIns="0" bIns="0" rtlCol="0" anchor="t">
              <a:spAutoFit/>
            </a:bodyPr>
            <a:lstStyle/>
            <a:p>
              <a:pPr>
                <a:lnSpc>
                  <a:spcPts val="1916"/>
                </a:lnSpc>
              </a:pPr>
              <a:r>
                <a:rPr lang="en-US" sz="1400" b="1">
                  <a:solidFill>
                    <a:schemeClr val="accent6"/>
                  </a:solidFill>
                  <a:latin typeface="Moderat" pitchFamily="2" charset="77"/>
                  <a:ea typeface="Lato Bold" pitchFamily="34" charset="-122"/>
                  <a:cs typeface="Lato Bold" pitchFamily="34" charset="-120"/>
                </a:rPr>
                <a:t>Foundations</a:t>
              </a:r>
            </a:p>
          </p:txBody>
        </p:sp>
        <p:sp>
          <p:nvSpPr>
            <p:cNvPr id="31" name="Chevron 21">
              <a:extLst>
                <a:ext uri="{FF2B5EF4-FFF2-40B4-BE49-F238E27FC236}">
                  <a16:creationId xmlns:a16="http://schemas.microsoft.com/office/drawing/2014/main" id="{F93A8DDC-CD11-6695-8EE1-2E0B43036120}"/>
                </a:ext>
              </a:extLst>
            </p:cNvPr>
            <p:cNvSpPr/>
            <p:nvPr/>
          </p:nvSpPr>
          <p:spPr>
            <a:xfrm>
              <a:off x="522441" y="2675843"/>
              <a:ext cx="2766191" cy="344990"/>
            </a:xfrm>
            <a:prstGeom prst="homePlate">
              <a:avLst>
                <a:gd name="adj" fmla="val 18325"/>
              </a:avLst>
            </a:prstGeom>
            <a:solidFill>
              <a:schemeClr val="accent3"/>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vert="horz" lIns="114300" tIns="0" bIns="0" rtlCol="0" anchor="ctr" anchorCtr="0"/>
            <a:lst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a:lstStyle>
            <a:p>
              <a:pPr defTabSz="845753"/>
              <a:r>
                <a:rPr lang="en-US" sz="1400" b="1">
                  <a:solidFill>
                    <a:schemeClr val="bg1"/>
                  </a:solidFill>
                  <a:latin typeface="Moderat" pitchFamily="2" charset="77"/>
                </a:rPr>
                <a:t>Week 1</a:t>
              </a:r>
            </a:p>
          </p:txBody>
        </p:sp>
        <p:sp>
          <p:nvSpPr>
            <p:cNvPr id="32" name="Text 5">
              <a:extLst>
                <a:ext uri="{FF2B5EF4-FFF2-40B4-BE49-F238E27FC236}">
                  <a16:creationId xmlns:a16="http://schemas.microsoft.com/office/drawing/2014/main" id="{8AEB02A3-13E6-64AF-E727-F195D972CA5E}"/>
                </a:ext>
              </a:extLst>
            </p:cNvPr>
            <p:cNvSpPr/>
            <p:nvPr/>
          </p:nvSpPr>
          <p:spPr>
            <a:xfrm>
              <a:off x="666527" y="3349858"/>
              <a:ext cx="2415880" cy="626701"/>
            </a:xfrm>
            <a:prstGeom prst="rect">
              <a:avLst/>
            </a:prstGeom>
            <a:noFill/>
            <a:ln/>
          </p:spPr>
          <p:txBody>
            <a:bodyPr wrap="square" lIns="0" tIns="36000" rIns="0" bIns="36000" rtlCol="0" anchor="t">
              <a:spAutoFit/>
            </a:bodyPr>
            <a:lstStyle/>
            <a:p>
              <a:pPr defTabSz="571500">
                <a:spcAft>
                  <a:spcPts val="200"/>
                </a:spcAft>
                <a:buClr>
                  <a:schemeClr val="accent5"/>
                </a:buClr>
                <a:buSzPct val="100000"/>
              </a:pPr>
              <a:r>
                <a:rPr lang="en-US" sz="1200">
                  <a:solidFill>
                    <a:srgbClr val="4A4A45"/>
                  </a:solidFill>
                  <a:latin typeface="Moderat" pitchFamily="2" charset="77"/>
                </a:rPr>
                <a:t>Understand how culture affects communication approaches and identify personal styles</a:t>
              </a:r>
            </a:p>
          </p:txBody>
        </p:sp>
        <p:sp>
          <p:nvSpPr>
            <p:cNvPr id="36" name="Shape 20">
              <a:extLst>
                <a:ext uri="{FF2B5EF4-FFF2-40B4-BE49-F238E27FC236}">
                  <a16:creationId xmlns:a16="http://schemas.microsoft.com/office/drawing/2014/main" id="{41E7EEC5-062D-C5E0-A2A1-D123C3CB32EC}"/>
                </a:ext>
              </a:extLst>
            </p:cNvPr>
            <p:cNvSpPr/>
            <p:nvPr/>
          </p:nvSpPr>
          <p:spPr>
            <a:xfrm rot="5400000">
              <a:off x="4155511" y="2177222"/>
              <a:ext cx="1009653" cy="2696877"/>
            </a:xfrm>
            <a:prstGeom prst="roundRect">
              <a:avLst>
                <a:gd name="adj" fmla="val 0"/>
              </a:avLst>
            </a:prstGeom>
            <a:solidFill>
              <a:schemeClr val="bg1">
                <a:lumMod val="95000"/>
              </a:schemeClr>
            </a:solidFill>
            <a:ln w="22860">
              <a:noFill/>
              <a:prstDash val="solid"/>
            </a:ln>
          </p:spPr>
          <p:txBody>
            <a:bodyPr/>
            <a:lstStyle/>
            <a:p>
              <a:endParaRPr lang="en-IN" sz="1400">
                <a:solidFill>
                  <a:schemeClr val="bg1"/>
                </a:solidFill>
                <a:latin typeface="Moderat" pitchFamily="2" charset="77"/>
              </a:endParaRPr>
            </a:p>
          </p:txBody>
        </p:sp>
        <p:sp>
          <p:nvSpPr>
            <p:cNvPr id="37" name="Text 7">
              <a:extLst>
                <a:ext uri="{FF2B5EF4-FFF2-40B4-BE49-F238E27FC236}">
                  <a16:creationId xmlns:a16="http://schemas.microsoft.com/office/drawing/2014/main" id="{39CAAD80-50A7-2040-FBCF-00FAF40B3498}"/>
                </a:ext>
              </a:extLst>
            </p:cNvPr>
            <p:cNvSpPr/>
            <p:nvPr/>
          </p:nvSpPr>
          <p:spPr>
            <a:xfrm>
              <a:off x="3459371" y="3096662"/>
              <a:ext cx="2412495" cy="230128"/>
            </a:xfrm>
            <a:prstGeom prst="rect">
              <a:avLst/>
            </a:prstGeom>
            <a:noFill/>
            <a:ln/>
          </p:spPr>
          <p:txBody>
            <a:bodyPr wrap="square" lIns="0" tIns="0" rIns="0" bIns="0" rtlCol="0" anchor="t">
              <a:spAutoFit/>
            </a:bodyPr>
            <a:lstStyle/>
            <a:p>
              <a:pPr>
                <a:lnSpc>
                  <a:spcPts val="1916"/>
                </a:lnSpc>
              </a:pPr>
              <a:r>
                <a:rPr lang="en-US" sz="1400" b="1">
                  <a:solidFill>
                    <a:schemeClr val="accent6"/>
                  </a:solidFill>
                  <a:latin typeface="Moderat" pitchFamily="2" charset="77"/>
                  <a:ea typeface="Lato Bold" pitchFamily="34" charset="-122"/>
                  <a:cs typeface="Lato Bold" pitchFamily="34" charset="-120"/>
                </a:rPr>
                <a:t>Operational Impact</a:t>
              </a:r>
            </a:p>
          </p:txBody>
        </p:sp>
        <p:sp>
          <p:nvSpPr>
            <p:cNvPr id="38" name="Chevron 21">
              <a:extLst>
                <a:ext uri="{FF2B5EF4-FFF2-40B4-BE49-F238E27FC236}">
                  <a16:creationId xmlns:a16="http://schemas.microsoft.com/office/drawing/2014/main" id="{CDFC7D22-88D5-E941-66CA-5A1AEB31BA7C}"/>
                </a:ext>
              </a:extLst>
            </p:cNvPr>
            <p:cNvSpPr/>
            <p:nvPr/>
          </p:nvSpPr>
          <p:spPr>
            <a:xfrm>
              <a:off x="3311901" y="2675843"/>
              <a:ext cx="2766191" cy="344990"/>
            </a:xfrm>
            <a:prstGeom prst="chevron">
              <a:avLst>
                <a:gd name="adj" fmla="val 18325"/>
              </a:avLst>
            </a:prstGeom>
            <a:solidFill>
              <a:schemeClr val="accent3"/>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vert="horz" lIns="114300" tIns="0" bIns="0" rtlCol="0" anchor="ctr" anchorCtr="0"/>
            <a:lst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a:lstStyle>
            <a:p>
              <a:pPr defTabSz="845753"/>
              <a:r>
                <a:rPr lang="en-US" sz="1400" b="1">
                  <a:solidFill>
                    <a:schemeClr val="bg1"/>
                  </a:solidFill>
                  <a:latin typeface="Moderat" pitchFamily="2" charset="77"/>
                </a:rPr>
                <a:t>Week 2</a:t>
              </a:r>
            </a:p>
          </p:txBody>
        </p:sp>
        <p:sp>
          <p:nvSpPr>
            <p:cNvPr id="42" name="Text 5">
              <a:extLst>
                <a:ext uri="{FF2B5EF4-FFF2-40B4-BE49-F238E27FC236}">
                  <a16:creationId xmlns:a16="http://schemas.microsoft.com/office/drawing/2014/main" id="{D2751232-F15C-23B8-CB1E-C02C37CA02DA}"/>
                </a:ext>
              </a:extLst>
            </p:cNvPr>
            <p:cNvSpPr/>
            <p:nvPr/>
          </p:nvSpPr>
          <p:spPr>
            <a:xfrm>
              <a:off x="3455987" y="3349858"/>
              <a:ext cx="2278063" cy="442035"/>
            </a:xfrm>
            <a:prstGeom prst="rect">
              <a:avLst/>
            </a:prstGeom>
            <a:noFill/>
            <a:ln/>
          </p:spPr>
          <p:txBody>
            <a:bodyPr wrap="square" lIns="0" tIns="36000" rIns="0" bIns="36000" rtlCol="0" anchor="t">
              <a:spAutoFit/>
            </a:bodyPr>
            <a:lstStyle/>
            <a:p>
              <a:pPr defTabSz="571500">
                <a:spcAft>
                  <a:spcPts val="200"/>
                </a:spcAft>
                <a:buClr>
                  <a:schemeClr val="accent5"/>
                </a:buClr>
                <a:buSzPct val="100000"/>
              </a:pPr>
              <a:r>
                <a:rPr lang="en-US" sz="1200">
                  <a:solidFill>
                    <a:srgbClr val="4A4A45"/>
                  </a:solidFill>
                  <a:latin typeface="Moderat" pitchFamily="2" charset="77"/>
                </a:rPr>
                <a:t>Learn standardized norms and practice writing for global clarity</a:t>
              </a:r>
            </a:p>
          </p:txBody>
        </p:sp>
        <p:sp>
          <p:nvSpPr>
            <p:cNvPr id="46" name="Shape 20">
              <a:extLst>
                <a:ext uri="{FF2B5EF4-FFF2-40B4-BE49-F238E27FC236}">
                  <a16:creationId xmlns:a16="http://schemas.microsoft.com/office/drawing/2014/main" id="{980D93B8-C99A-5A49-0DA5-7BBE9995415A}"/>
                </a:ext>
              </a:extLst>
            </p:cNvPr>
            <p:cNvSpPr/>
            <p:nvPr/>
          </p:nvSpPr>
          <p:spPr>
            <a:xfrm rot="5400000">
              <a:off x="6944971" y="2177222"/>
              <a:ext cx="1009653" cy="2696877"/>
            </a:xfrm>
            <a:prstGeom prst="roundRect">
              <a:avLst>
                <a:gd name="adj" fmla="val 0"/>
              </a:avLst>
            </a:prstGeom>
            <a:solidFill>
              <a:schemeClr val="bg1">
                <a:lumMod val="95000"/>
              </a:schemeClr>
            </a:solidFill>
            <a:ln w="22860">
              <a:noFill/>
              <a:prstDash val="solid"/>
            </a:ln>
          </p:spPr>
          <p:txBody>
            <a:bodyPr/>
            <a:lstStyle/>
            <a:p>
              <a:endParaRPr lang="en-IN" sz="1400">
                <a:solidFill>
                  <a:schemeClr val="bg1"/>
                </a:solidFill>
                <a:latin typeface="Moderat" pitchFamily="2" charset="77"/>
              </a:endParaRPr>
            </a:p>
          </p:txBody>
        </p:sp>
        <p:sp>
          <p:nvSpPr>
            <p:cNvPr id="47" name="Text 7">
              <a:extLst>
                <a:ext uri="{FF2B5EF4-FFF2-40B4-BE49-F238E27FC236}">
                  <a16:creationId xmlns:a16="http://schemas.microsoft.com/office/drawing/2014/main" id="{D68CF515-E250-3523-7F88-FB84055CEF01}"/>
                </a:ext>
              </a:extLst>
            </p:cNvPr>
            <p:cNvSpPr/>
            <p:nvPr/>
          </p:nvSpPr>
          <p:spPr>
            <a:xfrm>
              <a:off x="6248832" y="3096662"/>
              <a:ext cx="2412495" cy="230128"/>
            </a:xfrm>
            <a:prstGeom prst="rect">
              <a:avLst/>
            </a:prstGeom>
            <a:noFill/>
            <a:ln/>
          </p:spPr>
          <p:txBody>
            <a:bodyPr wrap="square" lIns="0" tIns="0" rIns="0" bIns="0" rtlCol="0" anchor="t">
              <a:spAutoFit/>
            </a:bodyPr>
            <a:lstStyle/>
            <a:p>
              <a:pPr>
                <a:lnSpc>
                  <a:spcPts val="1916"/>
                </a:lnSpc>
              </a:pPr>
              <a:r>
                <a:rPr lang="en-US" sz="1400" b="1">
                  <a:solidFill>
                    <a:schemeClr val="accent6"/>
                  </a:solidFill>
                  <a:latin typeface="Moderat" pitchFamily="2" charset="77"/>
                  <a:ea typeface="Lato Bold" pitchFamily="34" charset="-122"/>
                  <a:cs typeface="Lato Bold" pitchFamily="34" charset="-120"/>
                </a:rPr>
                <a:t>Relationships &amp; Safety</a:t>
              </a:r>
            </a:p>
          </p:txBody>
        </p:sp>
        <p:sp>
          <p:nvSpPr>
            <p:cNvPr id="48" name="Chevron 21">
              <a:extLst>
                <a:ext uri="{FF2B5EF4-FFF2-40B4-BE49-F238E27FC236}">
                  <a16:creationId xmlns:a16="http://schemas.microsoft.com/office/drawing/2014/main" id="{10800689-05EF-8FC8-C355-42B458B98625}"/>
                </a:ext>
              </a:extLst>
            </p:cNvPr>
            <p:cNvSpPr/>
            <p:nvPr/>
          </p:nvSpPr>
          <p:spPr>
            <a:xfrm>
              <a:off x="6101361" y="2675843"/>
              <a:ext cx="2766191" cy="344990"/>
            </a:xfrm>
            <a:prstGeom prst="chevron">
              <a:avLst>
                <a:gd name="adj" fmla="val 18325"/>
              </a:avLst>
            </a:prstGeom>
            <a:solidFill>
              <a:schemeClr val="accent3"/>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vert="horz" lIns="114300" tIns="0" bIns="0" rtlCol="0" anchor="ctr" anchorCtr="0"/>
            <a:lst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a:lstStyle>
            <a:p>
              <a:pPr defTabSz="845753"/>
              <a:r>
                <a:rPr lang="en-US" sz="1400" b="1">
                  <a:solidFill>
                    <a:schemeClr val="bg1"/>
                  </a:solidFill>
                  <a:latin typeface="Moderat" pitchFamily="2" charset="77"/>
                </a:rPr>
                <a:t>Week 3</a:t>
              </a:r>
            </a:p>
          </p:txBody>
        </p:sp>
        <p:sp>
          <p:nvSpPr>
            <p:cNvPr id="49" name="Text 5">
              <a:extLst>
                <a:ext uri="{FF2B5EF4-FFF2-40B4-BE49-F238E27FC236}">
                  <a16:creationId xmlns:a16="http://schemas.microsoft.com/office/drawing/2014/main" id="{D8985FD1-8BAE-6044-C4AD-AA3A39FFC8AC}"/>
                </a:ext>
              </a:extLst>
            </p:cNvPr>
            <p:cNvSpPr/>
            <p:nvPr/>
          </p:nvSpPr>
          <p:spPr>
            <a:xfrm>
              <a:off x="6245447" y="3349858"/>
              <a:ext cx="2301330" cy="442035"/>
            </a:xfrm>
            <a:prstGeom prst="rect">
              <a:avLst/>
            </a:prstGeom>
            <a:noFill/>
            <a:ln/>
          </p:spPr>
          <p:txBody>
            <a:bodyPr wrap="square" lIns="0" tIns="36000" rIns="0" bIns="36000" rtlCol="0" anchor="t">
              <a:spAutoFit/>
            </a:bodyPr>
            <a:lstStyle/>
            <a:p>
              <a:pPr defTabSz="571500">
                <a:spcAft>
                  <a:spcPts val="200"/>
                </a:spcAft>
                <a:buClr>
                  <a:schemeClr val="accent5"/>
                </a:buClr>
                <a:buSzPct val="100000"/>
              </a:pPr>
              <a:r>
                <a:rPr lang="en-US" sz="1200">
                  <a:solidFill>
                    <a:srgbClr val="4A4A45"/>
                  </a:solidFill>
                  <a:latin typeface="Moderat" pitchFamily="2" charset="77"/>
                </a:rPr>
                <a:t>Build trust through respectful feedback and shared mental models</a:t>
              </a:r>
            </a:p>
          </p:txBody>
        </p:sp>
        <p:sp>
          <p:nvSpPr>
            <p:cNvPr id="51" name="Shape 20">
              <a:extLst>
                <a:ext uri="{FF2B5EF4-FFF2-40B4-BE49-F238E27FC236}">
                  <a16:creationId xmlns:a16="http://schemas.microsoft.com/office/drawing/2014/main" id="{640376D0-A619-8324-8E00-203ED60C23D1}"/>
                </a:ext>
              </a:extLst>
            </p:cNvPr>
            <p:cNvSpPr/>
            <p:nvPr/>
          </p:nvSpPr>
          <p:spPr>
            <a:xfrm rot="5400000">
              <a:off x="9734433" y="2177221"/>
              <a:ext cx="1009652" cy="2696877"/>
            </a:xfrm>
            <a:prstGeom prst="roundRect">
              <a:avLst>
                <a:gd name="adj" fmla="val 0"/>
              </a:avLst>
            </a:prstGeom>
            <a:solidFill>
              <a:schemeClr val="bg1">
                <a:lumMod val="95000"/>
              </a:schemeClr>
            </a:solidFill>
            <a:ln w="22860">
              <a:noFill/>
              <a:prstDash val="solid"/>
            </a:ln>
          </p:spPr>
          <p:txBody>
            <a:bodyPr/>
            <a:lstStyle/>
            <a:p>
              <a:endParaRPr lang="en-IN" sz="1400">
                <a:solidFill>
                  <a:schemeClr val="bg1"/>
                </a:solidFill>
                <a:latin typeface="Moderat" pitchFamily="2" charset="77"/>
              </a:endParaRPr>
            </a:p>
          </p:txBody>
        </p:sp>
        <p:sp>
          <p:nvSpPr>
            <p:cNvPr id="52" name="Text 7">
              <a:extLst>
                <a:ext uri="{FF2B5EF4-FFF2-40B4-BE49-F238E27FC236}">
                  <a16:creationId xmlns:a16="http://schemas.microsoft.com/office/drawing/2014/main" id="{C3B38CE9-EDDB-8CAA-8BD8-99D072D549DC}"/>
                </a:ext>
              </a:extLst>
            </p:cNvPr>
            <p:cNvSpPr/>
            <p:nvPr/>
          </p:nvSpPr>
          <p:spPr>
            <a:xfrm>
              <a:off x="9038293" y="3096662"/>
              <a:ext cx="2412495" cy="230128"/>
            </a:xfrm>
            <a:prstGeom prst="rect">
              <a:avLst/>
            </a:prstGeom>
            <a:noFill/>
            <a:ln/>
          </p:spPr>
          <p:txBody>
            <a:bodyPr wrap="square" lIns="0" tIns="0" rIns="0" bIns="0" rtlCol="0" anchor="t">
              <a:spAutoFit/>
            </a:bodyPr>
            <a:lstStyle/>
            <a:p>
              <a:pPr>
                <a:lnSpc>
                  <a:spcPts val="1916"/>
                </a:lnSpc>
              </a:pPr>
              <a:r>
                <a:rPr lang="en-US" sz="1400" b="1">
                  <a:solidFill>
                    <a:schemeClr val="accent6"/>
                  </a:solidFill>
                  <a:latin typeface="Moderat" pitchFamily="2" charset="77"/>
                  <a:ea typeface="Lato Bold" pitchFamily="34" charset="-122"/>
                  <a:cs typeface="Lato Bold" pitchFamily="34" charset="-120"/>
                </a:rPr>
                <a:t>Application &amp; Habits</a:t>
              </a:r>
            </a:p>
          </p:txBody>
        </p:sp>
        <p:sp>
          <p:nvSpPr>
            <p:cNvPr id="53" name="Chevron 21">
              <a:extLst>
                <a:ext uri="{FF2B5EF4-FFF2-40B4-BE49-F238E27FC236}">
                  <a16:creationId xmlns:a16="http://schemas.microsoft.com/office/drawing/2014/main" id="{C84DB4E4-9C8F-E98F-5AF4-5C93B72AE4B2}"/>
                </a:ext>
              </a:extLst>
            </p:cNvPr>
            <p:cNvSpPr/>
            <p:nvPr/>
          </p:nvSpPr>
          <p:spPr>
            <a:xfrm>
              <a:off x="8890822" y="2675843"/>
              <a:ext cx="2766191" cy="344990"/>
            </a:xfrm>
            <a:prstGeom prst="chevron">
              <a:avLst>
                <a:gd name="adj" fmla="val 18325"/>
              </a:avLst>
            </a:prstGeom>
            <a:solidFill>
              <a:schemeClr val="accent3"/>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vert="horz" lIns="114300" tIns="0" bIns="0" rtlCol="0" anchor="ctr" anchorCtr="0"/>
            <a:lst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a:lstStyle>
            <a:p>
              <a:pPr defTabSz="845753"/>
              <a:r>
                <a:rPr lang="en-US" sz="1400" b="1">
                  <a:solidFill>
                    <a:schemeClr val="bg1"/>
                  </a:solidFill>
                  <a:latin typeface="Moderat" pitchFamily="2" charset="77"/>
                </a:rPr>
                <a:t>Week 4</a:t>
              </a:r>
            </a:p>
          </p:txBody>
        </p:sp>
        <p:sp>
          <p:nvSpPr>
            <p:cNvPr id="54" name="Text 5">
              <a:extLst>
                <a:ext uri="{FF2B5EF4-FFF2-40B4-BE49-F238E27FC236}">
                  <a16:creationId xmlns:a16="http://schemas.microsoft.com/office/drawing/2014/main" id="{6BF5DA5F-3F8E-A848-0125-CF5FD256D5C9}"/>
                </a:ext>
              </a:extLst>
            </p:cNvPr>
            <p:cNvSpPr/>
            <p:nvPr/>
          </p:nvSpPr>
          <p:spPr>
            <a:xfrm>
              <a:off x="9034908" y="3349858"/>
              <a:ext cx="2415880" cy="442035"/>
            </a:xfrm>
            <a:prstGeom prst="rect">
              <a:avLst/>
            </a:prstGeom>
            <a:noFill/>
            <a:ln/>
          </p:spPr>
          <p:txBody>
            <a:bodyPr wrap="square" lIns="0" tIns="36000" rIns="0" bIns="36000" rtlCol="0" anchor="t">
              <a:spAutoFit/>
            </a:bodyPr>
            <a:lstStyle/>
            <a:p>
              <a:pPr defTabSz="571500">
                <a:spcAft>
                  <a:spcPts val="200"/>
                </a:spcAft>
                <a:buClr>
                  <a:schemeClr val="accent5"/>
                </a:buClr>
                <a:buSzPct val="100000"/>
              </a:pPr>
              <a:r>
                <a:rPr lang="en-US" sz="1200">
                  <a:solidFill>
                    <a:srgbClr val="4A4A45"/>
                  </a:solidFill>
                  <a:latin typeface="Moderat" pitchFamily="2" charset="77"/>
                </a:rPr>
                <a:t>Adopt team norms, shared vocabulary, and sustained collaboration practices</a:t>
              </a:r>
            </a:p>
          </p:txBody>
        </p:sp>
      </p:grpSp>
      <p:sp>
        <p:nvSpPr>
          <p:cNvPr id="55" name="Shape 2">
            <a:extLst>
              <a:ext uri="{FF2B5EF4-FFF2-40B4-BE49-F238E27FC236}">
                <a16:creationId xmlns:a16="http://schemas.microsoft.com/office/drawing/2014/main" id="{0FA6562A-26ED-4A7B-8A47-BE83D058CB5C}"/>
              </a:ext>
            </a:extLst>
          </p:cNvPr>
          <p:cNvSpPr/>
          <p:nvPr/>
        </p:nvSpPr>
        <p:spPr>
          <a:xfrm>
            <a:off x="806499" y="4190460"/>
            <a:ext cx="5213301" cy="716592"/>
          </a:xfrm>
          <a:prstGeom prst="roundRect">
            <a:avLst>
              <a:gd name="adj" fmla="val 2503"/>
            </a:avLst>
          </a:prstGeom>
          <a:noFill/>
          <a:ln w="22860">
            <a:noFill/>
            <a:prstDash val="solid"/>
          </a:ln>
        </p:spPr>
        <p:txBody>
          <a:bodyPr/>
          <a:lstStyle/>
          <a:p>
            <a:pPr defTabSz="304770"/>
            <a:endParaRPr lang="en-IN" sz="1600">
              <a:solidFill>
                <a:srgbClr val="000000"/>
              </a:solidFill>
              <a:latin typeface="Moderat" panose="020B0604020202020204"/>
            </a:endParaRPr>
          </a:p>
        </p:txBody>
      </p:sp>
      <p:sp>
        <p:nvSpPr>
          <p:cNvPr id="60" name="Shape 7">
            <a:extLst>
              <a:ext uri="{FF2B5EF4-FFF2-40B4-BE49-F238E27FC236}">
                <a16:creationId xmlns:a16="http://schemas.microsoft.com/office/drawing/2014/main" id="{AA01E967-50AB-645F-725A-F5759DC2A4D6}"/>
              </a:ext>
            </a:extLst>
          </p:cNvPr>
          <p:cNvSpPr/>
          <p:nvPr/>
        </p:nvSpPr>
        <p:spPr>
          <a:xfrm>
            <a:off x="752499" y="4190460"/>
            <a:ext cx="54000" cy="716592"/>
          </a:xfrm>
          <a:prstGeom prst="roundRect">
            <a:avLst>
              <a:gd name="adj" fmla="val 0"/>
            </a:avLst>
          </a:prstGeom>
          <a:solidFill>
            <a:schemeClr val="accent5"/>
          </a:solidFill>
          <a:ln>
            <a:noFill/>
          </a:ln>
        </p:spPr>
        <p:txBody>
          <a:bodyPr/>
          <a:lstStyle/>
          <a:p>
            <a:endParaRPr lang="en-IN" sz="1600">
              <a:latin typeface="Moderat" panose="020B0604020202020204"/>
            </a:endParaRPr>
          </a:p>
        </p:txBody>
      </p:sp>
      <p:sp>
        <p:nvSpPr>
          <p:cNvPr id="65" name="Text 7">
            <a:extLst>
              <a:ext uri="{FF2B5EF4-FFF2-40B4-BE49-F238E27FC236}">
                <a16:creationId xmlns:a16="http://schemas.microsoft.com/office/drawing/2014/main" id="{C6A6B55C-A19C-C3B5-B0C2-93080D0CCE99}"/>
              </a:ext>
            </a:extLst>
          </p:cNvPr>
          <p:cNvSpPr/>
          <p:nvPr/>
        </p:nvSpPr>
        <p:spPr>
          <a:xfrm>
            <a:off x="1088715" y="4224070"/>
            <a:ext cx="3649968" cy="230128"/>
          </a:xfrm>
          <a:prstGeom prst="rect">
            <a:avLst/>
          </a:prstGeom>
          <a:noFill/>
          <a:ln/>
        </p:spPr>
        <p:txBody>
          <a:bodyPr wrap="square" lIns="0" tIns="0" rIns="0" bIns="0" rtlCol="0" anchor="t">
            <a:spAutoFit/>
          </a:bodyPr>
          <a:lstStyle/>
          <a:p>
            <a:pPr>
              <a:lnSpc>
                <a:spcPts val="1916"/>
              </a:lnSpc>
            </a:pPr>
            <a:r>
              <a:rPr lang="en-US" sz="1400" b="1">
                <a:solidFill>
                  <a:schemeClr val="accent6"/>
                </a:solidFill>
                <a:latin typeface="Moderat" pitchFamily="2" charset="77"/>
                <a:ea typeface="Lato Bold" pitchFamily="34" charset="-122"/>
                <a:cs typeface="Lato Bold" pitchFamily="34" charset="-120"/>
              </a:rPr>
              <a:t>Cultural Awareness</a:t>
            </a:r>
          </a:p>
        </p:txBody>
      </p:sp>
      <p:sp>
        <p:nvSpPr>
          <p:cNvPr id="66" name="Text 5">
            <a:extLst>
              <a:ext uri="{FF2B5EF4-FFF2-40B4-BE49-F238E27FC236}">
                <a16:creationId xmlns:a16="http://schemas.microsoft.com/office/drawing/2014/main" id="{0A3F40D0-7C75-9A76-72E0-D2AC5E79A479}"/>
              </a:ext>
            </a:extLst>
          </p:cNvPr>
          <p:cNvSpPr/>
          <p:nvPr/>
        </p:nvSpPr>
        <p:spPr>
          <a:xfrm>
            <a:off x="1083594" y="4431408"/>
            <a:ext cx="4267775" cy="442035"/>
          </a:xfrm>
          <a:prstGeom prst="rect">
            <a:avLst/>
          </a:prstGeom>
          <a:noFill/>
          <a:ln/>
        </p:spPr>
        <p:txBody>
          <a:bodyPr wrap="square" lIns="0" tIns="36000" rIns="0" bIns="36000" rtlCol="0" anchor="t">
            <a:spAutoFit/>
          </a:bodyPr>
          <a:lstStyle/>
          <a:p>
            <a:pPr defTabSz="571500">
              <a:spcAft>
                <a:spcPts val="200"/>
              </a:spcAft>
              <a:buClr>
                <a:schemeClr val="accent5"/>
              </a:buClr>
              <a:buSzPct val="100000"/>
            </a:pPr>
            <a:r>
              <a:rPr lang="en-US" sz="1200">
                <a:solidFill>
                  <a:srgbClr val="4A4A45"/>
                </a:solidFill>
                <a:latin typeface="Moderat" pitchFamily="2" charset="77"/>
              </a:rPr>
              <a:t>Recognize high-context vs. low-context styles and how assumptions create friction in global teams</a:t>
            </a:r>
          </a:p>
        </p:txBody>
      </p:sp>
      <p:sp>
        <p:nvSpPr>
          <p:cNvPr id="71" name="Shape 2">
            <a:extLst>
              <a:ext uri="{FF2B5EF4-FFF2-40B4-BE49-F238E27FC236}">
                <a16:creationId xmlns:a16="http://schemas.microsoft.com/office/drawing/2014/main" id="{76C584D0-37CC-326D-3D52-75A560BFB7DE}"/>
              </a:ext>
            </a:extLst>
          </p:cNvPr>
          <p:cNvSpPr/>
          <p:nvPr/>
        </p:nvSpPr>
        <p:spPr>
          <a:xfrm>
            <a:off x="806499" y="4994963"/>
            <a:ext cx="5202277" cy="716592"/>
          </a:xfrm>
          <a:prstGeom prst="roundRect">
            <a:avLst>
              <a:gd name="adj" fmla="val 2503"/>
            </a:avLst>
          </a:prstGeom>
          <a:noFill/>
          <a:ln w="22860">
            <a:noFill/>
            <a:prstDash val="solid"/>
          </a:ln>
        </p:spPr>
        <p:txBody>
          <a:bodyPr/>
          <a:lstStyle/>
          <a:p>
            <a:pPr defTabSz="304770"/>
            <a:endParaRPr lang="en-IN" sz="1600">
              <a:solidFill>
                <a:srgbClr val="000000"/>
              </a:solidFill>
              <a:latin typeface="Moderat" panose="020B0604020202020204"/>
            </a:endParaRPr>
          </a:p>
        </p:txBody>
      </p:sp>
      <p:sp>
        <p:nvSpPr>
          <p:cNvPr id="72" name="Shape 7">
            <a:extLst>
              <a:ext uri="{FF2B5EF4-FFF2-40B4-BE49-F238E27FC236}">
                <a16:creationId xmlns:a16="http://schemas.microsoft.com/office/drawing/2014/main" id="{3F2C2DE5-C880-5829-D346-B3E0E6E2ECF4}"/>
              </a:ext>
            </a:extLst>
          </p:cNvPr>
          <p:cNvSpPr/>
          <p:nvPr/>
        </p:nvSpPr>
        <p:spPr>
          <a:xfrm>
            <a:off x="752499" y="4994963"/>
            <a:ext cx="54000" cy="716592"/>
          </a:xfrm>
          <a:prstGeom prst="roundRect">
            <a:avLst>
              <a:gd name="adj" fmla="val 0"/>
            </a:avLst>
          </a:prstGeom>
          <a:solidFill>
            <a:schemeClr val="accent5"/>
          </a:solidFill>
          <a:ln>
            <a:noFill/>
          </a:ln>
        </p:spPr>
        <p:txBody>
          <a:bodyPr/>
          <a:lstStyle/>
          <a:p>
            <a:endParaRPr lang="en-IN" sz="1600">
              <a:latin typeface="Moderat" panose="020B0604020202020204"/>
            </a:endParaRPr>
          </a:p>
        </p:txBody>
      </p:sp>
      <p:sp>
        <p:nvSpPr>
          <p:cNvPr id="74" name="Text 7">
            <a:extLst>
              <a:ext uri="{FF2B5EF4-FFF2-40B4-BE49-F238E27FC236}">
                <a16:creationId xmlns:a16="http://schemas.microsoft.com/office/drawing/2014/main" id="{71B1B1A8-B7B8-AEFA-B079-1CA15A9E17FC}"/>
              </a:ext>
            </a:extLst>
          </p:cNvPr>
          <p:cNvSpPr/>
          <p:nvPr/>
        </p:nvSpPr>
        <p:spPr>
          <a:xfrm>
            <a:off x="1088715" y="5028573"/>
            <a:ext cx="3649968" cy="230128"/>
          </a:xfrm>
          <a:prstGeom prst="rect">
            <a:avLst/>
          </a:prstGeom>
          <a:noFill/>
          <a:ln/>
        </p:spPr>
        <p:txBody>
          <a:bodyPr wrap="square" lIns="0" tIns="0" rIns="0" bIns="0" rtlCol="0" anchor="t">
            <a:spAutoFit/>
          </a:bodyPr>
          <a:lstStyle/>
          <a:p>
            <a:pPr>
              <a:lnSpc>
                <a:spcPts val="1916"/>
              </a:lnSpc>
            </a:pPr>
            <a:r>
              <a:rPr lang="en-US" sz="1400" b="1">
                <a:solidFill>
                  <a:schemeClr val="accent6"/>
                </a:solidFill>
                <a:latin typeface="Moderat" pitchFamily="2" charset="77"/>
                <a:ea typeface="Lato Bold" pitchFamily="34" charset="-122"/>
                <a:cs typeface="Lato Bold" pitchFamily="34" charset="-120"/>
              </a:rPr>
              <a:t>Clear Communication</a:t>
            </a:r>
          </a:p>
        </p:txBody>
      </p:sp>
      <p:sp>
        <p:nvSpPr>
          <p:cNvPr id="75" name="Text 5">
            <a:extLst>
              <a:ext uri="{FF2B5EF4-FFF2-40B4-BE49-F238E27FC236}">
                <a16:creationId xmlns:a16="http://schemas.microsoft.com/office/drawing/2014/main" id="{9CC55F78-BDEB-0ACA-03E7-7D7A6F4FB646}"/>
              </a:ext>
            </a:extLst>
          </p:cNvPr>
          <p:cNvSpPr/>
          <p:nvPr/>
        </p:nvSpPr>
        <p:spPr>
          <a:xfrm>
            <a:off x="1083594" y="5235911"/>
            <a:ext cx="4403962" cy="442035"/>
          </a:xfrm>
          <a:prstGeom prst="rect">
            <a:avLst/>
          </a:prstGeom>
          <a:noFill/>
          <a:ln/>
        </p:spPr>
        <p:txBody>
          <a:bodyPr wrap="square" lIns="0" tIns="36000" rIns="0" bIns="36000" rtlCol="0" anchor="t">
            <a:spAutoFit/>
          </a:bodyPr>
          <a:lstStyle/>
          <a:p>
            <a:pPr defTabSz="571500">
              <a:spcAft>
                <a:spcPts val="200"/>
              </a:spcAft>
              <a:buClr>
                <a:schemeClr val="accent5"/>
              </a:buClr>
              <a:buSzPct val="100000"/>
            </a:pPr>
            <a:r>
              <a:rPr lang="en-US" sz="1200">
                <a:solidFill>
                  <a:srgbClr val="4A4A45"/>
                </a:solidFill>
                <a:latin typeface="Moderat" pitchFamily="2" charset="77"/>
              </a:rPr>
              <a:t>Practice writing and speaking with precision to reduce ambiguity in emails, meetings, and updates</a:t>
            </a:r>
          </a:p>
        </p:txBody>
      </p:sp>
      <p:sp>
        <p:nvSpPr>
          <p:cNvPr id="99" name="Shape 2">
            <a:extLst>
              <a:ext uri="{FF2B5EF4-FFF2-40B4-BE49-F238E27FC236}">
                <a16:creationId xmlns:a16="http://schemas.microsoft.com/office/drawing/2014/main" id="{723F355C-F107-2011-A0ED-4045B21B0A67}"/>
              </a:ext>
            </a:extLst>
          </p:cNvPr>
          <p:cNvSpPr/>
          <p:nvPr/>
        </p:nvSpPr>
        <p:spPr>
          <a:xfrm>
            <a:off x="6454736" y="4994963"/>
            <a:ext cx="5202277" cy="716592"/>
          </a:xfrm>
          <a:prstGeom prst="roundRect">
            <a:avLst>
              <a:gd name="adj" fmla="val 2503"/>
            </a:avLst>
          </a:prstGeom>
          <a:noFill/>
          <a:ln w="22860">
            <a:noFill/>
            <a:prstDash val="solid"/>
          </a:ln>
        </p:spPr>
        <p:txBody>
          <a:bodyPr/>
          <a:lstStyle/>
          <a:p>
            <a:pPr defTabSz="304770"/>
            <a:endParaRPr lang="en-IN" sz="1600">
              <a:solidFill>
                <a:srgbClr val="000000"/>
              </a:solidFill>
              <a:latin typeface="Moderat" panose="020B0604020202020204"/>
            </a:endParaRPr>
          </a:p>
        </p:txBody>
      </p:sp>
      <p:sp>
        <p:nvSpPr>
          <p:cNvPr id="100" name="Shape 7">
            <a:extLst>
              <a:ext uri="{FF2B5EF4-FFF2-40B4-BE49-F238E27FC236}">
                <a16:creationId xmlns:a16="http://schemas.microsoft.com/office/drawing/2014/main" id="{0DCAC58A-676E-F632-5164-AB074A201F88}"/>
              </a:ext>
            </a:extLst>
          </p:cNvPr>
          <p:cNvSpPr/>
          <p:nvPr/>
        </p:nvSpPr>
        <p:spPr>
          <a:xfrm>
            <a:off x="6400736" y="4994963"/>
            <a:ext cx="54000" cy="716592"/>
          </a:xfrm>
          <a:prstGeom prst="roundRect">
            <a:avLst>
              <a:gd name="adj" fmla="val 0"/>
            </a:avLst>
          </a:prstGeom>
          <a:solidFill>
            <a:schemeClr val="accent5"/>
          </a:solidFill>
          <a:ln>
            <a:noFill/>
          </a:ln>
        </p:spPr>
        <p:txBody>
          <a:bodyPr/>
          <a:lstStyle/>
          <a:p>
            <a:endParaRPr lang="en-IN" sz="1600">
              <a:latin typeface="Moderat" panose="020B0604020202020204"/>
            </a:endParaRPr>
          </a:p>
        </p:txBody>
      </p:sp>
      <p:sp>
        <p:nvSpPr>
          <p:cNvPr id="118" name="Text 7">
            <a:extLst>
              <a:ext uri="{FF2B5EF4-FFF2-40B4-BE49-F238E27FC236}">
                <a16:creationId xmlns:a16="http://schemas.microsoft.com/office/drawing/2014/main" id="{7C37B271-7ECE-4704-97ED-3EC54BD66125}"/>
              </a:ext>
            </a:extLst>
          </p:cNvPr>
          <p:cNvSpPr/>
          <p:nvPr/>
        </p:nvSpPr>
        <p:spPr>
          <a:xfrm>
            <a:off x="6736952" y="5028573"/>
            <a:ext cx="3649968" cy="230128"/>
          </a:xfrm>
          <a:prstGeom prst="rect">
            <a:avLst/>
          </a:prstGeom>
          <a:noFill/>
          <a:ln/>
        </p:spPr>
        <p:txBody>
          <a:bodyPr wrap="square" lIns="0" tIns="0" rIns="0" bIns="0" rtlCol="0" anchor="t">
            <a:spAutoFit/>
          </a:bodyPr>
          <a:lstStyle/>
          <a:p>
            <a:pPr>
              <a:lnSpc>
                <a:spcPts val="1916"/>
              </a:lnSpc>
            </a:pPr>
            <a:r>
              <a:rPr lang="en-US" sz="1400" b="1">
                <a:solidFill>
                  <a:schemeClr val="accent6"/>
                </a:solidFill>
                <a:latin typeface="Moderat" pitchFamily="2" charset="77"/>
                <a:ea typeface="Lato Bold" pitchFamily="34" charset="-122"/>
                <a:cs typeface="Lato Bold" pitchFamily="34" charset="-120"/>
              </a:rPr>
              <a:t>Psychological Safety</a:t>
            </a:r>
          </a:p>
        </p:txBody>
      </p:sp>
      <p:sp>
        <p:nvSpPr>
          <p:cNvPr id="119" name="Text 5">
            <a:extLst>
              <a:ext uri="{FF2B5EF4-FFF2-40B4-BE49-F238E27FC236}">
                <a16:creationId xmlns:a16="http://schemas.microsoft.com/office/drawing/2014/main" id="{F8F81DD9-DB5B-6AE6-16F3-19A284DE757A}"/>
              </a:ext>
            </a:extLst>
          </p:cNvPr>
          <p:cNvSpPr/>
          <p:nvPr/>
        </p:nvSpPr>
        <p:spPr>
          <a:xfrm>
            <a:off x="6731831" y="5235911"/>
            <a:ext cx="4440919" cy="442035"/>
          </a:xfrm>
          <a:prstGeom prst="rect">
            <a:avLst/>
          </a:prstGeom>
          <a:noFill/>
          <a:ln/>
        </p:spPr>
        <p:txBody>
          <a:bodyPr wrap="square" lIns="0" tIns="36000" rIns="0" bIns="36000" rtlCol="0" anchor="t">
            <a:spAutoFit/>
          </a:bodyPr>
          <a:lstStyle/>
          <a:p>
            <a:pPr defTabSz="571500">
              <a:spcAft>
                <a:spcPts val="200"/>
              </a:spcAft>
              <a:buClr>
                <a:schemeClr val="accent5"/>
              </a:buClr>
              <a:buSzPct val="100000"/>
            </a:pPr>
            <a:r>
              <a:rPr lang="en-US" sz="1200">
                <a:solidFill>
                  <a:srgbClr val="4A4A45"/>
                </a:solidFill>
                <a:latin typeface="Moderat" pitchFamily="2" charset="77"/>
              </a:rPr>
              <a:t>Build trust across cultures through respectful feedback, alignment checks, and shared norms</a:t>
            </a:r>
          </a:p>
        </p:txBody>
      </p:sp>
      <p:sp>
        <p:nvSpPr>
          <p:cNvPr id="122" name="Shape 2">
            <a:extLst>
              <a:ext uri="{FF2B5EF4-FFF2-40B4-BE49-F238E27FC236}">
                <a16:creationId xmlns:a16="http://schemas.microsoft.com/office/drawing/2014/main" id="{2B85CE97-8C27-2388-CA1C-30B0F3376E3C}"/>
              </a:ext>
            </a:extLst>
          </p:cNvPr>
          <p:cNvSpPr/>
          <p:nvPr/>
        </p:nvSpPr>
        <p:spPr>
          <a:xfrm>
            <a:off x="6454736" y="4190460"/>
            <a:ext cx="5213301" cy="716592"/>
          </a:xfrm>
          <a:prstGeom prst="roundRect">
            <a:avLst>
              <a:gd name="adj" fmla="val 2503"/>
            </a:avLst>
          </a:prstGeom>
          <a:noFill/>
          <a:ln w="22860">
            <a:noFill/>
            <a:prstDash val="solid"/>
          </a:ln>
        </p:spPr>
        <p:txBody>
          <a:bodyPr/>
          <a:lstStyle/>
          <a:p>
            <a:pPr defTabSz="304770"/>
            <a:endParaRPr lang="en-IN" sz="1600">
              <a:solidFill>
                <a:srgbClr val="000000"/>
              </a:solidFill>
              <a:latin typeface="Moderat" panose="020B0604020202020204"/>
            </a:endParaRPr>
          </a:p>
        </p:txBody>
      </p:sp>
      <p:sp>
        <p:nvSpPr>
          <p:cNvPr id="123" name="Shape 7">
            <a:extLst>
              <a:ext uri="{FF2B5EF4-FFF2-40B4-BE49-F238E27FC236}">
                <a16:creationId xmlns:a16="http://schemas.microsoft.com/office/drawing/2014/main" id="{3A12B661-26D1-BE81-EDDF-F8D22C78EEC3}"/>
              </a:ext>
            </a:extLst>
          </p:cNvPr>
          <p:cNvSpPr/>
          <p:nvPr/>
        </p:nvSpPr>
        <p:spPr>
          <a:xfrm>
            <a:off x="6400736" y="4190460"/>
            <a:ext cx="54000" cy="716592"/>
          </a:xfrm>
          <a:prstGeom prst="roundRect">
            <a:avLst>
              <a:gd name="adj" fmla="val 0"/>
            </a:avLst>
          </a:prstGeom>
          <a:solidFill>
            <a:schemeClr val="accent5"/>
          </a:solidFill>
          <a:ln>
            <a:noFill/>
          </a:ln>
        </p:spPr>
        <p:txBody>
          <a:bodyPr/>
          <a:lstStyle/>
          <a:p>
            <a:endParaRPr lang="en-IN" sz="1600">
              <a:latin typeface="Moderat" panose="020B0604020202020204"/>
            </a:endParaRPr>
          </a:p>
        </p:txBody>
      </p:sp>
      <p:sp>
        <p:nvSpPr>
          <p:cNvPr id="124" name="Oval 123">
            <a:extLst>
              <a:ext uri="{FF2B5EF4-FFF2-40B4-BE49-F238E27FC236}">
                <a16:creationId xmlns:a16="http://schemas.microsoft.com/office/drawing/2014/main" id="{764071A7-DB04-AE71-E46A-98839C0EC36D}"/>
              </a:ext>
            </a:extLst>
          </p:cNvPr>
          <p:cNvSpPr>
            <a:spLocks noChangeAspect="1"/>
          </p:cNvSpPr>
          <p:nvPr/>
        </p:nvSpPr>
        <p:spPr>
          <a:xfrm>
            <a:off x="6170676" y="4289908"/>
            <a:ext cx="517696" cy="51769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Moderat" panose="020B0604020202020204"/>
            </a:endParaRPr>
          </a:p>
        </p:txBody>
      </p:sp>
      <p:sp>
        <p:nvSpPr>
          <p:cNvPr id="125" name="Text 7">
            <a:extLst>
              <a:ext uri="{FF2B5EF4-FFF2-40B4-BE49-F238E27FC236}">
                <a16:creationId xmlns:a16="http://schemas.microsoft.com/office/drawing/2014/main" id="{EC1509A7-565A-201F-BCAC-0DF2A3808822}"/>
              </a:ext>
            </a:extLst>
          </p:cNvPr>
          <p:cNvSpPr/>
          <p:nvPr/>
        </p:nvSpPr>
        <p:spPr>
          <a:xfrm>
            <a:off x="6736952" y="4224070"/>
            <a:ext cx="3649968" cy="230128"/>
          </a:xfrm>
          <a:prstGeom prst="rect">
            <a:avLst/>
          </a:prstGeom>
          <a:noFill/>
          <a:ln/>
        </p:spPr>
        <p:txBody>
          <a:bodyPr wrap="square" lIns="0" tIns="0" rIns="0" bIns="0" rtlCol="0" anchor="t">
            <a:spAutoFit/>
          </a:bodyPr>
          <a:lstStyle/>
          <a:p>
            <a:pPr>
              <a:lnSpc>
                <a:spcPts val="1916"/>
              </a:lnSpc>
            </a:pPr>
            <a:r>
              <a:rPr lang="en-US" sz="1400" b="1">
                <a:solidFill>
                  <a:schemeClr val="accent6"/>
                </a:solidFill>
                <a:latin typeface="Moderat" pitchFamily="2" charset="77"/>
                <a:ea typeface="Lato Bold" pitchFamily="34" charset="-122"/>
                <a:cs typeface="Lato Bold" pitchFamily="34" charset="-120"/>
              </a:rPr>
              <a:t>Shared Vocabulary</a:t>
            </a:r>
          </a:p>
        </p:txBody>
      </p:sp>
      <p:sp>
        <p:nvSpPr>
          <p:cNvPr id="126" name="Text 5">
            <a:extLst>
              <a:ext uri="{FF2B5EF4-FFF2-40B4-BE49-F238E27FC236}">
                <a16:creationId xmlns:a16="http://schemas.microsoft.com/office/drawing/2014/main" id="{E0D48A19-519B-9ACA-5B2F-9ABEE6C2C1CD}"/>
              </a:ext>
            </a:extLst>
          </p:cNvPr>
          <p:cNvSpPr/>
          <p:nvPr/>
        </p:nvSpPr>
        <p:spPr>
          <a:xfrm>
            <a:off x="6731831" y="4431408"/>
            <a:ext cx="4650456" cy="257369"/>
          </a:xfrm>
          <a:prstGeom prst="rect">
            <a:avLst/>
          </a:prstGeom>
          <a:noFill/>
          <a:ln/>
        </p:spPr>
        <p:txBody>
          <a:bodyPr wrap="square" lIns="0" tIns="36000" rIns="0" bIns="36000" rtlCol="0" anchor="t">
            <a:spAutoFit/>
          </a:bodyPr>
          <a:lstStyle/>
          <a:p>
            <a:pPr defTabSz="571500">
              <a:spcAft>
                <a:spcPts val="200"/>
              </a:spcAft>
              <a:buClr>
                <a:schemeClr val="accent5"/>
              </a:buClr>
              <a:buSzPct val="100000"/>
            </a:pPr>
            <a:r>
              <a:rPr lang="en-US" sz="1200">
                <a:solidFill>
                  <a:srgbClr val="4A4A45"/>
                </a:solidFill>
                <a:latin typeface="Moderat" pitchFamily="2" charset="77"/>
              </a:rPr>
              <a:t>Establish common definitions for key terms to eliminate false clarity</a:t>
            </a:r>
          </a:p>
        </p:txBody>
      </p:sp>
      <p:cxnSp>
        <p:nvCxnSpPr>
          <p:cNvPr id="127" name="Straight Connector 126">
            <a:extLst>
              <a:ext uri="{FF2B5EF4-FFF2-40B4-BE49-F238E27FC236}">
                <a16:creationId xmlns:a16="http://schemas.microsoft.com/office/drawing/2014/main" id="{8016C091-BC8F-40DB-67E0-F057A8A593F2}"/>
              </a:ext>
            </a:extLst>
          </p:cNvPr>
          <p:cNvCxnSpPr>
            <a:cxnSpLocks/>
          </p:cNvCxnSpPr>
          <p:nvPr/>
        </p:nvCxnSpPr>
        <p:spPr>
          <a:xfrm>
            <a:off x="515939" y="4097774"/>
            <a:ext cx="11141076"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ED101B59-03A3-C2CF-9E11-8A3AA04E2D58}"/>
              </a:ext>
            </a:extLst>
          </p:cNvPr>
          <p:cNvGrpSpPr/>
          <p:nvPr/>
        </p:nvGrpSpPr>
        <p:grpSpPr>
          <a:xfrm>
            <a:off x="522439" y="4289908"/>
            <a:ext cx="517696" cy="517696"/>
            <a:chOff x="522439" y="4289908"/>
            <a:chExt cx="517696" cy="517696"/>
          </a:xfrm>
        </p:grpSpPr>
        <p:sp>
          <p:nvSpPr>
            <p:cNvPr id="63" name="Oval 62">
              <a:extLst>
                <a:ext uri="{FF2B5EF4-FFF2-40B4-BE49-F238E27FC236}">
                  <a16:creationId xmlns:a16="http://schemas.microsoft.com/office/drawing/2014/main" id="{390DFB4A-7271-2BCC-06F3-EC4054B1FDD0}"/>
                </a:ext>
              </a:extLst>
            </p:cNvPr>
            <p:cNvSpPr>
              <a:spLocks noChangeAspect="1"/>
            </p:cNvSpPr>
            <p:nvPr/>
          </p:nvSpPr>
          <p:spPr>
            <a:xfrm>
              <a:off x="522439" y="4289908"/>
              <a:ext cx="517696" cy="51769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Moderat" panose="020B0604020202020204"/>
              </a:endParaRPr>
            </a:p>
          </p:txBody>
        </p:sp>
        <p:pic>
          <p:nvPicPr>
            <p:cNvPr id="6" name="Image 0" descr="preencoded.png">
              <a:extLst>
                <a:ext uri="{FF2B5EF4-FFF2-40B4-BE49-F238E27FC236}">
                  <a16:creationId xmlns:a16="http://schemas.microsoft.com/office/drawing/2014/main" id="{C66E1F67-DE38-F161-12A8-CCA3E59A688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9536" y="4377005"/>
              <a:ext cx="343501" cy="343501"/>
            </a:xfrm>
            <a:prstGeom prst="rect">
              <a:avLst/>
            </a:prstGeom>
          </p:spPr>
        </p:pic>
      </p:grpSp>
      <p:pic>
        <p:nvPicPr>
          <p:cNvPr id="7" name="Image 1" descr="preencoded.png">
            <a:extLst>
              <a:ext uri="{FF2B5EF4-FFF2-40B4-BE49-F238E27FC236}">
                <a16:creationId xmlns:a16="http://schemas.microsoft.com/office/drawing/2014/main" id="{63252942-B933-B440-9ABE-03BD877B156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73386" y="4392618"/>
            <a:ext cx="312274" cy="312274"/>
          </a:xfrm>
          <a:prstGeom prst="rect">
            <a:avLst/>
          </a:prstGeom>
        </p:spPr>
      </p:pic>
      <p:grpSp>
        <p:nvGrpSpPr>
          <p:cNvPr id="15" name="Group 14">
            <a:extLst>
              <a:ext uri="{FF2B5EF4-FFF2-40B4-BE49-F238E27FC236}">
                <a16:creationId xmlns:a16="http://schemas.microsoft.com/office/drawing/2014/main" id="{85E0BE62-6360-B4CD-CB6A-5156DE8F692A}"/>
              </a:ext>
            </a:extLst>
          </p:cNvPr>
          <p:cNvGrpSpPr/>
          <p:nvPr/>
        </p:nvGrpSpPr>
        <p:grpSpPr>
          <a:xfrm>
            <a:off x="522439" y="5094411"/>
            <a:ext cx="517696" cy="517696"/>
            <a:chOff x="522439" y="5094411"/>
            <a:chExt cx="517696" cy="517696"/>
          </a:xfrm>
        </p:grpSpPr>
        <p:sp>
          <p:nvSpPr>
            <p:cNvPr id="73" name="Oval 72">
              <a:extLst>
                <a:ext uri="{FF2B5EF4-FFF2-40B4-BE49-F238E27FC236}">
                  <a16:creationId xmlns:a16="http://schemas.microsoft.com/office/drawing/2014/main" id="{E4E9F689-0A2C-54A0-3FC5-131A8B7D52EC}"/>
                </a:ext>
              </a:extLst>
            </p:cNvPr>
            <p:cNvSpPr>
              <a:spLocks noChangeAspect="1"/>
            </p:cNvSpPr>
            <p:nvPr/>
          </p:nvSpPr>
          <p:spPr>
            <a:xfrm>
              <a:off x="522439" y="5094411"/>
              <a:ext cx="517696" cy="51769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Moderat" panose="020B0604020202020204"/>
              </a:endParaRPr>
            </a:p>
          </p:txBody>
        </p:sp>
        <p:pic>
          <p:nvPicPr>
            <p:cNvPr id="8" name="Image 2" descr="preencoded.png">
              <a:extLst>
                <a:ext uri="{FF2B5EF4-FFF2-40B4-BE49-F238E27FC236}">
                  <a16:creationId xmlns:a16="http://schemas.microsoft.com/office/drawing/2014/main" id="{075C8BF1-CEFB-EDB8-FE9E-73B04187A23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09536" y="5181509"/>
              <a:ext cx="343501" cy="343501"/>
            </a:xfrm>
            <a:prstGeom prst="rect">
              <a:avLst/>
            </a:prstGeom>
          </p:spPr>
        </p:pic>
      </p:grpSp>
      <p:grpSp>
        <p:nvGrpSpPr>
          <p:cNvPr id="16" name="Group 15">
            <a:extLst>
              <a:ext uri="{FF2B5EF4-FFF2-40B4-BE49-F238E27FC236}">
                <a16:creationId xmlns:a16="http://schemas.microsoft.com/office/drawing/2014/main" id="{AB1F2F87-51C1-4CE6-3666-443457CB20CC}"/>
              </a:ext>
            </a:extLst>
          </p:cNvPr>
          <p:cNvGrpSpPr/>
          <p:nvPr/>
        </p:nvGrpSpPr>
        <p:grpSpPr>
          <a:xfrm>
            <a:off x="6170676" y="5094411"/>
            <a:ext cx="517696" cy="517696"/>
            <a:chOff x="6170676" y="5094411"/>
            <a:chExt cx="517696" cy="517696"/>
          </a:xfrm>
        </p:grpSpPr>
        <p:sp>
          <p:nvSpPr>
            <p:cNvPr id="117" name="Oval 116">
              <a:extLst>
                <a:ext uri="{FF2B5EF4-FFF2-40B4-BE49-F238E27FC236}">
                  <a16:creationId xmlns:a16="http://schemas.microsoft.com/office/drawing/2014/main" id="{C080FA80-6343-6104-E801-9C713B69CD8D}"/>
                </a:ext>
              </a:extLst>
            </p:cNvPr>
            <p:cNvSpPr>
              <a:spLocks noChangeAspect="1"/>
            </p:cNvSpPr>
            <p:nvPr/>
          </p:nvSpPr>
          <p:spPr>
            <a:xfrm>
              <a:off x="6170676" y="5094411"/>
              <a:ext cx="517696" cy="51769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Moderat" panose="020B0604020202020204"/>
              </a:endParaRPr>
            </a:p>
          </p:txBody>
        </p:sp>
        <p:pic>
          <p:nvPicPr>
            <p:cNvPr id="12" name="Image 3" descr="preencoded.png">
              <a:extLst>
                <a:ext uri="{FF2B5EF4-FFF2-40B4-BE49-F238E27FC236}">
                  <a16:creationId xmlns:a16="http://schemas.microsoft.com/office/drawing/2014/main" id="{FE17371C-E299-6CDF-75EB-4EF4AB641E9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273386" y="5197122"/>
              <a:ext cx="312274" cy="312274"/>
            </a:xfrm>
            <a:prstGeom prst="rect">
              <a:avLst/>
            </a:prstGeom>
          </p:spPr>
        </p:pic>
      </p:grpSp>
    </p:spTree>
    <p:extLst>
      <p:ext uri="{BB962C8B-B14F-4D97-AF65-F5344CB8AC3E}">
        <p14:creationId xmlns:p14="http://schemas.microsoft.com/office/powerpoint/2010/main" val="32657072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B50B3D-868D-16B7-C7A0-9BB751B18016}"/>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9D6E1EDB-9904-1C5E-DE27-D1EF1F1025DD}"/>
              </a:ext>
            </a:extLst>
          </p:cNvPr>
          <p:cNvSpPr txBox="1"/>
          <p:nvPr/>
        </p:nvSpPr>
        <p:spPr>
          <a:xfrm>
            <a:off x="887831" y="3573601"/>
            <a:ext cx="4700169" cy="523220"/>
          </a:xfrm>
          <a:prstGeom prst="rect">
            <a:avLst/>
          </a:prstGeom>
          <a:noFill/>
        </p:spPr>
        <p:txBody>
          <a:bodyPr wrap="square" lIns="91440" tIns="45720" rIns="91440" bIns="45720" rtlCol="0" anchor="ctr">
            <a:spAutoFit/>
          </a:bodyPr>
          <a:lstStyle/>
          <a:p>
            <a:r>
              <a:rPr lang="en-US" sz="2800" dirty="0">
                <a:solidFill>
                  <a:schemeClr val="bg1"/>
                </a:solidFill>
                <a:latin typeface="Moderat"/>
                <a:ea typeface="Roboto"/>
              </a:rPr>
              <a:t>Case Studies</a:t>
            </a:r>
          </a:p>
        </p:txBody>
      </p:sp>
    </p:spTree>
    <p:extLst>
      <p:ext uri="{BB962C8B-B14F-4D97-AF65-F5344CB8AC3E}">
        <p14:creationId xmlns:p14="http://schemas.microsoft.com/office/powerpoint/2010/main" val="27652924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74A36F-04D9-D371-B289-EA269D7C2838}"/>
              </a:ext>
            </a:extLst>
          </p:cNvPr>
          <p:cNvSpPr/>
          <p:nvPr/>
        </p:nvSpPr>
        <p:spPr>
          <a:xfrm>
            <a:off x="515938" y="123025"/>
            <a:ext cx="7494206" cy="597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b"/>
          <a:lstStyle/>
          <a:p>
            <a:r>
              <a:rPr lang="en-US" b="1" dirty="0">
                <a:solidFill>
                  <a:schemeClr val="tx1"/>
                </a:solidFill>
                <a:latin typeface="Moderat" pitchFamily="2" charset="77"/>
              </a:rPr>
              <a:t>Critical Thinking</a:t>
            </a:r>
          </a:p>
        </p:txBody>
      </p:sp>
      <p:sp>
        <p:nvSpPr>
          <p:cNvPr id="4" name="Text 1">
            <a:extLst>
              <a:ext uri="{FF2B5EF4-FFF2-40B4-BE49-F238E27FC236}">
                <a16:creationId xmlns:a16="http://schemas.microsoft.com/office/drawing/2014/main" id="{9928747D-A291-F562-30AF-004D6223FB71}"/>
              </a:ext>
            </a:extLst>
          </p:cNvPr>
          <p:cNvSpPr/>
          <p:nvPr/>
        </p:nvSpPr>
        <p:spPr>
          <a:xfrm>
            <a:off x="515938" y="1068714"/>
            <a:ext cx="11223390" cy="208006"/>
          </a:xfrm>
          <a:prstGeom prst="rect">
            <a:avLst/>
          </a:prstGeom>
          <a:noFill/>
          <a:ln/>
        </p:spPr>
        <p:txBody>
          <a:bodyPr wrap="square" lIns="0" tIns="0" rIns="0" bIns="0" rtlCol="0" anchor="t">
            <a:spAutoFit/>
          </a:bodyPr>
          <a:lstStyle/>
          <a:p>
            <a:pPr defTabSz="571500">
              <a:lnSpc>
                <a:spcPts val="1563"/>
              </a:lnSpc>
            </a:pPr>
            <a:r>
              <a:rPr lang="en-US" sz="1600" b="1" dirty="0">
                <a:solidFill>
                  <a:schemeClr val="accent1"/>
                </a:solidFill>
                <a:latin typeface="Moderat" pitchFamily="2" charset="77"/>
                <a:ea typeface="Source Serif 4" pitchFamily="34" charset="-122"/>
                <a:cs typeface="Source Serif 4" pitchFamily="34" charset="-120"/>
              </a:rPr>
              <a:t>Building Decision-Making, Ownership, and Enterprise Confidence in a GCC</a:t>
            </a:r>
          </a:p>
        </p:txBody>
      </p:sp>
      <p:sp>
        <p:nvSpPr>
          <p:cNvPr id="21" name="Text 4">
            <a:extLst>
              <a:ext uri="{FF2B5EF4-FFF2-40B4-BE49-F238E27FC236}">
                <a16:creationId xmlns:a16="http://schemas.microsoft.com/office/drawing/2014/main" id="{59A9201A-010C-45E2-C1DB-46CDFB6E27BA}"/>
              </a:ext>
            </a:extLst>
          </p:cNvPr>
          <p:cNvSpPr/>
          <p:nvPr/>
        </p:nvSpPr>
        <p:spPr>
          <a:xfrm>
            <a:off x="530181" y="1399089"/>
            <a:ext cx="2965494" cy="207694"/>
          </a:xfrm>
          <a:prstGeom prst="rect">
            <a:avLst/>
          </a:prstGeom>
          <a:noFill/>
          <a:ln/>
        </p:spPr>
        <p:txBody>
          <a:bodyPr wrap="square" lIns="0" tIns="0" rIns="0" bIns="0" rtlCol="0" anchor="t">
            <a:spAutoFit/>
          </a:bodyPr>
          <a:lstStyle/>
          <a:p>
            <a:r>
              <a:rPr lang="en-US" sz="1600" b="1" dirty="0">
                <a:solidFill>
                  <a:schemeClr val="accent6"/>
                </a:solidFill>
                <a:latin typeface="Moderat" pitchFamily="2" charset="77"/>
                <a:ea typeface="Raleway" pitchFamily="34" charset="-122"/>
                <a:cs typeface="Raleway" pitchFamily="34" charset="-120"/>
              </a:rPr>
              <a:t>Business challenge</a:t>
            </a:r>
          </a:p>
        </p:txBody>
      </p:sp>
      <p:sp>
        <p:nvSpPr>
          <p:cNvPr id="39" name="Text 4">
            <a:extLst>
              <a:ext uri="{FF2B5EF4-FFF2-40B4-BE49-F238E27FC236}">
                <a16:creationId xmlns:a16="http://schemas.microsoft.com/office/drawing/2014/main" id="{641AB23A-D29C-6EDB-3ED8-AA9E32348915}"/>
              </a:ext>
            </a:extLst>
          </p:cNvPr>
          <p:cNvSpPr/>
          <p:nvPr/>
        </p:nvSpPr>
        <p:spPr>
          <a:xfrm>
            <a:off x="7852789" y="1399089"/>
            <a:ext cx="2965494" cy="207694"/>
          </a:xfrm>
          <a:prstGeom prst="rect">
            <a:avLst/>
          </a:prstGeom>
          <a:noFill/>
          <a:ln/>
        </p:spPr>
        <p:txBody>
          <a:bodyPr wrap="square" lIns="0" tIns="0" rIns="0" bIns="0" rtlCol="0" anchor="t">
            <a:spAutoFit/>
          </a:bodyPr>
          <a:lstStyle/>
          <a:p>
            <a:r>
              <a:rPr lang="en-US" sz="1600" b="1" dirty="0">
                <a:solidFill>
                  <a:schemeClr val="accent6"/>
                </a:solidFill>
                <a:latin typeface="Moderat" pitchFamily="2" charset="77"/>
                <a:ea typeface="Raleway" pitchFamily="34" charset="-122"/>
                <a:cs typeface="Raleway" pitchFamily="34" charset="-120"/>
              </a:rPr>
              <a:t>Business impact</a:t>
            </a:r>
          </a:p>
        </p:txBody>
      </p:sp>
      <p:sp>
        <p:nvSpPr>
          <p:cNvPr id="30" name="Rectangle 29">
            <a:extLst>
              <a:ext uri="{FF2B5EF4-FFF2-40B4-BE49-F238E27FC236}">
                <a16:creationId xmlns:a16="http://schemas.microsoft.com/office/drawing/2014/main" id="{85554614-A2DD-F7BB-3DC9-D815A17171E0}"/>
              </a:ext>
            </a:extLst>
          </p:cNvPr>
          <p:cNvSpPr/>
          <p:nvPr/>
        </p:nvSpPr>
        <p:spPr>
          <a:xfrm>
            <a:off x="533400" y="1654681"/>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1" name="Rectangle 30">
            <a:extLst>
              <a:ext uri="{FF2B5EF4-FFF2-40B4-BE49-F238E27FC236}">
                <a16:creationId xmlns:a16="http://schemas.microsoft.com/office/drawing/2014/main" id="{52446EDD-EE84-9206-88EA-F5C9188D0E23}"/>
              </a:ext>
            </a:extLst>
          </p:cNvPr>
          <p:cNvSpPr/>
          <p:nvPr/>
        </p:nvSpPr>
        <p:spPr>
          <a:xfrm>
            <a:off x="533400" y="2887299"/>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2" name="Rectangle 31">
            <a:extLst>
              <a:ext uri="{FF2B5EF4-FFF2-40B4-BE49-F238E27FC236}">
                <a16:creationId xmlns:a16="http://schemas.microsoft.com/office/drawing/2014/main" id="{C09A2081-1B25-B7A1-7D5B-BB945E2916CC}"/>
              </a:ext>
            </a:extLst>
          </p:cNvPr>
          <p:cNvSpPr/>
          <p:nvPr/>
        </p:nvSpPr>
        <p:spPr>
          <a:xfrm>
            <a:off x="533400" y="4119916"/>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Rectangle: Rounded Corners 5">
            <a:extLst>
              <a:ext uri="{FF2B5EF4-FFF2-40B4-BE49-F238E27FC236}">
                <a16:creationId xmlns:a16="http://schemas.microsoft.com/office/drawing/2014/main" id="{67095D59-B499-2F9E-9E40-5C4DB1DB31C8}"/>
              </a:ext>
            </a:extLst>
          </p:cNvPr>
          <p:cNvSpPr/>
          <p:nvPr/>
        </p:nvSpPr>
        <p:spPr>
          <a:xfrm>
            <a:off x="3920004" y="1536593"/>
            <a:ext cx="3823272" cy="3730732"/>
          </a:xfrm>
          <a:prstGeom prst="roundRect">
            <a:avLst>
              <a:gd name="adj" fmla="val 2478"/>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Text 8">
            <a:extLst>
              <a:ext uri="{FF2B5EF4-FFF2-40B4-BE49-F238E27FC236}">
                <a16:creationId xmlns:a16="http://schemas.microsoft.com/office/drawing/2014/main" id="{523F2DDC-E560-5717-8691-8F7BA998E743}"/>
              </a:ext>
            </a:extLst>
          </p:cNvPr>
          <p:cNvSpPr/>
          <p:nvPr/>
        </p:nvSpPr>
        <p:spPr>
          <a:xfrm>
            <a:off x="723900" y="1955785"/>
            <a:ext cx="2914650" cy="545198"/>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Highly capable technical teams, but </a:t>
            </a:r>
            <a:r>
              <a:rPr lang="en-US" sz="1400" b="1" dirty="0">
                <a:solidFill>
                  <a:schemeClr val="bg2">
                    <a:lumMod val="25000"/>
                  </a:schemeClr>
                </a:solidFill>
                <a:latin typeface="Moderat" panose="020B0604020202020204"/>
                <a:ea typeface="Lato" pitchFamily="34" charset="-122"/>
                <a:cs typeface="Lato" pitchFamily="34" charset="-120"/>
              </a:rPr>
              <a:t>limited business judgment and ownership</a:t>
            </a:r>
          </a:p>
        </p:txBody>
      </p:sp>
      <p:sp>
        <p:nvSpPr>
          <p:cNvPr id="23" name="Text 8">
            <a:extLst>
              <a:ext uri="{FF2B5EF4-FFF2-40B4-BE49-F238E27FC236}">
                <a16:creationId xmlns:a16="http://schemas.microsoft.com/office/drawing/2014/main" id="{0A7B8539-A203-78C3-A18D-79DA2CCFE163}"/>
              </a:ext>
            </a:extLst>
          </p:cNvPr>
          <p:cNvSpPr/>
          <p:nvPr/>
        </p:nvSpPr>
        <p:spPr>
          <a:xfrm>
            <a:off x="723900" y="3188404"/>
            <a:ext cx="2914650" cy="545198"/>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Managers escalated decisions upward, slowing execution and eroding HQ confidence</a:t>
            </a:r>
          </a:p>
        </p:txBody>
      </p:sp>
      <p:sp>
        <p:nvSpPr>
          <p:cNvPr id="24" name="Text 8">
            <a:extLst>
              <a:ext uri="{FF2B5EF4-FFF2-40B4-BE49-F238E27FC236}">
                <a16:creationId xmlns:a16="http://schemas.microsoft.com/office/drawing/2014/main" id="{8877D9A8-A480-803C-B56E-B1A6628EC7B8}"/>
              </a:ext>
            </a:extLst>
          </p:cNvPr>
          <p:cNvSpPr/>
          <p:nvPr/>
        </p:nvSpPr>
        <p:spPr>
          <a:xfrm>
            <a:off x="723899" y="4330155"/>
            <a:ext cx="2949003" cy="726930"/>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Strong execution culture, but </a:t>
            </a:r>
            <a:r>
              <a:rPr lang="en-US" sz="1400" b="1" dirty="0">
                <a:solidFill>
                  <a:schemeClr val="bg2">
                    <a:lumMod val="25000"/>
                  </a:schemeClr>
                </a:solidFill>
                <a:latin typeface="Moderat" panose="020B0604020202020204"/>
                <a:ea typeface="Lato" pitchFamily="34" charset="-122"/>
                <a:cs typeface="Lato" pitchFamily="34" charset="-120"/>
              </a:rPr>
              <a:t>low innovation, weak stakeholder storytelling, and delayed </a:t>
            </a:r>
            <a:br>
              <a:rPr lang="en-US" sz="1400" b="1" dirty="0">
                <a:solidFill>
                  <a:schemeClr val="bg2">
                    <a:lumMod val="25000"/>
                  </a:schemeClr>
                </a:solidFill>
                <a:latin typeface="Moderat" panose="020B0604020202020204"/>
                <a:ea typeface="Lato" pitchFamily="34" charset="-122"/>
                <a:cs typeface="Lato" pitchFamily="34" charset="-120"/>
              </a:rPr>
            </a:br>
            <a:r>
              <a:rPr lang="en-US" sz="1400" b="1" dirty="0">
                <a:solidFill>
                  <a:schemeClr val="bg2">
                    <a:lumMod val="25000"/>
                  </a:schemeClr>
                </a:solidFill>
                <a:latin typeface="Moderat" panose="020B0604020202020204"/>
                <a:ea typeface="Lato" pitchFamily="34" charset="-122"/>
                <a:cs typeface="Lato" pitchFamily="34" charset="-120"/>
              </a:rPr>
              <a:t>decision cycles</a:t>
            </a:r>
          </a:p>
        </p:txBody>
      </p:sp>
      <p:sp>
        <p:nvSpPr>
          <p:cNvPr id="33" name="Rectangle 32">
            <a:extLst>
              <a:ext uri="{FF2B5EF4-FFF2-40B4-BE49-F238E27FC236}">
                <a16:creationId xmlns:a16="http://schemas.microsoft.com/office/drawing/2014/main" id="{E37BE576-2BCE-5236-5DBF-5CE4ED5D8724}"/>
              </a:ext>
            </a:extLst>
          </p:cNvPr>
          <p:cNvSpPr/>
          <p:nvPr/>
        </p:nvSpPr>
        <p:spPr>
          <a:xfrm>
            <a:off x="533400" y="1654681"/>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34" name="Rectangle 33">
            <a:extLst>
              <a:ext uri="{FF2B5EF4-FFF2-40B4-BE49-F238E27FC236}">
                <a16:creationId xmlns:a16="http://schemas.microsoft.com/office/drawing/2014/main" id="{5CD58632-1C6C-6601-A6CA-64A93943FA75}"/>
              </a:ext>
            </a:extLst>
          </p:cNvPr>
          <p:cNvSpPr/>
          <p:nvPr/>
        </p:nvSpPr>
        <p:spPr>
          <a:xfrm rot="10800000">
            <a:off x="533400" y="2887299"/>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35" name="Rectangle 34">
            <a:extLst>
              <a:ext uri="{FF2B5EF4-FFF2-40B4-BE49-F238E27FC236}">
                <a16:creationId xmlns:a16="http://schemas.microsoft.com/office/drawing/2014/main" id="{74BEA437-9F93-DEC2-1683-3571F327947F}"/>
              </a:ext>
            </a:extLst>
          </p:cNvPr>
          <p:cNvSpPr/>
          <p:nvPr/>
        </p:nvSpPr>
        <p:spPr>
          <a:xfrm>
            <a:off x="533400" y="4119916"/>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38" name="Text 5">
            <a:extLst>
              <a:ext uri="{FF2B5EF4-FFF2-40B4-BE49-F238E27FC236}">
                <a16:creationId xmlns:a16="http://schemas.microsoft.com/office/drawing/2014/main" id="{215E387B-D0F0-FB33-ED9E-8DB633828852}"/>
              </a:ext>
            </a:extLst>
          </p:cNvPr>
          <p:cNvSpPr/>
          <p:nvPr/>
        </p:nvSpPr>
        <p:spPr>
          <a:xfrm>
            <a:off x="4083049" y="1766489"/>
            <a:ext cx="3413126" cy="2891163"/>
          </a:xfrm>
          <a:prstGeom prst="rect">
            <a:avLst/>
          </a:prstGeom>
          <a:noFill/>
          <a:ln/>
        </p:spPr>
        <p:txBody>
          <a:bodyPr wrap="square" lIns="0" tIns="36000" rIns="90000" bIns="36000" rtlCol="0" anchor="t">
            <a:spAutoFit/>
          </a:bodyPr>
          <a:lstStyle/>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Delivered as a </a:t>
            </a:r>
            <a:r>
              <a:rPr lang="en-US" sz="1400" b="1" dirty="0">
                <a:solidFill>
                  <a:srgbClr val="4A4A45"/>
                </a:solidFill>
                <a:latin typeface="Moderat" pitchFamily="2" charset="77"/>
              </a:rPr>
              <a:t>layered GCC leadership capability journey</a:t>
            </a:r>
          </a:p>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Embedded </a:t>
            </a:r>
            <a:r>
              <a:rPr lang="en-US" sz="1400" b="1" dirty="0">
                <a:solidFill>
                  <a:srgbClr val="4A4A45"/>
                </a:solidFill>
                <a:latin typeface="Moderat" pitchFamily="2" charset="77"/>
              </a:rPr>
              <a:t>critical thinking and decision frameworks </a:t>
            </a:r>
            <a:r>
              <a:rPr lang="en-US" sz="1400" dirty="0">
                <a:solidFill>
                  <a:srgbClr val="4A4A45"/>
                </a:solidFill>
                <a:latin typeface="Moderat" pitchFamily="2" charset="77"/>
              </a:rPr>
              <a:t>to improve judgment quality</a:t>
            </a:r>
          </a:p>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Built </a:t>
            </a:r>
            <a:r>
              <a:rPr lang="en-US" sz="1400" b="1" dirty="0">
                <a:solidFill>
                  <a:srgbClr val="4A4A45"/>
                </a:solidFill>
                <a:latin typeface="Moderat" pitchFamily="2" charset="77"/>
              </a:rPr>
              <a:t>delegation with clear decision rights </a:t>
            </a:r>
            <a:r>
              <a:rPr lang="en-US" sz="1400" dirty="0">
                <a:solidFill>
                  <a:srgbClr val="4A4A45"/>
                </a:solidFill>
                <a:latin typeface="Moderat" pitchFamily="2" charset="77"/>
              </a:rPr>
              <a:t>to reduce dependency and bottlenecks</a:t>
            </a:r>
          </a:p>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Strengthened </a:t>
            </a:r>
            <a:r>
              <a:rPr lang="en-US" sz="1400" b="1" dirty="0">
                <a:solidFill>
                  <a:srgbClr val="4A4A45"/>
                </a:solidFill>
                <a:latin typeface="Moderat" pitchFamily="2" charset="77"/>
              </a:rPr>
              <a:t>stakeholder communication and business storytelling</a:t>
            </a:r>
          </a:p>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Reinforced ownership through </a:t>
            </a:r>
            <a:r>
              <a:rPr lang="en-US" sz="1400" b="1" dirty="0">
                <a:solidFill>
                  <a:srgbClr val="4A4A45"/>
                </a:solidFill>
                <a:latin typeface="Moderat" pitchFamily="2" charset="77"/>
              </a:rPr>
              <a:t>manager-as-coach behaviors</a:t>
            </a:r>
            <a:r>
              <a:rPr lang="en-US" sz="1400" dirty="0">
                <a:solidFill>
                  <a:srgbClr val="4A4A45"/>
                </a:solidFill>
                <a:latin typeface="Moderat" pitchFamily="2" charset="77"/>
              </a:rPr>
              <a:t> and real-work simulations</a:t>
            </a:r>
          </a:p>
          <a:p>
            <a:pPr marL="171450" indent="-171450" defTabSz="571500">
              <a:spcBef>
                <a:spcPts val="600"/>
              </a:spcBef>
              <a:spcAft>
                <a:spcPts val="600"/>
              </a:spcAft>
              <a:buClr>
                <a:schemeClr val="accent5"/>
              </a:buClr>
              <a:buSzPct val="100000"/>
              <a:buFont typeface="Arial" panose="020B0604020202020204" pitchFamily="34" charset="0"/>
              <a:buChar char="•"/>
            </a:pPr>
            <a:endParaRPr lang="en-US" sz="1400" dirty="0">
              <a:solidFill>
                <a:srgbClr val="4A4A45"/>
              </a:solidFill>
              <a:latin typeface="Moderat" pitchFamily="2" charset="77"/>
            </a:endParaRPr>
          </a:p>
        </p:txBody>
      </p:sp>
      <p:sp>
        <p:nvSpPr>
          <p:cNvPr id="41" name="Rectangle: Rounded Corners 40">
            <a:extLst>
              <a:ext uri="{FF2B5EF4-FFF2-40B4-BE49-F238E27FC236}">
                <a16:creationId xmlns:a16="http://schemas.microsoft.com/office/drawing/2014/main" id="{3BC155B7-42B5-4332-55CA-A9AB9CA2E2E0}"/>
              </a:ext>
            </a:extLst>
          </p:cNvPr>
          <p:cNvSpPr/>
          <p:nvPr/>
        </p:nvSpPr>
        <p:spPr>
          <a:xfrm>
            <a:off x="7852789" y="1772663"/>
            <a:ext cx="1885570" cy="653530"/>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b="1" dirty="0">
                <a:solidFill>
                  <a:srgbClr val="4A4A45"/>
                </a:solidFill>
                <a:latin typeface="Moderat" panose="020B0604020202020204"/>
              </a:rPr>
              <a:t>Business acumen &amp; fluency</a:t>
            </a:r>
          </a:p>
        </p:txBody>
      </p:sp>
      <p:sp>
        <p:nvSpPr>
          <p:cNvPr id="51" name="Rectangle: Rounded Corners 50">
            <a:extLst>
              <a:ext uri="{FF2B5EF4-FFF2-40B4-BE49-F238E27FC236}">
                <a16:creationId xmlns:a16="http://schemas.microsoft.com/office/drawing/2014/main" id="{9910C1E7-1575-7241-96AB-62450B23E7C9}"/>
              </a:ext>
            </a:extLst>
          </p:cNvPr>
          <p:cNvSpPr/>
          <p:nvPr/>
        </p:nvSpPr>
        <p:spPr>
          <a:xfrm>
            <a:off x="7852789" y="2482946"/>
            <a:ext cx="1885570" cy="653530"/>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b="1" dirty="0">
                <a:solidFill>
                  <a:srgbClr val="4A4A45"/>
                </a:solidFill>
                <a:latin typeface="Moderat" panose="020B0604020202020204"/>
              </a:rPr>
              <a:t>Decision speed (idea → pilot)</a:t>
            </a:r>
          </a:p>
        </p:txBody>
      </p:sp>
      <p:sp>
        <p:nvSpPr>
          <p:cNvPr id="56" name="Rectangle: Rounded Corners 55">
            <a:extLst>
              <a:ext uri="{FF2B5EF4-FFF2-40B4-BE49-F238E27FC236}">
                <a16:creationId xmlns:a16="http://schemas.microsoft.com/office/drawing/2014/main" id="{3C0B930E-0497-2E41-AEB6-64B07B51A50A}"/>
              </a:ext>
            </a:extLst>
          </p:cNvPr>
          <p:cNvSpPr/>
          <p:nvPr/>
        </p:nvSpPr>
        <p:spPr>
          <a:xfrm>
            <a:off x="7852789" y="3193229"/>
            <a:ext cx="1885570" cy="653530"/>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b="1" dirty="0">
                <a:solidFill>
                  <a:srgbClr val="4A4A45"/>
                </a:solidFill>
                <a:latin typeface="Moderat" panose="020B0604020202020204"/>
              </a:rPr>
              <a:t>Business storytelling effectiveness</a:t>
            </a:r>
          </a:p>
        </p:txBody>
      </p:sp>
      <p:sp>
        <p:nvSpPr>
          <p:cNvPr id="61" name="Rectangle: Rounded Corners 60">
            <a:extLst>
              <a:ext uri="{FF2B5EF4-FFF2-40B4-BE49-F238E27FC236}">
                <a16:creationId xmlns:a16="http://schemas.microsoft.com/office/drawing/2014/main" id="{64A0CBF5-9E05-D933-3D2F-B815D8B76C64}"/>
              </a:ext>
            </a:extLst>
          </p:cNvPr>
          <p:cNvSpPr/>
          <p:nvPr/>
        </p:nvSpPr>
        <p:spPr>
          <a:xfrm>
            <a:off x="7852789" y="3903511"/>
            <a:ext cx="1885570" cy="653530"/>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b="1" dirty="0">
                <a:solidFill>
                  <a:srgbClr val="4A4A45"/>
                </a:solidFill>
                <a:latin typeface="Moderat" panose="020B0604020202020204"/>
              </a:rPr>
              <a:t>Leader coaching behaviors</a:t>
            </a:r>
          </a:p>
        </p:txBody>
      </p:sp>
      <p:sp>
        <p:nvSpPr>
          <p:cNvPr id="42" name="Text 8">
            <a:extLst>
              <a:ext uri="{FF2B5EF4-FFF2-40B4-BE49-F238E27FC236}">
                <a16:creationId xmlns:a16="http://schemas.microsoft.com/office/drawing/2014/main" id="{51633C43-BC47-E9EE-1C50-7FE61801BF44}"/>
              </a:ext>
            </a:extLst>
          </p:cNvPr>
          <p:cNvSpPr/>
          <p:nvPr/>
        </p:nvSpPr>
        <p:spPr>
          <a:xfrm>
            <a:off x="9640050" y="1568731"/>
            <a:ext cx="889832" cy="180050"/>
          </a:xfrm>
          <a:prstGeom prst="rect">
            <a:avLst/>
          </a:prstGeom>
          <a:noFill/>
          <a:ln/>
        </p:spPr>
        <p:txBody>
          <a:bodyPr wrap="square" lIns="0" tIns="0" rIns="0" bIns="0" rtlCol="0" anchor="t">
            <a:spAutoFit/>
          </a:bodyPr>
          <a:lstStyle/>
          <a:p>
            <a:pPr algn="ctr">
              <a:spcBef>
                <a:spcPts val="400"/>
              </a:spcBef>
              <a:spcAft>
                <a:spcPts val="400"/>
              </a:spcAft>
            </a:pPr>
            <a:r>
              <a:rPr lang="en-US" sz="1400" b="1" dirty="0">
                <a:solidFill>
                  <a:srgbClr val="4A4A45"/>
                </a:solidFill>
                <a:latin typeface="Moderat" panose="020B0604020202020204"/>
                <a:ea typeface="Lato" pitchFamily="34" charset="-122"/>
                <a:cs typeface="Lato" pitchFamily="34" charset="-120"/>
              </a:rPr>
              <a:t>Before</a:t>
            </a:r>
          </a:p>
        </p:txBody>
      </p:sp>
      <p:sp>
        <p:nvSpPr>
          <p:cNvPr id="43" name="Text 8">
            <a:extLst>
              <a:ext uri="{FF2B5EF4-FFF2-40B4-BE49-F238E27FC236}">
                <a16:creationId xmlns:a16="http://schemas.microsoft.com/office/drawing/2014/main" id="{5A014275-B385-1E3B-4C9D-9581884113E0}"/>
              </a:ext>
            </a:extLst>
          </p:cNvPr>
          <p:cNvSpPr/>
          <p:nvPr/>
        </p:nvSpPr>
        <p:spPr>
          <a:xfrm>
            <a:off x="10277530" y="1568731"/>
            <a:ext cx="889832" cy="180050"/>
          </a:xfrm>
          <a:prstGeom prst="rect">
            <a:avLst/>
          </a:prstGeom>
          <a:noFill/>
          <a:ln/>
        </p:spPr>
        <p:txBody>
          <a:bodyPr wrap="square" lIns="0" tIns="0" rIns="0" bIns="0" rtlCol="0" anchor="t">
            <a:spAutoFit/>
          </a:bodyPr>
          <a:lstStyle/>
          <a:p>
            <a:pPr algn="ctr">
              <a:spcBef>
                <a:spcPts val="400"/>
              </a:spcBef>
              <a:spcAft>
                <a:spcPts val="400"/>
              </a:spcAft>
            </a:pPr>
            <a:r>
              <a:rPr lang="en-US" sz="1400" b="1" dirty="0">
                <a:solidFill>
                  <a:srgbClr val="4A4A45"/>
                </a:solidFill>
                <a:latin typeface="Moderat" panose="020B0604020202020204"/>
                <a:ea typeface="Lato" pitchFamily="34" charset="-122"/>
                <a:cs typeface="Lato" pitchFamily="34" charset="-120"/>
              </a:rPr>
              <a:t>After</a:t>
            </a:r>
          </a:p>
        </p:txBody>
      </p:sp>
      <p:sp>
        <p:nvSpPr>
          <p:cNvPr id="66" name="Rectangle: Rounded Corners 65">
            <a:extLst>
              <a:ext uri="{FF2B5EF4-FFF2-40B4-BE49-F238E27FC236}">
                <a16:creationId xmlns:a16="http://schemas.microsoft.com/office/drawing/2014/main" id="{DDEEAB12-84A9-82C3-2A95-A9C0D9505EF3}"/>
              </a:ext>
            </a:extLst>
          </p:cNvPr>
          <p:cNvSpPr/>
          <p:nvPr/>
        </p:nvSpPr>
        <p:spPr>
          <a:xfrm>
            <a:off x="7852789" y="4613794"/>
            <a:ext cx="1885571" cy="653530"/>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b="1" dirty="0">
                <a:solidFill>
                  <a:srgbClr val="4A4A45"/>
                </a:solidFill>
                <a:latin typeface="Moderat" panose="020B0604020202020204"/>
              </a:rPr>
              <a:t>Execution-only mindset</a:t>
            </a:r>
          </a:p>
        </p:txBody>
      </p:sp>
      <p:sp>
        <p:nvSpPr>
          <p:cNvPr id="44" name="Rectangle: Rounded Corners 43">
            <a:extLst>
              <a:ext uri="{FF2B5EF4-FFF2-40B4-BE49-F238E27FC236}">
                <a16:creationId xmlns:a16="http://schemas.microsoft.com/office/drawing/2014/main" id="{C8F2095B-CE62-2977-4307-0935C9F68111}"/>
              </a:ext>
            </a:extLst>
          </p:cNvPr>
          <p:cNvSpPr/>
          <p:nvPr/>
        </p:nvSpPr>
        <p:spPr>
          <a:xfrm>
            <a:off x="10417141" y="1772663"/>
            <a:ext cx="610610" cy="653530"/>
          </a:xfrm>
          <a:prstGeom prst="roundRect">
            <a:avLst>
              <a:gd name="adj" fmla="val 806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IN" sz="1400" dirty="0">
                <a:solidFill>
                  <a:srgbClr val="4A4A45"/>
                </a:solidFill>
                <a:latin typeface="Moderat" panose="020B0604020202020204"/>
              </a:rPr>
              <a:t>55%</a:t>
            </a:r>
            <a:endParaRPr lang="en-IN" sz="1400" b="1" dirty="0">
              <a:solidFill>
                <a:srgbClr val="4A4A45"/>
              </a:solidFill>
              <a:latin typeface="Moderat" panose="020B0604020202020204"/>
            </a:endParaRPr>
          </a:p>
        </p:txBody>
      </p:sp>
      <p:sp>
        <p:nvSpPr>
          <p:cNvPr id="40" name="Rectangle: Rounded Corners 39">
            <a:extLst>
              <a:ext uri="{FF2B5EF4-FFF2-40B4-BE49-F238E27FC236}">
                <a16:creationId xmlns:a16="http://schemas.microsoft.com/office/drawing/2014/main" id="{F7F38C67-A0A1-DCC7-B82C-F8F354FCD5EF}"/>
              </a:ext>
            </a:extLst>
          </p:cNvPr>
          <p:cNvSpPr/>
          <p:nvPr/>
        </p:nvSpPr>
        <p:spPr>
          <a:xfrm>
            <a:off x="9779661" y="1772663"/>
            <a:ext cx="610610" cy="653530"/>
          </a:xfrm>
          <a:prstGeom prst="roundRect">
            <a:avLst>
              <a:gd name="adj" fmla="val 806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IN" sz="1400" dirty="0">
                <a:solidFill>
                  <a:srgbClr val="4A4A45"/>
                </a:solidFill>
                <a:latin typeface="Moderat" panose="020B0604020202020204"/>
              </a:rPr>
              <a:t>26% </a:t>
            </a:r>
          </a:p>
        </p:txBody>
      </p:sp>
      <p:sp>
        <p:nvSpPr>
          <p:cNvPr id="49" name="Rectangle: Rounded Corners 48">
            <a:extLst>
              <a:ext uri="{FF2B5EF4-FFF2-40B4-BE49-F238E27FC236}">
                <a16:creationId xmlns:a16="http://schemas.microsoft.com/office/drawing/2014/main" id="{BBDF6F04-F208-C413-0DD4-B1C6551D54C3}"/>
              </a:ext>
            </a:extLst>
          </p:cNvPr>
          <p:cNvSpPr/>
          <p:nvPr/>
        </p:nvSpPr>
        <p:spPr>
          <a:xfrm>
            <a:off x="10417141" y="2482946"/>
            <a:ext cx="610610" cy="653530"/>
          </a:xfrm>
          <a:prstGeom prst="roundRect">
            <a:avLst>
              <a:gd name="adj" fmla="val 806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IN" sz="1400" dirty="0">
                <a:solidFill>
                  <a:srgbClr val="4A4A45"/>
                </a:solidFill>
                <a:latin typeface="Moderat" panose="020B0604020202020204"/>
              </a:rPr>
              <a:t>4.8 </a:t>
            </a:r>
            <a:r>
              <a:rPr lang="en-IN" sz="1200" dirty="0">
                <a:solidFill>
                  <a:srgbClr val="4A4A45"/>
                </a:solidFill>
                <a:latin typeface="Moderat" panose="020B0604020202020204"/>
              </a:rPr>
              <a:t>months</a:t>
            </a:r>
            <a:endParaRPr lang="en-IN" sz="1400" b="1" dirty="0">
              <a:solidFill>
                <a:srgbClr val="4A4A45"/>
              </a:solidFill>
              <a:latin typeface="Moderat" panose="020B0604020202020204"/>
            </a:endParaRPr>
          </a:p>
        </p:txBody>
      </p:sp>
      <p:sp>
        <p:nvSpPr>
          <p:cNvPr id="50" name="Rectangle: Rounded Corners 49">
            <a:extLst>
              <a:ext uri="{FF2B5EF4-FFF2-40B4-BE49-F238E27FC236}">
                <a16:creationId xmlns:a16="http://schemas.microsoft.com/office/drawing/2014/main" id="{7C8C891C-92E0-E5BA-7C5A-86DAD6E5618A}"/>
              </a:ext>
            </a:extLst>
          </p:cNvPr>
          <p:cNvSpPr/>
          <p:nvPr/>
        </p:nvSpPr>
        <p:spPr>
          <a:xfrm>
            <a:off x="9779661" y="2482946"/>
            <a:ext cx="610610" cy="653530"/>
          </a:xfrm>
          <a:prstGeom prst="roundRect">
            <a:avLst>
              <a:gd name="adj" fmla="val 806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IN" sz="1400" dirty="0">
                <a:solidFill>
                  <a:srgbClr val="4A4A45"/>
                </a:solidFill>
                <a:latin typeface="Moderat" panose="020B0604020202020204"/>
              </a:rPr>
              <a:t>7.4 </a:t>
            </a:r>
            <a:br>
              <a:rPr lang="en-IN" sz="1400" dirty="0">
                <a:solidFill>
                  <a:srgbClr val="4A4A45"/>
                </a:solidFill>
                <a:latin typeface="Moderat" panose="020B0604020202020204"/>
              </a:rPr>
            </a:br>
            <a:r>
              <a:rPr lang="en-IN" sz="1200" dirty="0">
                <a:solidFill>
                  <a:srgbClr val="4A4A45"/>
                </a:solidFill>
                <a:latin typeface="Moderat" panose="020B0604020202020204"/>
              </a:rPr>
              <a:t>months</a:t>
            </a:r>
            <a:endParaRPr lang="en-IN" sz="1400" dirty="0">
              <a:solidFill>
                <a:srgbClr val="4A4A45"/>
              </a:solidFill>
              <a:latin typeface="Moderat" panose="020B0604020202020204"/>
            </a:endParaRPr>
          </a:p>
        </p:txBody>
      </p:sp>
      <p:sp>
        <p:nvSpPr>
          <p:cNvPr id="54" name="Rectangle: Rounded Corners 53">
            <a:extLst>
              <a:ext uri="{FF2B5EF4-FFF2-40B4-BE49-F238E27FC236}">
                <a16:creationId xmlns:a16="http://schemas.microsoft.com/office/drawing/2014/main" id="{0DBF6450-82A0-35CD-0978-761B9906A6C6}"/>
              </a:ext>
            </a:extLst>
          </p:cNvPr>
          <p:cNvSpPr/>
          <p:nvPr/>
        </p:nvSpPr>
        <p:spPr>
          <a:xfrm>
            <a:off x="10417141" y="3193229"/>
            <a:ext cx="610610" cy="653530"/>
          </a:xfrm>
          <a:prstGeom prst="roundRect">
            <a:avLst>
              <a:gd name="adj" fmla="val 806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IN" sz="1400" dirty="0">
                <a:solidFill>
                  <a:srgbClr val="4A4A45"/>
                </a:solidFill>
                <a:latin typeface="Moderat" panose="020B0604020202020204"/>
              </a:rPr>
              <a:t>29% </a:t>
            </a:r>
            <a:endParaRPr lang="en-IN" sz="1400" b="1" dirty="0">
              <a:solidFill>
                <a:srgbClr val="4A4A45"/>
              </a:solidFill>
              <a:latin typeface="Moderat" panose="020B0604020202020204"/>
            </a:endParaRPr>
          </a:p>
        </p:txBody>
      </p:sp>
      <p:sp>
        <p:nvSpPr>
          <p:cNvPr id="55" name="Rectangle: Rounded Corners 54">
            <a:extLst>
              <a:ext uri="{FF2B5EF4-FFF2-40B4-BE49-F238E27FC236}">
                <a16:creationId xmlns:a16="http://schemas.microsoft.com/office/drawing/2014/main" id="{792599F4-F6FE-3DD6-27FE-DF0138E003B8}"/>
              </a:ext>
            </a:extLst>
          </p:cNvPr>
          <p:cNvSpPr/>
          <p:nvPr/>
        </p:nvSpPr>
        <p:spPr>
          <a:xfrm>
            <a:off x="9779661" y="3193229"/>
            <a:ext cx="610610" cy="653530"/>
          </a:xfrm>
          <a:prstGeom prst="roundRect">
            <a:avLst>
              <a:gd name="adj" fmla="val 806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IN" sz="1400" dirty="0">
                <a:solidFill>
                  <a:srgbClr val="4A4A45"/>
                </a:solidFill>
                <a:latin typeface="Moderat" panose="020B0604020202020204"/>
              </a:rPr>
              <a:t>11% </a:t>
            </a:r>
          </a:p>
        </p:txBody>
      </p:sp>
      <p:sp>
        <p:nvSpPr>
          <p:cNvPr id="59" name="Rectangle: Rounded Corners 58">
            <a:extLst>
              <a:ext uri="{FF2B5EF4-FFF2-40B4-BE49-F238E27FC236}">
                <a16:creationId xmlns:a16="http://schemas.microsoft.com/office/drawing/2014/main" id="{FA205A48-7105-2322-0629-B24DA1355E16}"/>
              </a:ext>
            </a:extLst>
          </p:cNvPr>
          <p:cNvSpPr/>
          <p:nvPr/>
        </p:nvSpPr>
        <p:spPr>
          <a:xfrm>
            <a:off x="10417141" y="3903511"/>
            <a:ext cx="610610" cy="653530"/>
          </a:xfrm>
          <a:prstGeom prst="roundRect">
            <a:avLst>
              <a:gd name="adj" fmla="val 806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IN" sz="1400" dirty="0">
                <a:solidFill>
                  <a:srgbClr val="4A4A45"/>
                </a:solidFill>
                <a:latin typeface="Moderat" panose="020B0604020202020204"/>
              </a:rPr>
              <a:t>87%</a:t>
            </a:r>
            <a:endParaRPr lang="en-IN" sz="1400" b="1" dirty="0">
              <a:solidFill>
                <a:srgbClr val="4A4A45"/>
              </a:solidFill>
              <a:latin typeface="Moderat" panose="020B0604020202020204"/>
            </a:endParaRPr>
          </a:p>
        </p:txBody>
      </p:sp>
      <p:sp>
        <p:nvSpPr>
          <p:cNvPr id="60" name="Rectangle: Rounded Corners 59">
            <a:extLst>
              <a:ext uri="{FF2B5EF4-FFF2-40B4-BE49-F238E27FC236}">
                <a16:creationId xmlns:a16="http://schemas.microsoft.com/office/drawing/2014/main" id="{0E2D46AD-8771-25A6-0B28-CCA59F4C4A48}"/>
              </a:ext>
            </a:extLst>
          </p:cNvPr>
          <p:cNvSpPr/>
          <p:nvPr/>
        </p:nvSpPr>
        <p:spPr>
          <a:xfrm>
            <a:off x="9779661" y="3903511"/>
            <a:ext cx="610610" cy="653530"/>
          </a:xfrm>
          <a:prstGeom prst="roundRect">
            <a:avLst>
              <a:gd name="adj" fmla="val 806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IN" sz="1400" dirty="0">
                <a:solidFill>
                  <a:srgbClr val="4A4A45"/>
                </a:solidFill>
                <a:latin typeface="Moderat" panose="020B0604020202020204"/>
              </a:rPr>
              <a:t>58% </a:t>
            </a:r>
          </a:p>
        </p:txBody>
      </p:sp>
      <p:sp>
        <p:nvSpPr>
          <p:cNvPr id="64" name="Rectangle: Rounded Corners 63">
            <a:extLst>
              <a:ext uri="{FF2B5EF4-FFF2-40B4-BE49-F238E27FC236}">
                <a16:creationId xmlns:a16="http://schemas.microsoft.com/office/drawing/2014/main" id="{DFA4F7CD-2345-7E00-B44E-98984F58E1D8}"/>
              </a:ext>
            </a:extLst>
          </p:cNvPr>
          <p:cNvSpPr/>
          <p:nvPr/>
        </p:nvSpPr>
        <p:spPr>
          <a:xfrm>
            <a:off x="10417141" y="4613794"/>
            <a:ext cx="610610" cy="653530"/>
          </a:xfrm>
          <a:prstGeom prst="roundRect">
            <a:avLst>
              <a:gd name="adj" fmla="val 806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IN" sz="1400" dirty="0">
                <a:solidFill>
                  <a:srgbClr val="4A4A45"/>
                </a:solidFill>
                <a:latin typeface="Moderat" panose="020B0604020202020204"/>
              </a:rPr>
              <a:t>19%</a:t>
            </a:r>
          </a:p>
        </p:txBody>
      </p:sp>
      <p:sp>
        <p:nvSpPr>
          <p:cNvPr id="65" name="Rectangle: Rounded Corners 64">
            <a:extLst>
              <a:ext uri="{FF2B5EF4-FFF2-40B4-BE49-F238E27FC236}">
                <a16:creationId xmlns:a16="http://schemas.microsoft.com/office/drawing/2014/main" id="{6972C591-09E6-1940-C7E7-42DB465667C2}"/>
              </a:ext>
            </a:extLst>
          </p:cNvPr>
          <p:cNvSpPr/>
          <p:nvPr/>
        </p:nvSpPr>
        <p:spPr>
          <a:xfrm>
            <a:off x="9779661" y="4613794"/>
            <a:ext cx="610610" cy="653530"/>
          </a:xfrm>
          <a:prstGeom prst="roundRect">
            <a:avLst>
              <a:gd name="adj" fmla="val 806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IN" sz="1400" dirty="0">
                <a:solidFill>
                  <a:srgbClr val="4A4A45"/>
                </a:solidFill>
                <a:latin typeface="Moderat" panose="020B0604020202020204"/>
              </a:rPr>
              <a:t>42%</a:t>
            </a:r>
          </a:p>
        </p:txBody>
      </p:sp>
      <p:sp>
        <p:nvSpPr>
          <p:cNvPr id="131" name="Rectangle: Rounded Corners 130">
            <a:extLst>
              <a:ext uri="{FF2B5EF4-FFF2-40B4-BE49-F238E27FC236}">
                <a16:creationId xmlns:a16="http://schemas.microsoft.com/office/drawing/2014/main" id="{7DE2BF5F-1D9D-BE5B-388D-834184B6EFAC}"/>
              </a:ext>
            </a:extLst>
          </p:cNvPr>
          <p:cNvSpPr/>
          <p:nvPr/>
        </p:nvSpPr>
        <p:spPr>
          <a:xfrm>
            <a:off x="11054621" y="1772663"/>
            <a:ext cx="610610" cy="653530"/>
          </a:xfrm>
          <a:prstGeom prst="roundRect">
            <a:avLst>
              <a:gd name="adj" fmla="val 806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0" rIns="36000" rtlCol="0" anchor="ctr"/>
          <a:lstStyle/>
          <a:p>
            <a:pPr algn="ctr"/>
            <a:r>
              <a:rPr lang="en-IN" sz="1400" dirty="0">
                <a:solidFill>
                  <a:srgbClr val="4A4A45"/>
                </a:solidFill>
                <a:latin typeface="Moderat" panose="020B0604020202020204"/>
              </a:rPr>
              <a:t>+30</a:t>
            </a:r>
          </a:p>
          <a:p>
            <a:pPr algn="ctr"/>
            <a:r>
              <a:rPr lang="en-IN" sz="1200" dirty="0">
                <a:solidFill>
                  <a:srgbClr val="4A4A45"/>
                </a:solidFill>
                <a:latin typeface="Moderat" panose="020B0604020202020204"/>
              </a:rPr>
              <a:t>Points</a:t>
            </a:r>
          </a:p>
        </p:txBody>
      </p:sp>
      <p:sp>
        <p:nvSpPr>
          <p:cNvPr id="132" name="Rectangle: Rounded Corners 131">
            <a:extLst>
              <a:ext uri="{FF2B5EF4-FFF2-40B4-BE49-F238E27FC236}">
                <a16:creationId xmlns:a16="http://schemas.microsoft.com/office/drawing/2014/main" id="{8AC1732B-0938-CE94-8466-B2805A53B7FE}"/>
              </a:ext>
            </a:extLst>
          </p:cNvPr>
          <p:cNvSpPr/>
          <p:nvPr/>
        </p:nvSpPr>
        <p:spPr>
          <a:xfrm>
            <a:off x="11054621" y="2482946"/>
            <a:ext cx="610610" cy="653530"/>
          </a:xfrm>
          <a:prstGeom prst="roundRect">
            <a:avLst>
              <a:gd name="adj" fmla="val 806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0" rIns="36000" rtlCol="0" anchor="ctr"/>
          <a:lstStyle/>
          <a:p>
            <a:pPr algn="ctr"/>
            <a:r>
              <a:rPr lang="en-IN" sz="1400" dirty="0">
                <a:solidFill>
                  <a:srgbClr val="4A4A45"/>
                </a:solidFill>
                <a:latin typeface="Moderat" panose="020B0604020202020204"/>
              </a:rPr>
              <a:t>33%</a:t>
            </a:r>
          </a:p>
          <a:p>
            <a:pPr algn="ctr"/>
            <a:r>
              <a:rPr lang="en-IN" sz="1200" dirty="0">
                <a:solidFill>
                  <a:srgbClr val="4A4A45"/>
                </a:solidFill>
                <a:latin typeface="Moderat" panose="020B0604020202020204"/>
              </a:rPr>
              <a:t>faster</a:t>
            </a:r>
          </a:p>
        </p:txBody>
      </p:sp>
      <p:sp>
        <p:nvSpPr>
          <p:cNvPr id="133" name="Rectangle: Rounded Corners 132">
            <a:extLst>
              <a:ext uri="{FF2B5EF4-FFF2-40B4-BE49-F238E27FC236}">
                <a16:creationId xmlns:a16="http://schemas.microsoft.com/office/drawing/2014/main" id="{275D8717-5F6C-F194-B83A-E5F9F1F8B533}"/>
              </a:ext>
            </a:extLst>
          </p:cNvPr>
          <p:cNvSpPr/>
          <p:nvPr/>
        </p:nvSpPr>
        <p:spPr>
          <a:xfrm>
            <a:off x="11054621" y="3193229"/>
            <a:ext cx="610610" cy="653530"/>
          </a:xfrm>
          <a:prstGeom prst="roundRect">
            <a:avLst>
              <a:gd name="adj" fmla="val 806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IN" sz="1400" dirty="0">
                <a:solidFill>
                  <a:srgbClr val="4A4A45"/>
                </a:solidFill>
                <a:latin typeface="Moderat" panose="020B0604020202020204"/>
              </a:rPr>
              <a:t>2.5×</a:t>
            </a:r>
          </a:p>
        </p:txBody>
      </p:sp>
      <p:sp>
        <p:nvSpPr>
          <p:cNvPr id="134" name="Rectangle: Rounded Corners 133">
            <a:extLst>
              <a:ext uri="{FF2B5EF4-FFF2-40B4-BE49-F238E27FC236}">
                <a16:creationId xmlns:a16="http://schemas.microsoft.com/office/drawing/2014/main" id="{D1D8D12D-D243-EC14-A38D-BF6E2FF8148A}"/>
              </a:ext>
            </a:extLst>
          </p:cNvPr>
          <p:cNvSpPr/>
          <p:nvPr/>
        </p:nvSpPr>
        <p:spPr>
          <a:xfrm>
            <a:off x="11054621" y="3903511"/>
            <a:ext cx="610610" cy="653530"/>
          </a:xfrm>
          <a:prstGeom prst="roundRect">
            <a:avLst>
              <a:gd name="adj" fmla="val 806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80000" rIns="36000" rtlCol="0" anchor="ctr"/>
          <a:lstStyle/>
          <a:p>
            <a:pPr algn="ctr"/>
            <a:r>
              <a:rPr lang="en-IN" sz="1400" dirty="0">
                <a:solidFill>
                  <a:srgbClr val="4A4A45"/>
                </a:solidFill>
                <a:latin typeface="Moderat" panose="020B0604020202020204"/>
              </a:rPr>
              <a:t>+29</a:t>
            </a:r>
          </a:p>
          <a:p>
            <a:pPr algn="ctr"/>
            <a:r>
              <a:rPr lang="en-IN" sz="1200" dirty="0">
                <a:solidFill>
                  <a:srgbClr val="4A4A45"/>
                </a:solidFill>
                <a:latin typeface="Moderat" panose="020B0604020202020204"/>
              </a:rPr>
              <a:t>points</a:t>
            </a:r>
          </a:p>
        </p:txBody>
      </p:sp>
      <p:sp>
        <p:nvSpPr>
          <p:cNvPr id="135" name="Rectangle: Rounded Corners 134">
            <a:extLst>
              <a:ext uri="{FF2B5EF4-FFF2-40B4-BE49-F238E27FC236}">
                <a16:creationId xmlns:a16="http://schemas.microsoft.com/office/drawing/2014/main" id="{A8CDDAD9-3CE9-6B95-C742-DE5B5FA12A3D}"/>
              </a:ext>
            </a:extLst>
          </p:cNvPr>
          <p:cNvSpPr/>
          <p:nvPr/>
        </p:nvSpPr>
        <p:spPr>
          <a:xfrm>
            <a:off x="11054621" y="4613794"/>
            <a:ext cx="610610" cy="653530"/>
          </a:xfrm>
          <a:prstGeom prst="roundRect">
            <a:avLst>
              <a:gd name="adj" fmla="val 8062"/>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IN" sz="1400" dirty="0">
                <a:solidFill>
                  <a:srgbClr val="4A4A45"/>
                </a:solidFill>
                <a:latin typeface="Moderat" panose="020B0604020202020204"/>
              </a:rPr>
              <a:t>55%</a:t>
            </a:r>
          </a:p>
        </p:txBody>
      </p:sp>
      <p:sp>
        <p:nvSpPr>
          <p:cNvPr id="137" name="Text 8">
            <a:extLst>
              <a:ext uri="{FF2B5EF4-FFF2-40B4-BE49-F238E27FC236}">
                <a16:creationId xmlns:a16="http://schemas.microsoft.com/office/drawing/2014/main" id="{8CF63AF8-1C31-3348-7EC5-1EF2E6C1B6DE}"/>
              </a:ext>
            </a:extLst>
          </p:cNvPr>
          <p:cNvSpPr/>
          <p:nvPr/>
        </p:nvSpPr>
        <p:spPr>
          <a:xfrm>
            <a:off x="11054621" y="1568731"/>
            <a:ext cx="610610" cy="181733"/>
          </a:xfrm>
          <a:prstGeom prst="rect">
            <a:avLst/>
          </a:prstGeom>
          <a:noFill/>
          <a:ln/>
        </p:spPr>
        <p:txBody>
          <a:bodyPr wrap="square" lIns="0" tIns="0" rIns="0" bIns="0" rtlCol="0" anchor="t">
            <a:spAutoFit/>
          </a:bodyPr>
          <a:lstStyle/>
          <a:p>
            <a:pPr algn="ctr">
              <a:spcBef>
                <a:spcPts val="400"/>
              </a:spcBef>
              <a:spcAft>
                <a:spcPts val="400"/>
              </a:spcAft>
            </a:pPr>
            <a:r>
              <a:rPr lang="en-US" sz="1400" b="1" dirty="0">
                <a:solidFill>
                  <a:srgbClr val="4A4A45"/>
                </a:solidFill>
                <a:latin typeface="Moderat" panose="020B0604020202020204"/>
                <a:ea typeface="Lato" pitchFamily="34" charset="-122"/>
                <a:cs typeface="Lato" pitchFamily="34" charset="-120"/>
                <a:sym typeface="Wingdings 3" panose="05040102010807070707" pitchFamily="18" charset="2"/>
              </a:rPr>
              <a:t></a:t>
            </a:r>
            <a:endParaRPr lang="en-US" sz="1400" b="1" dirty="0">
              <a:solidFill>
                <a:srgbClr val="4A4A45"/>
              </a:solidFill>
              <a:latin typeface="Moderat" panose="020B0604020202020204"/>
              <a:ea typeface="Lato" pitchFamily="34" charset="-122"/>
              <a:cs typeface="Lato" pitchFamily="34" charset="-120"/>
            </a:endParaRPr>
          </a:p>
        </p:txBody>
      </p:sp>
      <p:sp>
        <p:nvSpPr>
          <p:cNvPr id="142" name="Arrow: Down 141">
            <a:extLst>
              <a:ext uri="{FF2B5EF4-FFF2-40B4-BE49-F238E27FC236}">
                <a16:creationId xmlns:a16="http://schemas.microsoft.com/office/drawing/2014/main" id="{DD57AE3B-FCFC-6E95-3297-BABE26D21655}"/>
              </a:ext>
            </a:extLst>
          </p:cNvPr>
          <p:cNvSpPr>
            <a:spLocks noChangeAspect="1"/>
          </p:cNvSpPr>
          <p:nvPr/>
        </p:nvSpPr>
        <p:spPr>
          <a:xfrm flipV="1">
            <a:off x="11312431" y="3339178"/>
            <a:ext cx="95882" cy="82868"/>
          </a:xfrm>
          <a:prstGeom prst="down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3" name="Arrow: Down 142">
            <a:extLst>
              <a:ext uri="{FF2B5EF4-FFF2-40B4-BE49-F238E27FC236}">
                <a16:creationId xmlns:a16="http://schemas.microsoft.com/office/drawing/2014/main" id="{F79DCF10-F0AA-73D7-37C4-336AA85AC353}"/>
              </a:ext>
            </a:extLst>
          </p:cNvPr>
          <p:cNvSpPr>
            <a:spLocks noChangeAspect="1"/>
          </p:cNvSpPr>
          <p:nvPr/>
        </p:nvSpPr>
        <p:spPr>
          <a:xfrm>
            <a:off x="11312431" y="4746875"/>
            <a:ext cx="95882" cy="82868"/>
          </a:xfrm>
          <a:prstGeom prst="down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4" name="Arrow: Down 143">
            <a:extLst>
              <a:ext uri="{FF2B5EF4-FFF2-40B4-BE49-F238E27FC236}">
                <a16:creationId xmlns:a16="http://schemas.microsoft.com/office/drawing/2014/main" id="{5B263CBA-1AD4-EC37-2767-44803FC1993E}"/>
              </a:ext>
            </a:extLst>
          </p:cNvPr>
          <p:cNvSpPr>
            <a:spLocks noChangeAspect="1"/>
          </p:cNvSpPr>
          <p:nvPr/>
        </p:nvSpPr>
        <p:spPr>
          <a:xfrm flipV="1">
            <a:off x="11312431" y="4027676"/>
            <a:ext cx="95882" cy="82868"/>
          </a:xfrm>
          <a:prstGeom prst="down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5" name="Arrow: Down 144">
            <a:extLst>
              <a:ext uri="{FF2B5EF4-FFF2-40B4-BE49-F238E27FC236}">
                <a16:creationId xmlns:a16="http://schemas.microsoft.com/office/drawing/2014/main" id="{B2F47D30-ED07-332C-2A43-2DAF62DAD2C2}"/>
              </a:ext>
            </a:extLst>
          </p:cNvPr>
          <p:cNvSpPr>
            <a:spLocks noChangeAspect="1"/>
          </p:cNvSpPr>
          <p:nvPr/>
        </p:nvSpPr>
        <p:spPr>
          <a:xfrm flipV="1">
            <a:off x="11312431" y="2592632"/>
            <a:ext cx="95882" cy="82868"/>
          </a:xfrm>
          <a:prstGeom prst="down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6" name="Arrow: Down 145">
            <a:extLst>
              <a:ext uri="{FF2B5EF4-FFF2-40B4-BE49-F238E27FC236}">
                <a16:creationId xmlns:a16="http://schemas.microsoft.com/office/drawing/2014/main" id="{B7861D4E-5DED-0D23-91DD-BAAD00047C30}"/>
              </a:ext>
            </a:extLst>
          </p:cNvPr>
          <p:cNvSpPr>
            <a:spLocks noChangeAspect="1"/>
          </p:cNvSpPr>
          <p:nvPr/>
        </p:nvSpPr>
        <p:spPr>
          <a:xfrm flipV="1">
            <a:off x="11312431" y="1892966"/>
            <a:ext cx="95882" cy="82868"/>
          </a:xfrm>
          <a:prstGeom prst="down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Rectangle: Rounded Corners 35">
            <a:extLst>
              <a:ext uri="{FF2B5EF4-FFF2-40B4-BE49-F238E27FC236}">
                <a16:creationId xmlns:a16="http://schemas.microsoft.com/office/drawing/2014/main" id="{8D921AD1-A58D-9537-335D-7AD08D38DAA7}"/>
              </a:ext>
            </a:extLst>
          </p:cNvPr>
          <p:cNvSpPr/>
          <p:nvPr/>
        </p:nvSpPr>
        <p:spPr>
          <a:xfrm>
            <a:off x="4083049" y="1414467"/>
            <a:ext cx="1955801" cy="253358"/>
          </a:xfrm>
          <a:prstGeom prst="roundRect">
            <a:avLst>
              <a:gd name="adj" fmla="val 2618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36000" bIns="36000" rtlCol="0" anchor="ctr"/>
          <a:lstStyle/>
          <a:p>
            <a:r>
              <a:rPr lang="en-US" sz="1600" b="1" dirty="0">
                <a:latin typeface="Moderat" pitchFamily="2" charset="77"/>
              </a:rPr>
              <a:t>Intervention</a:t>
            </a:r>
          </a:p>
        </p:txBody>
      </p:sp>
      <p:sp>
        <p:nvSpPr>
          <p:cNvPr id="153" name="Rectangle: Rounded Corners 152">
            <a:extLst>
              <a:ext uri="{FF2B5EF4-FFF2-40B4-BE49-F238E27FC236}">
                <a16:creationId xmlns:a16="http://schemas.microsoft.com/office/drawing/2014/main" id="{5FCEC0FE-9004-763B-0876-44A1820CB167}"/>
              </a:ext>
            </a:extLst>
          </p:cNvPr>
          <p:cNvSpPr/>
          <p:nvPr/>
        </p:nvSpPr>
        <p:spPr>
          <a:xfrm>
            <a:off x="533400" y="5391150"/>
            <a:ext cx="11131831" cy="594362"/>
          </a:xfrm>
          <a:prstGeom prst="roundRect">
            <a:avLst>
              <a:gd name="adj" fmla="val 181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36000" bIns="36000" rtlCol="0" anchor="ctr"/>
          <a:lstStyle/>
          <a:p>
            <a:r>
              <a:rPr lang="en-US" sz="1400" dirty="0">
                <a:latin typeface="Moderat" pitchFamily="2" charset="77"/>
              </a:rPr>
              <a:t>When leadership capability is built intentionally and embedded into daily work, a GCC can move from </a:t>
            </a:r>
            <a:r>
              <a:rPr lang="en-US" sz="1400" b="1" dirty="0">
                <a:latin typeface="Moderat" pitchFamily="2" charset="77"/>
              </a:rPr>
              <a:t>execution support to enterprise partnership</a:t>
            </a:r>
            <a:r>
              <a:rPr lang="en-US" sz="1400" dirty="0">
                <a:latin typeface="Moderat" pitchFamily="2" charset="77"/>
              </a:rPr>
              <a:t> earning trust, autonomy, and strategic influence.</a:t>
            </a:r>
          </a:p>
        </p:txBody>
      </p:sp>
      <p:grpSp>
        <p:nvGrpSpPr>
          <p:cNvPr id="155" name="Group 154">
            <a:extLst>
              <a:ext uri="{FF2B5EF4-FFF2-40B4-BE49-F238E27FC236}">
                <a16:creationId xmlns:a16="http://schemas.microsoft.com/office/drawing/2014/main" id="{2E8198CC-42FA-F67A-9346-CB61FF94FA2C}"/>
              </a:ext>
            </a:extLst>
          </p:cNvPr>
          <p:cNvGrpSpPr>
            <a:grpSpLocks noChangeAspect="1"/>
          </p:cNvGrpSpPr>
          <p:nvPr/>
        </p:nvGrpSpPr>
        <p:grpSpPr>
          <a:xfrm>
            <a:off x="7957391" y="1891610"/>
            <a:ext cx="415636" cy="415636"/>
            <a:chOff x="7936609" y="2000740"/>
            <a:chExt cx="457200" cy="457200"/>
          </a:xfrm>
        </p:grpSpPr>
        <p:sp>
          <p:nvSpPr>
            <p:cNvPr id="156" name="Oval 155">
              <a:extLst>
                <a:ext uri="{FF2B5EF4-FFF2-40B4-BE49-F238E27FC236}">
                  <a16:creationId xmlns:a16="http://schemas.microsoft.com/office/drawing/2014/main" id="{273F49EE-20A8-726A-B38E-424844CD1DE3}"/>
                </a:ext>
              </a:extLst>
            </p:cNvPr>
            <p:cNvSpPr>
              <a:spLocks noChangeAspect="1"/>
            </p:cNvSpPr>
            <p:nvPr/>
          </p:nvSpPr>
          <p:spPr>
            <a:xfrm>
              <a:off x="7936609" y="2000740"/>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grpSp>
          <p:nvGrpSpPr>
            <p:cNvPr id="157" name="Group 156">
              <a:extLst>
                <a:ext uri="{FF2B5EF4-FFF2-40B4-BE49-F238E27FC236}">
                  <a16:creationId xmlns:a16="http://schemas.microsoft.com/office/drawing/2014/main" id="{C1A17148-AE09-3E47-84CC-4D96A8427547}"/>
                </a:ext>
              </a:extLst>
            </p:cNvPr>
            <p:cNvGrpSpPr>
              <a:grpSpLocks noChangeAspect="1"/>
            </p:cNvGrpSpPr>
            <p:nvPr/>
          </p:nvGrpSpPr>
          <p:grpSpPr>
            <a:xfrm>
              <a:off x="8038210" y="2083291"/>
              <a:ext cx="253999" cy="253999"/>
              <a:chOff x="923925" y="577850"/>
              <a:chExt cx="253999" cy="253999"/>
            </a:xfrm>
            <a:solidFill>
              <a:schemeClr val="bg1"/>
            </a:solidFill>
          </p:grpSpPr>
          <p:sp>
            <p:nvSpPr>
              <p:cNvPr id="158" name="Freeform: Shape 157">
                <a:extLst>
                  <a:ext uri="{FF2B5EF4-FFF2-40B4-BE49-F238E27FC236}">
                    <a16:creationId xmlns:a16="http://schemas.microsoft.com/office/drawing/2014/main" id="{B6A825F1-C573-E486-F1A6-4B981ED943A9}"/>
                  </a:ext>
                </a:extLst>
              </p:cNvPr>
              <p:cNvSpPr/>
              <p:nvPr/>
            </p:nvSpPr>
            <p:spPr>
              <a:xfrm>
                <a:off x="1103903" y="653326"/>
                <a:ext cx="34873" cy="73916"/>
              </a:xfrm>
              <a:custGeom>
                <a:avLst/>
                <a:gdLst>
                  <a:gd name="csX0" fmla="*/ 26680 w 34873"/>
                  <a:gd name="csY0" fmla="*/ 63416 h 73916"/>
                  <a:gd name="csX1" fmla="*/ 26434 w 34873"/>
                  <a:gd name="csY1" fmla="*/ 69492 h 73916"/>
                  <a:gd name="csX2" fmla="*/ 30191 w 34873"/>
                  <a:gd name="csY2" fmla="*/ 73904 h 73916"/>
                  <a:gd name="csX3" fmla="*/ 30522 w 34873"/>
                  <a:gd name="csY3" fmla="*/ 73916 h 73916"/>
                  <a:gd name="csX4" fmla="*/ 34603 w 34873"/>
                  <a:gd name="csY4" fmla="*/ 70147 h 73916"/>
                  <a:gd name="csX5" fmla="*/ 34873 w 34873"/>
                  <a:gd name="csY5" fmla="*/ 63416 h 73916"/>
                  <a:gd name="csX6" fmla="*/ 6839 w 34873"/>
                  <a:gd name="csY6" fmla="*/ 1051 h 73916"/>
                  <a:gd name="csX7" fmla="*/ 1054 w 34873"/>
                  <a:gd name="csY7" fmla="*/ 1350 h 73916"/>
                  <a:gd name="csX8" fmla="*/ 1353 w 34873"/>
                  <a:gd name="csY8" fmla="*/ 7135 h 73916"/>
                  <a:gd name="csX9" fmla="*/ 26680 w 34873"/>
                  <a:gd name="csY9" fmla="*/ 63416 h 7391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34873" h="73916">
                    <a:moveTo>
                      <a:pt x="26680" y="63416"/>
                    </a:moveTo>
                    <a:cubicBezTo>
                      <a:pt x="26680" y="65461"/>
                      <a:pt x="26594" y="67489"/>
                      <a:pt x="26434" y="69492"/>
                    </a:cubicBezTo>
                    <a:cubicBezTo>
                      <a:pt x="26254" y="71745"/>
                      <a:pt x="27933" y="73724"/>
                      <a:pt x="30191" y="73904"/>
                    </a:cubicBezTo>
                    <a:cubicBezTo>
                      <a:pt x="30301" y="73912"/>
                      <a:pt x="30412" y="73916"/>
                      <a:pt x="30522" y="73916"/>
                    </a:cubicBezTo>
                    <a:cubicBezTo>
                      <a:pt x="32636" y="73916"/>
                      <a:pt x="34431" y="72294"/>
                      <a:pt x="34603" y="70147"/>
                    </a:cubicBezTo>
                    <a:cubicBezTo>
                      <a:pt x="34783" y="67927"/>
                      <a:pt x="34873" y="65682"/>
                      <a:pt x="34873" y="63416"/>
                    </a:cubicBezTo>
                    <a:cubicBezTo>
                      <a:pt x="34873" y="39844"/>
                      <a:pt x="24656" y="17111"/>
                      <a:pt x="6839" y="1051"/>
                    </a:cubicBezTo>
                    <a:cubicBezTo>
                      <a:pt x="5159" y="-460"/>
                      <a:pt x="2570" y="-325"/>
                      <a:pt x="1054" y="1350"/>
                    </a:cubicBezTo>
                    <a:cubicBezTo>
                      <a:pt x="-462" y="3030"/>
                      <a:pt x="-326" y="5619"/>
                      <a:pt x="1353" y="7135"/>
                    </a:cubicBezTo>
                    <a:cubicBezTo>
                      <a:pt x="17450" y="21650"/>
                      <a:pt x="26680" y="42162"/>
                      <a:pt x="26680" y="63416"/>
                    </a:cubicBezTo>
                    <a:close/>
                  </a:path>
                </a:pathLst>
              </a:custGeom>
              <a:grpFill/>
              <a:ln w="399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59" name="Freeform: Shape 158">
                <a:extLst>
                  <a:ext uri="{FF2B5EF4-FFF2-40B4-BE49-F238E27FC236}">
                    <a16:creationId xmlns:a16="http://schemas.microsoft.com/office/drawing/2014/main" id="{E9F8115F-68AB-E201-BD29-20A4FC8BD99A}"/>
                  </a:ext>
                </a:extLst>
              </p:cNvPr>
              <p:cNvSpPr/>
              <p:nvPr/>
            </p:nvSpPr>
            <p:spPr>
              <a:xfrm>
                <a:off x="1023391" y="790487"/>
                <a:ext cx="55030" cy="11407"/>
              </a:xfrm>
              <a:custGeom>
                <a:avLst/>
                <a:gdLst>
                  <a:gd name="csX0" fmla="*/ 49824 w 55030"/>
                  <a:gd name="csY0" fmla="*/ 162 h 11407"/>
                  <a:gd name="csX1" fmla="*/ 5206 w 55030"/>
                  <a:gd name="csY1" fmla="*/ 153 h 11407"/>
                  <a:gd name="csX2" fmla="*/ 155 w 55030"/>
                  <a:gd name="csY2" fmla="*/ 2984 h 11407"/>
                  <a:gd name="csX3" fmla="*/ 2986 w 55030"/>
                  <a:gd name="csY3" fmla="*/ 8036 h 11407"/>
                  <a:gd name="csX4" fmla="*/ 27534 w 55030"/>
                  <a:gd name="csY4" fmla="*/ 11407 h 11407"/>
                  <a:gd name="csX5" fmla="*/ 52040 w 55030"/>
                  <a:gd name="csY5" fmla="*/ 8052 h 11407"/>
                  <a:gd name="csX6" fmla="*/ 54875 w 55030"/>
                  <a:gd name="csY6" fmla="*/ 3001 h 11407"/>
                  <a:gd name="csX7" fmla="*/ 49824 w 55030"/>
                  <a:gd name="csY7" fmla="*/ 162 h 1140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55030" h="11407">
                    <a:moveTo>
                      <a:pt x="49824" y="162"/>
                    </a:moveTo>
                    <a:cubicBezTo>
                      <a:pt x="35399" y="4217"/>
                      <a:pt x="19627" y="4213"/>
                      <a:pt x="5206" y="153"/>
                    </a:cubicBezTo>
                    <a:cubicBezTo>
                      <a:pt x="3035" y="-457"/>
                      <a:pt x="769" y="809"/>
                      <a:pt x="155" y="2984"/>
                    </a:cubicBezTo>
                    <a:cubicBezTo>
                      <a:pt x="-460" y="5160"/>
                      <a:pt x="810" y="7425"/>
                      <a:pt x="2986" y="8036"/>
                    </a:cubicBezTo>
                    <a:cubicBezTo>
                      <a:pt x="10925" y="10272"/>
                      <a:pt x="19184" y="11407"/>
                      <a:pt x="27534" y="11407"/>
                    </a:cubicBezTo>
                    <a:cubicBezTo>
                      <a:pt x="35866" y="11407"/>
                      <a:pt x="44109" y="10277"/>
                      <a:pt x="52040" y="8052"/>
                    </a:cubicBezTo>
                    <a:cubicBezTo>
                      <a:pt x="54220" y="7442"/>
                      <a:pt x="55490" y="5176"/>
                      <a:pt x="54875" y="3001"/>
                    </a:cubicBezTo>
                    <a:cubicBezTo>
                      <a:pt x="54265" y="817"/>
                      <a:pt x="52000" y="-453"/>
                      <a:pt x="49824" y="162"/>
                    </a:cubicBezTo>
                    <a:close/>
                  </a:path>
                </a:pathLst>
              </a:custGeom>
              <a:grpFill/>
              <a:ln w="399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0" name="Freeform: Shape 159">
                <a:extLst>
                  <a:ext uri="{FF2B5EF4-FFF2-40B4-BE49-F238E27FC236}">
                    <a16:creationId xmlns:a16="http://schemas.microsoft.com/office/drawing/2014/main" id="{015352DF-A34D-C61D-7DB0-CA0AE129703A}"/>
                  </a:ext>
                </a:extLst>
              </p:cNvPr>
              <p:cNvSpPr/>
              <p:nvPr/>
            </p:nvSpPr>
            <p:spPr>
              <a:xfrm>
                <a:off x="963073" y="651585"/>
                <a:ext cx="36869" cy="82474"/>
              </a:xfrm>
              <a:custGeom>
                <a:avLst/>
                <a:gdLst>
                  <a:gd name="csX0" fmla="*/ 5199 w 36869"/>
                  <a:gd name="csY0" fmla="*/ 82475 h 82474"/>
                  <a:gd name="csX1" fmla="*/ 5887 w 36869"/>
                  <a:gd name="csY1" fmla="*/ 82417 h 82474"/>
                  <a:gd name="csX2" fmla="*/ 9242 w 36869"/>
                  <a:gd name="csY2" fmla="*/ 77694 h 82474"/>
                  <a:gd name="csX3" fmla="*/ 8194 w 36869"/>
                  <a:gd name="csY3" fmla="*/ 65158 h 82474"/>
                  <a:gd name="csX4" fmla="*/ 35417 w 36869"/>
                  <a:gd name="csY4" fmla="*/ 7225 h 82474"/>
                  <a:gd name="csX5" fmla="*/ 35900 w 36869"/>
                  <a:gd name="csY5" fmla="*/ 1453 h 82474"/>
                  <a:gd name="csX6" fmla="*/ 30128 w 36869"/>
                  <a:gd name="csY6" fmla="*/ 969 h 82474"/>
                  <a:gd name="csX7" fmla="*/ 0 w 36869"/>
                  <a:gd name="csY7" fmla="*/ 65158 h 82474"/>
                  <a:gd name="csX8" fmla="*/ 1168 w 36869"/>
                  <a:gd name="csY8" fmla="*/ 79062 h 82474"/>
                  <a:gd name="csX9" fmla="*/ 5199 w 36869"/>
                  <a:gd name="csY9" fmla="*/ 82475 h 8247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36869" h="82474">
                    <a:moveTo>
                      <a:pt x="5199" y="82475"/>
                    </a:moveTo>
                    <a:cubicBezTo>
                      <a:pt x="5424" y="82475"/>
                      <a:pt x="5654" y="82458"/>
                      <a:pt x="5887" y="82417"/>
                    </a:cubicBezTo>
                    <a:cubicBezTo>
                      <a:pt x="8116" y="82041"/>
                      <a:pt x="9619" y="79927"/>
                      <a:pt x="9242" y="77694"/>
                    </a:cubicBezTo>
                    <a:cubicBezTo>
                      <a:pt x="8546" y="73577"/>
                      <a:pt x="8194" y="69357"/>
                      <a:pt x="8194" y="65158"/>
                    </a:cubicBezTo>
                    <a:cubicBezTo>
                      <a:pt x="8194" y="42970"/>
                      <a:pt x="18116" y="21855"/>
                      <a:pt x="35417" y="7225"/>
                    </a:cubicBezTo>
                    <a:cubicBezTo>
                      <a:pt x="37145" y="5763"/>
                      <a:pt x="37363" y="3178"/>
                      <a:pt x="35900" y="1453"/>
                    </a:cubicBezTo>
                    <a:cubicBezTo>
                      <a:pt x="34442" y="-276"/>
                      <a:pt x="31852" y="-493"/>
                      <a:pt x="30128" y="969"/>
                    </a:cubicBezTo>
                    <a:cubicBezTo>
                      <a:pt x="10983" y="17160"/>
                      <a:pt x="0" y="40557"/>
                      <a:pt x="0" y="65158"/>
                    </a:cubicBezTo>
                    <a:cubicBezTo>
                      <a:pt x="0" y="69816"/>
                      <a:pt x="393" y="74490"/>
                      <a:pt x="1168" y="79062"/>
                    </a:cubicBezTo>
                    <a:cubicBezTo>
                      <a:pt x="1504" y="81061"/>
                      <a:pt x="3236" y="82475"/>
                      <a:pt x="5199" y="82475"/>
                    </a:cubicBezTo>
                    <a:close/>
                  </a:path>
                </a:pathLst>
              </a:custGeom>
              <a:grpFill/>
              <a:ln w="399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1" name="Freeform: Shape 160">
                <a:extLst>
                  <a:ext uri="{FF2B5EF4-FFF2-40B4-BE49-F238E27FC236}">
                    <a16:creationId xmlns:a16="http://schemas.microsoft.com/office/drawing/2014/main" id="{7121FE65-C60B-1DD5-EE60-DC718430A607}"/>
                  </a:ext>
                </a:extLst>
              </p:cNvPr>
              <p:cNvSpPr/>
              <p:nvPr/>
            </p:nvSpPr>
            <p:spPr>
              <a:xfrm>
                <a:off x="1001763" y="577850"/>
                <a:ext cx="98322" cy="111272"/>
              </a:xfrm>
              <a:custGeom>
                <a:avLst/>
                <a:gdLst>
                  <a:gd name="csX0" fmla="*/ 4097 w 98322"/>
                  <a:gd name="csY0" fmla="*/ 111272 h 111272"/>
                  <a:gd name="csX1" fmla="*/ 94226 w 98322"/>
                  <a:gd name="csY1" fmla="*/ 111272 h 111272"/>
                  <a:gd name="csX2" fmla="*/ 98323 w 98322"/>
                  <a:gd name="csY2" fmla="*/ 107176 h 111272"/>
                  <a:gd name="csX3" fmla="*/ 98323 w 98322"/>
                  <a:gd name="csY3" fmla="*/ 88617 h 111272"/>
                  <a:gd name="csX4" fmla="*/ 74381 w 98322"/>
                  <a:gd name="csY4" fmla="*/ 50911 h 111272"/>
                  <a:gd name="csX5" fmla="*/ 81571 w 98322"/>
                  <a:gd name="csY5" fmla="*/ 31308 h 111272"/>
                  <a:gd name="csX6" fmla="*/ 49112 w 98322"/>
                  <a:gd name="csY6" fmla="*/ 0 h 111272"/>
                  <a:gd name="csX7" fmla="*/ 16653 w 98322"/>
                  <a:gd name="csY7" fmla="*/ 31312 h 111272"/>
                  <a:gd name="csX8" fmla="*/ 23868 w 98322"/>
                  <a:gd name="csY8" fmla="*/ 50952 h 111272"/>
                  <a:gd name="csX9" fmla="*/ 0 w 98322"/>
                  <a:gd name="csY9" fmla="*/ 88617 h 111272"/>
                  <a:gd name="csX10" fmla="*/ 0 w 98322"/>
                  <a:gd name="csY10" fmla="*/ 107176 h 111272"/>
                  <a:gd name="csX11" fmla="*/ 4097 w 98322"/>
                  <a:gd name="csY11" fmla="*/ 111272 h 111272"/>
                  <a:gd name="csX12" fmla="*/ 49112 w 98322"/>
                  <a:gd name="csY12" fmla="*/ 8194 h 111272"/>
                  <a:gd name="csX13" fmla="*/ 73377 w 98322"/>
                  <a:gd name="csY13" fmla="*/ 31312 h 111272"/>
                  <a:gd name="csX14" fmla="*/ 49112 w 98322"/>
                  <a:gd name="csY14" fmla="*/ 54426 h 111272"/>
                  <a:gd name="csX15" fmla="*/ 24847 w 98322"/>
                  <a:gd name="csY15" fmla="*/ 31312 h 111272"/>
                  <a:gd name="csX16" fmla="*/ 49112 w 98322"/>
                  <a:gd name="csY16" fmla="*/ 8194 h 111272"/>
                  <a:gd name="csX17" fmla="*/ 44425 w 98322"/>
                  <a:gd name="csY17" fmla="*/ 62255 h 111272"/>
                  <a:gd name="csX18" fmla="*/ 49112 w 98322"/>
                  <a:gd name="csY18" fmla="*/ 62619 h 111272"/>
                  <a:gd name="csX19" fmla="*/ 53795 w 98322"/>
                  <a:gd name="csY19" fmla="*/ 62255 h 111272"/>
                  <a:gd name="csX20" fmla="*/ 53795 w 98322"/>
                  <a:gd name="csY20" fmla="*/ 80866 h 111272"/>
                  <a:gd name="csX21" fmla="*/ 49112 w 98322"/>
                  <a:gd name="csY21" fmla="*/ 86983 h 111272"/>
                  <a:gd name="csX22" fmla="*/ 44425 w 98322"/>
                  <a:gd name="csY22" fmla="*/ 80866 h 111272"/>
                  <a:gd name="csX23" fmla="*/ 8194 w 98322"/>
                  <a:gd name="csY23" fmla="*/ 88617 h 111272"/>
                  <a:gd name="csX24" fmla="*/ 30406 w 98322"/>
                  <a:gd name="csY24" fmla="*/ 56970 h 111272"/>
                  <a:gd name="csX25" fmla="*/ 30492 w 98322"/>
                  <a:gd name="csY25" fmla="*/ 56912 h 111272"/>
                  <a:gd name="csX26" fmla="*/ 36232 w 98322"/>
                  <a:gd name="csY26" fmla="*/ 60030 h 111272"/>
                  <a:gd name="csX27" fmla="*/ 36232 w 98322"/>
                  <a:gd name="csY27" fmla="*/ 82251 h 111272"/>
                  <a:gd name="csX28" fmla="*/ 37076 w 98322"/>
                  <a:gd name="csY28" fmla="*/ 84742 h 111272"/>
                  <a:gd name="csX29" fmla="*/ 45859 w 98322"/>
                  <a:gd name="csY29" fmla="*/ 96205 h 111272"/>
                  <a:gd name="csX30" fmla="*/ 49112 w 98322"/>
                  <a:gd name="csY30" fmla="*/ 97810 h 111272"/>
                  <a:gd name="csX31" fmla="*/ 52365 w 98322"/>
                  <a:gd name="csY31" fmla="*/ 96205 h 111272"/>
                  <a:gd name="csX32" fmla="*/ 61144 w 98322"/>
                  <a:gd name="csY32" fmla="*/ 84742 h 111272"/>
                  <a:gd name="csX33" fmla="*/ 61988 w 98322"/>
                  <a:gd name="csY33" fmla="*/ 82251 h 111272"/>
                  <a:gd name="csX34" fmla="*/ 61988 w 98322"/>
                  <a:gd name="csY34" fmla="*/ 60030 h 111272"/>
                  <a:gd name="csX35" fmla="*/ 67933 w 98322"/>
                  <a:gd name="csY35" fmla="*/ 56765 h 111272"/>
                  <a:gd name="csX36" fmla="*/ 68695 w 98322"/>
                  <a:gd name="csY36" fmla="*/ 57289 h 111272"/>
                  <a:gd name="csX37" fmla="*/ 90129 w 98322"/>
                  <a:gd name="csY37" fmla="*/ 88617 h 111272"/>
                  <a:gd name="csX38" fmla="*/ 90129 w 98322"/>
                  <a:gd name="csY38" fmla="*/ 103079 h 111272"/>
                  <a:gd name="csX39" fmla="*/ 76622 w 98322"/>
                  <a:gd name="csY39" fmla="*/ 103079 h 111272"/>
                  <a:gd name="csX40" fmla="*/ 76622 w 98322"/>
                  <a:gd name="csY40" fmla="*/ 95254 h 111272"/>
                  <a:gd name="csX41" fmla="*/ 72525 w 98322"/>
                  <a:gd name="csY41" fmla="*/ 91157 h 111272"/>
                  <a:gd name="csX42" fmla="*/ 68428 w 98322"/>
                  <a:gd name="csY42" fmla="*/ 95254 h 111272"/>
                  <a:gd name="csX43" fmla="*/ 68428 w 98322"/>
                  <a:gd name="csY43" fmla="*/ 103079 h 111272"/>
                  <a:gd name="csX44" fmla="*/ 29792 w 98322"/>
                  <a:gd name="csY44" fmla="*/ 103079 h 111272"/>
                  <a:gd name="csX45" fmla="*/ 29792 w 98322"/>
                  <a:gd name="csY45" fmla="*/ 95254 h 111272"/>
                  <a:gd name="csX46" fmla="*/ 25695 w 98322"/>
                  <a:gd name="csY46" fmla="*/ 91157 h 111272"/>
                  <a:gd name="csX47" fmla="*/ 21598 w 98322"/>
                  <a:gd name="csY47" fmla="*/ 95254 h 111272"/>
                  <a:gd name="csX48" fmla="*/ 21598 w 98322"/>
                  <a:gd name="csY48" fmla="*/ 103079 h 111272"/>
                  <a:gd name="csX49" fmla="*/ 8194 w 98322"/>
                  <a:gd name="csY49" fmla="*/ 103079 h 11127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Lst>
                <a:rect l="l" t="t" r="r" b="b"/>
                <a:pathLst>
                  <a:path w="98322" h="111272">
                    <a:moveTo>
                      <a:pt x="4097" y="111272"/>
                    </a:moveTo>
                    <a:lnTo>
                      <a:pt x="94226" y="111272"/>
                    </a:lnTo>
                    <a:cubicBezTo>
                      <a:pt x="96487" y="111272"/>
                      <a:pt x="98323" y="109437"/>
                      <a:pt x="98323" y="107176"/>
                    </a:cubicBezTo>
                    <a:lnTo>
                      <a:pt x="98323" y="88617"/>
                    </a:lnTo>
                    <a:cubicBezTo>
                      <a:pt x="98323" y="72718"/>
                      <a:pt x="89007" y="58203"/>
                      <a:pt x="74381" y="50911"/>
                    </a:cubicBezTo>
                    <a:cubicBezTo>
                      <a:pt x="78867" y="45540"/>
                      <a:pt x="81571" y="38727"/>
                      <a:pt x="81571" y="31308"/>
                    </a:cubicBezTo>
                    <a:cubicBezTo>
                      <a:pt x="81571" y="14044"/>
                      <a:pt x="67007" y="0"/>
                      <a:pt x="49112" y="0"/>
                    </a:cubicBezTo>
                    <a:cubicBezTo>
                      <a:pt x="31217" y="0"/>
                      <a:pt x="16653" y="14044"/>
                      <a:pt x="16653" y="31312"/>
                    </a:cubicBezTo>
                    <a:cubicBezTo>
                      <a:pt x="16653" y="38747"/>
                      <a:pt x="19365" y="45577"/>
                      <a:pt x="23868" y="50952"/>
                    </a:cubicBezTo>
                    <a:cubicBezTo>
                      <a:pt x="9255" y="58248"/>
                      <a:pt x="0" y="72648"/>
                      <a:pt x="0" y="88617"/>
                    </a:cubicBezTo>
                    <a:lnTo>
                      <a:pt x="0" y="107176"/>
                    </a:lnTo>
                    <a:cubicBezTo>
                      <a:pt x="0" y="109437"/>
                      <a:pt x="1835" y="111272"/>
                      <a:pt x="4097" y="111272"/>
                    </a:cubicBezTo>
                    <a:close/>
                    <a:moveTo>
                      <a:pt x="49112" y="8194"/>
                    </a:moveTo>
                    <a:cubicBezTo>
                      <a:pt x="62492" y="8194"/>
                      <a:pt x="73377" y="18562"/>
                      <a:pt x="73377" y="31312"/>
                    </a:cubicBezTo>
                    <a:cubicBezTo>
                      <a:pt x="73377" y="44057"/>
                      <a:pt x="62492" y="54426"/>
                      <a:pt x="49112" y="54426"/>
                    </a:cubicBezTo>
                    <a:cubicBezTo>
                      <a:pt x="35732" y="54426"/>
                      <a:pt x="24847" y="44057"/>
                      <a:pt x="24847" y="31312"/>
                    </a:cubicBezTo>
                    <a:cubicBezTo>
                      <a:pt x="24847" y="18562"/>
                      <a:pt x="35732" y="8194"/>
                      <a:pt x="49112" y="8194"/>
                    </a:cubicBezTo>
                    <a:close/>
                    <a:moveTo>
                      <a:pt x="44425" y="62255"/>
                    </a:moveTo>
                    <a:cubicBezTo>
                      <a:pt x="45958" y="62472"/>
                      <a:pt x="47514" y="62619"/>
                      <a:pt x="49112" y="62619"/>
                    </a:cubicBezTo>
                    <a:cubicBezTo>
                      <a:pt x="50706" y="62619"/>
                      <a:pt x="52263" y="62472"/>
                      <a:pt x="53795" y="62255"/>
                    </a:cubicBezTo>
                    <a:lnTo>
                      <a:pt x="53795" y="80866"/>
                    </a:lnTo>
                    <a:lnTo>
                      <a:pt x="49112" y="86983"/>
                    </a:lnTo>
                    <a:lnTo>
                      <a:pt x="44425" y="80866"/>
                    </a:lnTo>
                    <a:close/>
                    <a:moveTo>
                      <a:pt x="8194" y="88617"/>
                    </a:moveTo>
                    <a:cubicBezTo>
                      <a:pt x="8194" y="74778"/>
                      <a:pt x="16911" y="62353"/>
                      <a:pt x="30406" y="56970"/>
                    </a:cubicBezTo>
                    <a:cubicBezTo>
                      <a:pt x="30439" y="56957"/>
                      <a:pt x="30460" y="56929"/>
                      <a:pt x="30492" y="56912"/>
                    </a:cubicBezTo>
                    <a:cubicBezTo>
                      <a:pt x="32283" y="58129"/>
                      <a:pt x="34200" y="59182"/>
                      <a:pt x="36232" y="60030"/>
                    </a:cubicBezTo>
                    <a:lnTo>
                      <a:pt x="36232" y="82251"/>
                    </a:lnTo>
                    <a:cubicBezTo>
                      <a:pt x="36232" y="83152"/>
                      <a:pt x="36527" y="84029"/>
                      <a:pt x="37076" y="84742"/>
                    </a:cubicBezTo>
                    <a:lnTo>
                      <a:pt x="45859" y="96205"/>
                    </a:lnTo>
                    <a:cubicBezTo>
                      <a:pt x="46634" y="97216"/>
                      <a:pt x="47838" y="97810"/>
                      <a:pt x="49112" y="97810"/>
                    </a:cubicBezTo>
                    <a:cubicBezTo>
                      <a:pt x="50386" y="97810"/>
                      <a:pt x="51587" y="97216"/>
                      <a:pt x="52365" y="96205"/>
                    </a:cubicBezTo>
                    <a:lnTo>
                      <a:pt x="61144" y="84742"/>
                    </a:lnTo>
                    <a:cubicBezTo>
                      <a:pt x="61693" y="84029"/>
                      <a:pt x="61988" y="83152"/>
                      <a:pt x="61988" y="82251"/>
                    </a:cubicBezTo>
                    <a:lnTo>
                      <a:pt x="61988" y="60030"/>
                    </a:lnTo>
                    <a:cubicBezTo>
                      <a:pt x="64098" y="59145"/>
                      <a:pt x="66081" y="58039"/>
                      <a:pt x="67933" y="56765"/>
                    </a:cubicBezTo>
                    <a:cubicBezTo>
                      <a:pt x="68183" y="56945"/>
                      <a:pt x="68400" y="57162"/>
                      <a:pt x="68695" y="57289"/>
                    </a:cubicBezTo>
                    <a:cubicBezTo>
                      <a:pt x="81714" y="62828"/>
                      <a:pt x="90129" y="75127"/>
                      <a:pt x="90129" y="88617"/>
                    </a:cubicBezTo>
                    <a:lnTo>
                      <a:pt x="90129" y="103079"/>
                    </a:lnTo>
                    <a:lnTo>
                      <a:pt x="76622" y="103079"/>
                    </a:lnTo>
                    <a:lnTo>
                      <a:pt x="76622" y="95254"/>
                    </a:lnTo>
                    <a:cubicBezTo>
                      <a:pt x="76622" y="92993"/>
                      <a:pt x="74787" y="91157"/>
                      <a:pt x="72525" y="91157"/>
                    </a:cubicBezTo>
                    <a:cubicBezTo>
                      <a:pt x="70264" y="91157"/>
                      <a:pt x="68428" y="92993"/>
                      <a:pt x="68428" y="95254"/>
                    </a:cubicBezTo>
                    <a:lnTo>
                      <a:pt x="68428" y="103079"/>
                    </a:lnTo>
                    <a:lnTo>
                      <a:pt x="29792" y="103079"/>
                    </a:lnTo>
                    <a:lnTo>
                      <a:pt x="29792" y="95254"/>
                    </a:lnTo>
                    <a:cubicBezTo>
                      <a:pt x="29792" y="92993"/>
                      <a:pt x="27956" y="91157"/>
                      <a:pt x="25695" y="91157"/>
                    </a:cubicBezTo>
                    <a:cubicBezTo>
                      <a:pt x="23434" y="91157"/>
                      <a:pt x="21598" y="92993"/>
                      <a:pt x="21598" y="95254"/>
                    </a:cubicBezTo>
                    <a:lnTo>
                      <a:pt x="21598" y="103079"/>
                    </a:lnTo>
                    <a:lnTo>
                      <a:pt x="8194" y="103079"/>
                    </a:lnTo>
                    <a:close/>
                  </a:path>
                </a:pathLst>
              </a:custGeom>
              <a:grpFill/>
              <a:ln w="399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2" name="Freeform: Shape 161">
                <a:extLst>
                  <a:ext uri="{FF2B5EF4-FFF2-40B4-BE49-F238E27FC236}">
                    <a16:creationId xmlns:a16="http://schemas.microsoft.com/office/drawing/2014/main" id="{6B492A2C-E7E0-5243-7EC8-48548EC171D8}"/>
                  </a:ext>
                </a:extLst>
              </p:cNvPr>
              <p:cNvSpPr/>
              <p:nvPr/>
            </p:nvSpPr>
            <p:spPr>
              <a:xfrm>
                <a:off x="923925" y="736432"/>
                <a:ext cx="98322" cy="95417"/>
              </a:xfrm>
              <a:custGeom>
                <a:avLst/>
                <a:gdLst>
                  <a:gd name="csX0" fmla="*/ 49161 w 98322"/>
                  <a:gd name="csY0" fmla="*/ 0 h 95417"/>
                  <a:gd name="csX1" fmla="*/ 0 w 98322"/>
                  <a:gd name="csY1" fmla="*/ 47711 h 95417"/>
                  <a:gd name="csX2" fmla="*/ 49161 w 98322"/>
                  <a:gd name="csY2" fmla="*/ 95418 h 95417"/>
                  <a:gd name="csX3" fmla="*/ 98323 w 98322"/>
                  <a:gd name="csY3" fmla="*/ 47711 h 95417"/>
                  <a:gd name="csX4" fmla="*/ 49161 w 98322"/>
                  <a:gd name="csY4" fmla="*/ 0 h 95417"/>
                  <a:gd name="csX5" fmla="*/ 49161 w 98322"/>
                  <a:gd name="csY5" fmla="*/ 87224 h 95417"/>
                  <a:gd name="csX6" fmla="*/ 8194 w 98322"/>
                  <a:gd name="csY6" fmla="*/ 47711 h 95417"/>
                  <a:gd name="csX7" fmla="*/ 49161 w 98322"/>
                  <a:gd name="csY7" fmla="*/ 8194 h 95417"/>
                  <a:gd name="csX8" fmla="*/ 90129 w 98322"/>
                  <a:gd name="csY8" fmla="*/ 47711 h 95417"/>
                  <a:gd name="csX9" fmla="*/ 49161 w 98322"/>
                  <a:gd name="csY9" fmla="*/ 87224 h 9541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98322" h="95417">
                    <a:moveTo>
                      <a:pt x="49161" y="0"/>
                    </a:moveTo>
                    <a:cubicBezTo>
                      <a:pt x="22053" y="0"/>
                      <a:pt x="0" y="21402"/>
                      <a:pt x="0" y="47711"/>
                    </a:cubicBezTo>
                    <a:cubicBezTo>
                      <a:pt x="0" y="74016"/>
                      <a:pt x="22053" y="95418"/>
                      <a:pt x="49161" y="95418"/>
                    </a:cubicBezTo>
                    <a:cubicBezTo>
                      <a:pt x="76270" y="95418"/>
                      <a:pt x="98323" y="74016"/>
                      <a:pt x="98323" y="47711"/>
                    </a:cubicBezTo>
                    <a:cubicBezTo>
                      <a:pt x="98323" y="21406"/>
                      <a:pt x="76270" y="0"/>
                      <a:pt x="49161" y="0"/>
                    </a:cubicBezTo>
                    <a:close/>
                    <a:moveTo>
                      <a:pt x="49161" y="87224"/>
                    </a:moveTo>
                    <a:cubicBezTo>
                      <a:pt x="26572" y="87224"/>
                      <a:pt x="8194" y="69498"/>
                      <a:pt x="8194" y="47711"/>
                    </a:cubicBezTo>
                    <a:cubicBezTo>
                      <a:pt x="8194" y="25924"/>
                      <a:pt x="26572" y="8194"/>
                      <a:pt x="49161" y="8194"/>
                    </a:cubicBezTo>
                    <a:cubicBezTo>
                      <a:pt x="71751" y="8194"/>
                      <a:pt x="90129" y="25920"/>
                      <a:pt x="90129" y="47711"/>
                    </a:cubicBezTo>
                    <a:cubicBezTo>
                      <a:pt x="90129" y="69502"/>
                      <a:pt x="71751" y="87224"/>
                      <a:pt x="49161" y="87224"/>
                    </a:cubicBezTo>
                    <a:close/>
                  </a:path>
                </a:pathLst>
              </a:custGeom>
              <a:grpFill/>
              <a:ln w="399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3" name="Freeform: Shape 162">
                <a:extLst>
                  <a:ext uri="{FF2B5EF4-FFF2-40B4-BE49-F238E27FC236}">
                    <a16:creationId xmlns:a16="http://schemas.microsoft.com/office/drawing/2014/main" id="{7084AF9B-C4E0-36E1-9FEC-C151897BCE58}"/>
                  </a:ext>
                </a:extLst>
              </p:cNvPr>
              <p:cNvSpPr/>
              <p:nvPr/>
            </p:nvSpPr>
            <p:spPr>
              <a:xfrm>
                <a:off x="958137" y="753417"/>
                <a:ext cx="29902" cy="61443"/>
              </a:xfrm>
              <a:custGeom>
                <a:avLst/>
                <a:gdLst>
                  <a:gd name="csX0" fmla="*/ 17944 w 29902"/>
                  <a:gd name="csY0" fmla="*/ 26039 h 61443"/>
                  <a:gd name="csX1" fmla="*/ 10025 w 29902"/>
                  <a:gd name="csY1" fmla="*/ 19292 h 61443"/>
                  <a:gd name="csX2" fmla="*/ 16092 w 29902"/>
                  <a:gd name="csY2" fmla="*/ 14650 h 61443"/>
                  <a:gd name="csX3" fmla="*/ 24335 w 29902"/>
                  <a:gd name="csY3" fmla="*/ 16875 h 61443"/>
                  <a:gd name="csX4" fmla="*/ 25842 w 29902"/>
                  <a:gd name="csY4" fmla="*/ 17735 h 61443"/>
                  <a:gd name="csX5" fmla="*/ 28682 w 29902"/>
                  <a:gd name="csY5" fmla="*/ 10242 h 61443"/>
                  <a:gd name="csX6" fmla="*/ 27600 w 29902"/>
                  <a:gd name="csY6" fmla="*/ 9607 h 61443"/>
                  <a:gd name="csX7" fmla="*/ 19070 w 29902"/>
                  <a:gd name="csY7" fmla="*/ 6997 h 61443"/>
                  <a:gd name="csX8" fmla="*/ 19070 w 29902"/>
                  <a:gd name="csY8" fmla="*/ 0 h 61443"/>
                  <a:gd name="csX9" fmla="*/ 11688 w 29902"/>
                  <a:gd name="csY9" fmla="*/ 0 h 61443"/>
                  <a:gd name="csX10" fmla="*/ 11688 w 29902"/>
                  <a:gd name="csY10" fmla="*/ 7460 h 61443"/>
                  <a:gd name="csX11" fmla="*/ 930 w 29902"/>
                  <a:gd name="csY11" fmla="*/ 20148 h 61443"/>
                  <a:gd name="csX12" fmla="*/ 13609 w 29902"/>
                  <a:gd name="csY12" fmla="*/ 33852 h 61443"/>
                  <a:gd name="csX13" fmla="*/ 20734 w 29902"/>
                  <a:gd name="csY13" fmla="*/ 40947 h 61443"/>
                  <a:gd name="csX14" fmla="*/ 13741 w 29902"/>
                  <a:gd name="csY14" fmla="*/ 46445 h 61443"/>
                  <a:gd name="csX15" fmla="*/ 4306 w 29902"/>
                  <a:gd name="csY15" fmla="*/ 43631 h 61443"/>
                  <a:gd name="csX16" fmla="*/ 2724 w 29902"/>
                  <a:gd name="csY16" fmla="*/ 42574 h 61443"/>
                  <a:gd name="csX17" fmla="*/ 0 w 29902"/>
                  <a:gd name="csY17" fmla="*/ 50194 h 61443"/>
                  <a:gd name="csX18" fmla="*/ 909 w 29902"/>
                  <a:gd name="csY18" fmla="*/ 50845 h 61443"/>
                  <a:gd name="csX19" fmla="*/ 11188 w 29902"/>
                  <a:gd name="csY19" fmla="*/ 54180 h 61443"/>
                  <a:gd name="csX20" fmla="*/ 11188 w 29902"/>
                  <a:gd name="csY20" fmla="*/ 61443 h 61443"/>
                  <a:gd name="csX21" fmla="*/ 18644 w 29902"/>
                  <a:gd name="csY21" fmla="*/ 61443 h 61443"/>
                  <a:gd name="csX22" fmla="*/ 18644 w 29902"/>
                  <a:gd name="csY22" fmla="*/ 53766 h 61443"/>
                  <a:gd name="csX23" fmla="*/ 29902 w 29902"/>
                  <a:gd name="csY23" fmla="*/ 40439 h 61443"/>
                  <a:gd name="csX24" fmla="*/ 17944 w 29902"/>
                  <a:gd name="csY24" fmla="*/ 26039 h 6144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Lst>
                <a:rect l="l" t="t" r="r" b="b"/>
                <a:pathLst>
                  <a:path w="29902" h="61443">
                    <a:moveTo>
                      <a:pt x="17944" y="26039"/>
                    </a:moveTo>
                    <a:cubicBezTo>
                      <a:pt x="11803" y="23499"/>
                      <a:pt x="10025" y="21983"/>
                      <a:pt x="10025" y="19292"/>
                    </a:cubicBezTo>
                    <a:cubicBezTo>
                      <a:pt x="10025" y="17051"/>
                      <a:pt x="11618" y="14650"/>
                      <a:pt x="16092" y="14650"/>
                    </a:cubicBezTo>
                    <a:cubicBezTo>
                      <a:pt x="20431" y="14650"/>
                      <a:pt x="23167" y="16207"/>
                      <a:pt x="24335" y="16875"/>
                    </a:cubicBezTo>
                    <a:lnTo>
                      <a:pt x="25842" y="17735"/>
                    </a:lnTo>
                    <a:lnTo>
                      <a:pt x="28682" y="10242"/>
                    </a:lnTo>
                    <a:lnTo>
                      <a:pt x="27600" y="9607"/>
                    </a:lnTo>
                    <a:cubicBezTo>
                      <a:pt x="25085" y="8132"/>
                      <a:pt x="22282" y="7272"/>
                      <a:pt x="19070" y="6997"/>
                    </a:cubicBezTo>
                    <a:lnTo>
                      <a:pt x="19070" y="0"/>
                    </a:lnTo>
                    <a:lnTo>
                      <a:pt x="11688" y="0"/>
                    </a:lnTo>
                    <a:lnTo>
                      <a:pt x="11688" y="7460"/>
                    </a:lnTo>
                    <a:cubicBezTo>
                      <a:pt x="5109" y="8997"/>
                      <a:pt x="930" y="13863"/>
                      <a:pt x="930" y="20148"/>
                    </a:cubicBezTo>
                    <a:cubicBezTo>
                      <a:pt x="930" y="27821"/>
                      <a:pt x="7034" y="31271"/>
                      <a:pt x="13609" y="33852"/>
                    </a:cubicBezTo>
                    <a:cubicBezTo>
                      <a:pt x="18669" y="35900"/>
                      <a:pt x="20734" y="37957"/>
                      <a:pt x="20734" y="40947"/>
                    </a:cubicBezTo>
                    <a:cubicBezTo>
                      <a:pt x="20734" y="44237"/>
                      <a:pt x="17923" y="46445"/>
                      <a:pt x="13741" y="46445"/>
                    </a:cubicBezTo>
                    <a:cubicBezTo>
                      <a:pt x="10422" y="46445"/>
                      <a:pt x="6985" y="45421"/>
                      <a:pt x="4306" y="43631"/>
                    </a:cubicBezTo>
                    <a:lnTo>
                      <a:pt x="2724" y="42574"/>
                    </a:lnTo>
                    <a:lnTo>
                      <a:pt x="0" y="50194"/>
                    </a:lnTo>
                    <a:lnTo>
                      <a:pt x="909" y="50845"/>
                    </a:lnTo>
                    <a:cubicBezTo>
                      <a:pt x="3392" y="52619"/>
                      <a:pt x="7309" y="53873"/>
                      <a:pt x="11188" y="54180"/>
                    </a:cubicBezTo>
                    <a:lnTo>
                      <a:pt x="11188" y="61443"/>
                    </a:lnTo>
                    <a:lnTo>
                      <a:pt x="18644" y="61443"/>
                    </a:lnTo>
                    <a:lnTo>
                      <a:pt x="18644" y="53766"/>
                    </a:lnTo>
                    <a:cubicBezTo>
                      <a:pt x="25429" y="52160"/>
                      <a:pt x="29902" y="46937"/>
                      <a:pt x="29902" y="40439"/>
                    </a:cubicBezTo>
                    <a:cubicBezTo>
                      <a:pt x="29898" y="33766"/>
                      <a:pt x="26322" y="29460"/>
                      <a:pt x="17944" y="26039"/>
                    </a:cubicBezTo>
                    <a:close/>
                  </a:path>
                </a:pathLst>
              </a:custGeom>
              <a:grpFill/>
              <a:ln w="399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4" name="Freeform: Shape 163">
                <a:extLst>
                  <a:ext uri="{FF2B5EF4-FFF2-40B4-BE49-F238E27FC236}">
                    <a16:creationId xmlns:a16="http://schemas.microsoft.com/office/drawing/2014/main" id="{8F802856-B2EC-FDA5-A8EC-D8A05B76F9BA}"/>
                  </a:ext>
                </a:extLst>
              </p:cNvPr>
              <p:cNvSpPr/>
              <p:nvPr/>
            </p:nvSpPr>
            <p:spPr>
              <a:xfrm>
                <a:off x="1079602" y="736432"/>
                <a:ext cx="98322" cy="95417"/>
              </a:xfrm>
              <a:custGeom>
                <a:avLst/>
                <a:gdLst>
                  <a:gd name="csX0" fmla="*/ 49161 w 98322"/>
                  <a:gd name="csY0" fmla="*/ 0 h 95417"/>
                  <a:gd name="csX1" fmla="*/ 0 w 98322"/>
                  <a:gd name="csY1" fmla="*/ 47711 h 95417"/>
                  <a:gd name="csX2" fmla="*/ 49161 w 98322"/>
                  <a:gd name="csY2" fmla="*/ 95418 h 95417"/>
                  <a:gd name="csX3" fmla="*/ 98323 w 98322"/>
                  <a:gd name="csY3" fmla="*/ 47711 h 95417"/>
                  <a:gd name="csX4" fmla="*/ 49161 w 98322"/>
                  <a:gd name="csY4" fmla="*/ 0 h 95417"/>
                  <a:gd name="csX5" fmla="*/ 49161 w 98322"/>
                  <a:gd name="csY5" fmla="*/ 87224 h 95417"/>
                  <a:gd name="csX6" fmla="*/ 8194 w 98322"/>
                  <a:gd name="csY6" fmla="*/ 47711 h 95417"/>
                  <a:gd name="csX7" fmla="*/ 49161 w 98322"/>
                  <a:gd name="csY7" fmla="*/ 8194 h 95417"/>
                  <a:gd name="csX8" fmla="*/ 90129 w 98322"/>
                  <a:gd name="csY8" fmla="*/ 47711 h 95417"/>
                  <a:gd name="csX9" fmla="*/ 49161 w 98322"/>
                  <a:gd name="csY9" fmla="*/ 87224 h 9541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98322" h="95417">
                    <a:moveTo>
                      <a:pt x="49161" y="0"/>
                    </a:moveTo>
                    <a:cubicBezTo>
                      <a:pt x="22053" y="0"/>
                      <a:pt x="0" y="21402"/>
                      <a:pt x="0" y="47711"/>
                    </a:cubicBezTo>
                    <a:cubicBezTo>
                      <a:pt x="0" y="74016"/>
                      <a:pt x="22053" y="95418"/>
                      <a:pt x="49161" y="95418"/>
                    </a:cubicBezTo>
                    <a:cubicBezTo>
                      <a:pt x="76270" y="95418"/>
                      <a:pt x="98323" y="74016"/>
                      <a:pt x="98323" y="47711"/>
                    </a:cubicBezTo>
                    <a:cubicBezTo>
                      <a:pt x="98323" y="21406"/>
                      <a:pt x="76270" y="0"/>
                      <a:pt x="49161" y="0"/>
                    </a:cubicBezTo>
                    <a:close/>
                    <a:moveTo>
                      <a:pt x="49161" y="87224"/>
                    </a:moveTo>
                    <a:cubicBezTo>
                      <a:pt x="26572" y="87224"/>
                      <a:pt x="8194" y="69498"/>
                      <a:pt x="8194" y="47711"/>
                    </a:cubicBezTo>
                    <a:cubicBezTo>
                      <a:pt x="8194" y="25924"/>
                      <a:pt x="26572" y="8194"/>
                      <a:pt x="49161" y="8194"/>
                    </a:cubicBezTo>
                    <a:cubicBezTo>
                      <a:pt x="71751" y="8194"/>
                      <a:pt x="90129" y="25920"/>
                      <a:pt x="90129" y="47711"/>
                    </a:cubicBezTo>
                    <a:cubicBezTo>
                      <a:pt x="90129" y="69502"/>
                      <a:pt x="71751" y="87224"/>
                      <a:pt x="49161" y="87224"/>
                    </a:cubicBezTo>
                    <a:close/>
                  </a:path>
                </a:pathLst>
              </a:custGeom>
              <a:grpFill/>
              <a:ln w="399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5" name="Freeform: Shape 164">
                <a:extLst>
                  <a:ext uri="{FF2B5EF4-FFF2-40B4-BE49-F238E27FC236}">
                    <a16:creationId xmlns:a16="http://schemas.microsoft.com/office/drawing/2014/main" id="{22BAFADE-561E-BCE0-510F-DD67A5ABD570}"/>
                  </a:ext>
                </a:extLst>
              </p:cNvPr>
              <p:cNvSpPr/>
              <p:nvPr/>
            </p:nvSpPr>
            <p:spPr>
              <a:xfrm>
                <a:off x="1124666" y="754658"/>
                <a:ext cx="22128" cy="43065"/>
              </a:xfrm>
              <a:custGeom>
                <a:avLst/>
                <a:gdLst>
                  <a:gd name="csX0" fmla="*/ 8194 w 22128"/>
                  <a:gd name="csY0" fmla="*/ 27317 h 43065"/>
                  <a:gd name="csX1" fmla="*/ 8194 w 22128"/>
                  <a:gd name="csY1" fmla="*/ 4097 h 43065"/>
                  <a:gd name="csX2" fmla="*/ 4097 w 22128"/>
                  <a:gd name="csY2" fmla="*/ 0 h 43065"/>
                  <a:gd name="csX3" fmla="*/ 0 w 22128"/>
                  <a:gd name="csY3" fmla="*/ 4097 h 43065"/>
                  <a:gd name="csX4" fmla="*/ 0 w 22128"/>
                  <a:gd name="csY4" fmla="*/ 29484 h 43065"/>
                  <a:gd name="csX5" fmla="*/ 1790 w 22128"/>
                  <a:gd name="csY5" fmla="*/ 32873 h 43065"/>
                  <a:gd name="csX6" fmla="*/ 15723 w 22128"/>
                  <a:gd name="csY6" fmla="*/ 42357 h 43065"/>
                  <a:gd name="csX7" fmla="*/ 18026 w 22128"/>
                  <a:gd name="csY7" fmla="*/ 43065 h 43065"/>
                  <a:gd name="csX8" fmla="*/ 21418 w 22128"/>
                  <a:gd name="csY8" fmla="*/ 41271 h 43065"/>
                  <a:gd name="csX9" fmla="*/ 20336 w 22128"/>
                  <a:gd name="csY9" fmla="*/ 35580 h 4306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22128" h="43065">
                    <a:moveTo>
                      <a:pt x="8194" y="27317"/>
                    </a:moveTo>
                    <a:lnTo>
                      <a:pt x="8194" y="4097"/>
                    </a:lnTo>
                    <a:cubicBezTo>
                      <a:pt x="8194" y="1835"/>
                      <a:pt x="6358" y="0"/>
                      <a:pt x="4097" y="0"/>
                    </a:cubicBezTo>
                    <a:cubicBezTo>
                      <a:pt x="1835" y="0"/>
                      <a:pt x="0" y="1835"/>
                      <a:pt x="0" y="4097"/>
                    </a:cubicBezTo>
                    <a:lnTo>
                      <a:pt x="0" y="29484"/>
                    </a:lnTo>
                    <a:cubicBezTo>
                      <a:pt x="0" y="30841"/>
                      <a:pt x="672" y="32111"/>
                      <a:pt x="1790" y="32873"/>
                    </a:cubicBezTo>
                    <a:lnTo>
                      <a:pt x="15723" y="42357"/>
                    </a:lnTo>
                    <a:cubicBezTo>
                      <a:pt x="16428" y="42836"/>
                      <a:pt x="17231" y="43065"/>
                      <a:pt x="18026" y="43065"/>
                    </a:cubicBezTo>
                    <a:cubicBezTo>
                      <a:pt x="19337" y="43065"/>
                      <a:pt x="20623" y="42438"/>
                      <a:pt x="21418" y="41271"/>
                    </a:cubicBezTo>
                    <a:cubicBezTo>
                      <a:pt x="22692" y="39399"/>
                      <a:pt x="22205" y="36850"/>
                      <a:pt x="20336" y="35580"/>
                    </a:cubicBezTo>
                    <a:close/>
                  </a:path>
                </a:pathLst>
              </a:custGeom>
              <a:grpFill/>
              <a:ln w="399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66" name="Group 165">
            <a:extLst>
              <a:ext uri="{FF2B5EF4-FFF2-40B4-BE49-F238E27FC236}">
                <a16:creationId xmlns:a16="http://schemas.microsoft.com/office/drawing/2014/main" id="{4019A562-B47F-E793-2ACF-D2362377C347}"/>
              </a:ext>
            </a:extLst>
          </p:cNvPr>
          <p:cNvGrpSpPr>
            <a:grpSpLocks noChangeAspect="1"/>
          </p:cNvGrpSpPr>
          <p:nvPr/>
        </p:nvGrpSpPr>
        <p:grpSpPr>
          <a:xfrm>
            <a:off x="7957391" y="2601893"/>
            <a:ext cx="415636" cy="415636"/>
            <a:chOff x="7936609" y="2842779"/>
            <a:chExt cx="457200" cy="457200"/>
          </a:xfrm>
        </p:grpSpPr>
        <p:sp>
          <p:nvSpPr>
            <p:cNvPr id="167" name="Oval 166">
              <a:extLst>
                <a:ext uri="{FF2B5EF4-FFF2-40B4-BE49-F238E27FC236}">
                  <a16:creationId xmlns:a16="http://schemas.microsoft.com/office/drawing/2014/main" id="{1EFDE8DC-C78F-AAA5-D2F6-3437FA6374A8}"/>
                </a:ext>
              </a:extLst>
            </p:cNvPr>
            <p:cNvSpPr>
              <a:spLocks noChangeAspect="1"/>
            </p:cNvSpPr>
            <p:nvPr/>
          </p:nvSpPr>
          <p:spPr>
            <a:xfrm>
              <a:off x="7936609" y="2842779"/>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sp>
          <p:nvSpPr>
            <p:cNvPr id="168" name="Pic">
              <a:extLst>
                <a:ext uri="{FF2B5EF4-FFF2-40B4-BE49-F238E27FC236}">
                  <a16:creationId xmlns:a16="http://schemas.microsoft.com/office/drawing/2014/main" id="{4D242E36-77B4-CEAC-142A-CA8CFC321F25}"/>
                </a:ext>
              </a:extLst>
            </p:cNvPr>
            <p:cNvSpPr>
              <a:spLocks noChangeAspect="1"/>
            </p:cNvSpPr>
            <p:nvPr/>
          </p:nvSpPr>
          <p:spPr>
            <a:xfrm>
              <a:off x="8063313" y="2939868"/>
              <a:ext cx="203793" cy="263023"/>
            </a:xfrm>
            <a:custGeom>
              <a:avLst/>
              <a:gdLst>
                <a:gd name="csX0" fmla="*/ 184383 w 185266"/>
                <a:gd name="csY0" fmla="*/ 46792 h 239112"/>
                <a:gd name="csX1" fmla="*/ 161464 w 185266"/>
                <a:gd name="csY1" fmla="*/ 24066 h 239112"/>
                <a:gd name="csX2" fmla="*/ 158224 w 185266"/>
                <a:gd name="csY2" fmla="*/ 23431 h 239112"/>
                <a:gd name="csX3" fmla="*/ 156394 w 185266"/>
                <a:gd name="csY3" fmla="*/ 26179 h 239112"/>
                <a:gd name="csX4" fmla="*/ 156394 w 185266"/>
                <a:gd name="csY4" fmla="*/ 36607 h 239112"/>
                <a:gd name="csX5" fmla="*/ 107221 w 185266"/>
                <a:gd name="csY5" fmla="*/ 56833 h 239112"/>
                <a:gd name="csX6" fmla="*/ 107221 w 185266"/>
                <a:gd name="csY6" fmla="*/ 28868 h 239112"/>
                <a:gd name="csX7" fmla="*/ 117609 w 185266"/>
                <a:gd name="csY7" fmla="*/ 28868 h 239112"/>
                <a:gd name="csX8" fmla="*/ 120357 w 185266"/>
                <a:gd name="csY8" fmla="*/ 27037 h 239112"/>
                <a:gd name="csX9" fmla="*/ 119722 w 185266"/>
                <a:gd name="csY9" fmla="*/ 23798 h 239112"/>
                <a:gd name="csX10" fmla="*/ 96996 w 185266"/>
                <a:gd name="csY10" fmla="*/ 878 h 239112"/>
                <a:gd name="csX11" fmla="*/ 94883 w 185266"/>
                <a:gd name="csY11" fmla="*/ 0 h 239112"/>
                <a:gd name="csX12" fmla="*/ 92770 w 185266"/>
                <a:gd name="csY12" fmla="*/ 878 h 239112"/>
                <a:gd name="csX13" fmla="*/ 70043 w 185266"/>
                <a:gd name="csY13" fmla="*/ 23798 h 239112"/>
                <a:gd name="csX14" fmla="*/ 69408 w 185266"/>
                <a:gd name="csY14" fmla="*/ 27037 h 239112"/>
                <a:gd name="csX15" fmla="*/ 72157 w 185266"/>
                <a:gd name="csY15" fmla="*/ 28868 h 239112"/>
                <a:gd name="csX16" fmla="*/ 82545 w 185266"/>
                <a:gd name="csY16" fmla="*/ 28868 h 239112"/>
                <a:gd name="csX17" fmla="*/ 82545 w 185266"/>
                <a:gd name="csY17" fmla="*/ 56833 h 239112"/>
                <a:gd name="csX18" fmla="*/ 78179 w 185266"/>
                <a:gd name="csY18" fmla="*/ 53092 h 239112"/>
                <a:gd name="csX19" fmla="*/ 33372 w 185266"/>
                <a:gd name="csY19" fmla="*/ 36607 h 239112"/>
                <a:gd name="csX20" fmla="*/ 33372 w 185266"/>
                <a:gd name="csY20" fmla="*/ 26179 h 239112"/>
                <a:gd name="csX21" fmla="*/ 31542 w 185266"/>
                <a:gd name="csY21" fmla="*/ 23431 h 239112"/>
                <a:gd name="csX22" fmla="*/ 28302 w 185266"/>
                <a:gd name="csY22" fmla="*/ 24066 h 239112"/>
                <a:gd name="csX23" fmla="*/ 5383 w 185266"/>
                <a:gd name="csY23" fmla="*/ 46792 h 239112"/>
                <a:gd name="csX24" fmla="*/ 4500 w 185266"/>
                <a:gd name="csY24" fmla="*/ 48905 h 239112"/>
                <a:gd name="csX25" fmla="*/ 5383 w 185266"/>
                <a:gd name="csY25" fmla="*/ 51018 h 239112"/>
                <a:gd name="csX26" fmla="*/ 28302 w 185266"/>
                <a:gd name="csY26" fmla="*/ 73744 h 239112"/>
                <a:gd name="csX27" fmla="*/ 31542 w 185266"/>
                <a:gd name="csY27" fmla="*/ 74379 h 239112"/>
                <a:gd name="csX28" fmla="*/ 33372 w 185266"/>
                <a:gd name="csY28" fmla="*/ 71631 h 239112"/>
                <a:gd name="csX29" fmla="*/ 33372 w 185266"/>
                <a:gd name="csY29" fmla="*/ 61312 h 239112"/>
                <a:gd name="csX30" fmla="*/ 78155 w 185266"/>
                <a:gd name="csY30" fmla="*/ 92224 h 239112"/>
                <a:gd name="csX31" fmla="*/ 75431 w 185266"/>
                <a:gd name="csY31" fmla="*/ 92224 h 239112"/>
                <a:gd name="csX32" fmla="*/ 72454 w 185266"/>
                <a:gd name="csY32" fmla="*/ 95200 h 239112"/>
                <a:gd name="csX33" fmla="*/ 72454 w 185266"/>
                <a:gd name="csY33" fmla="*/ 109458 h 239112"/>
                <a:gd name="csX34" fmla="*/ 75431 w 185266"/>
                <a:gd name="csY34" fmla="*/ 112435 h 239112"/>
                <a:gd name="csX35" fmla="*/ 80972 w 185266"/>
                <a:gd name="csY35" fmla="*/ 112435 h 239112"/>
                <a:gd name="csX36" fmla="*/ 80972 w 185266"/>
                <a:gd name="csY36" fmla="*/ 121414 h 239112"/>
                <a:gd name="csX37" fmla="*/ 64899 w 185266"/>
                <a:gd name="csY37" fmla="*/ 127873 h 239112"/>
                <a:gd name="csX38" fmla="*/ 48399 w 185266"/>
                <a:gd name="csY38" fmla="*/ 127873 h 239112"/>
                <a:gd name="csX39" fmla="*/ 45422 w 185266"/>
                <a:gd name="csY39" fmla="*/ 130850 h 239112"/>
                <a:gd name="csX40" fmla="*/ 48399 w 185266"/>
                <a:gd name="csY40" fmla="*/ 133826 h 239112"/>
                <a:gd name="csX41" fmla="*/ 56465 w 185266"/>
                <a:gd name="csY41" fmla="*/ 133826 h 239112"/>
                <a:gd name="csX42" fmla="*/ 39023 w 185266"/>
                <a:gd name="csY42" fmla="*/ 158472 h 239112"/>
                <a:gd name="csX43" fmla="*/ 25127 w 185266"/>
                <a:gd name="csY43" fmla="*/ 158472 h 239112"/>
                <a:gd name="csX44" fmla="*/ 22151 w 185266"/>
                <a:gd name="csY44" fmla="*/ 161449 h 239112"/>
                <a:gd name="csX45" fmla="*/ 25127 w 185266"/>
                <a:gd name="csY45" fmla="*/ 164425 h 239112"/>
                <a:gd name="csX46" fmla="*/ 37128 w 185266"/>
                <a:gd name="csY46" fmla="*/ 164425 h 239112"/>
                <a:gd name="csX47" fmla="*/ 35213 w 185266"/>
                <a:gd name="csY47" fmla="*/ 179442 h 239112"/>
                <a:gd name="csX48" fmla="*/ 35982 w 185266"/>
                <a:gd name="csY48" fmla="*/ 189012 h 239112"/>
                <a:gd name="csX49" fmla="*/ 15538 w 185266"/>
                <a:gd name="csY49" fmla="*/ 189012 h 239112"/>
                <a:gd name="csX50" fmla="*/ 12561 w 185266"/>
                <a:gd name="csY50" fmla="*/ 191988 h 239112"/>
                <a:gd name="csX51" fmla="*/ 15538 w 185266"/>
                <a:gd name="csY51" fmla="*/ 194965 h 239112"/>
                <a:gd name="csX52" fmla="*/ 37262 w 185266"/>
                <a:gd name="csY52" fmla="*/ 194965 h 239112"/>
                <a:gd name="csX53" fmla="*/ 50676 w 185266"/>
                <a:gd name="csY53" fmla="*/ 219487 h 239112"/>
                <a:gd name="csX54" fmla="*/ 33010 w 185266"/>
                <a:gd name="csY54" fmla="*/ 219487 h 239112"/>
                <a:gd name="csX55" fmla="*/ 30034 w 185266"/>
                <a:gd name="csY55" fmla="*/ 222463 h 239112"/>
                <a:gd name="csX56" fmla="*/ 33010 w 185266"/>
                <a:gd name="csY56" fmla="*/ 225440 h 239112"/>
                <a:gd name="csX57" fmla="*/ 56902 w 185266"/>
                <a:gd name="csY57" fmla="*/ 225440 h 239112"/>
                <a:gd name="csX58" fmla="*/ 94878 w 185266"/>
                <a:gd name="csY58" fmla="*/ 239112 h 239112"/>
                <a:gd name="csX59" fmla="*/ 154548 w 185266"/>
                <a:gd name="csY59" fmla="*/ 179442 h 239112"/>
                <a:gd name="csX60" fmla="*/ 108793 w 185266"/>
                <a:gd name="csY60" fmla="*/ 121414 h 239112"/>
                <a:gd name="csX61" fmla="*/ 108793 w 185266"/>
                <a:gd name="csY61" fmla="*/ 112435 h 239112"/>
                <a:gd name="csX62" fmla="*/ 114335 w 185266"/>
                <a:gd name="csY62" fmla="*/ 112435 h 239112"/>
                <a:gd name="csX63" fmla="*/ 117311 w 185266"/>
                <a:gd name="csY63" fmla="*/ 109458 h 239112"/>
                <a:gd name="csX64" fmla="*/ 117311 w 185266"/>
                <a:gd name="csY64" fmla="*/ 95200 h 239112"/>
                <a:gd name="csX65" fmla="*/ 114335 w 185266"/>
                <a:gd name="csY65" fmla="*/ 92224 h 239112"/>
                <a:gd name="csX66" fmla="*/ 111611 w 185266"/>
                <a:gd name="csY66" fmla="*/ 92224 h 239112"/>
                <a:gd name="csX67" fmla="*/ 156394 w 185266"/>
                <a:gd name="csY67" fmla="*/ 61312 h 239112"/>
                <a:gd name="csX68" fmla="*/ 156394 w 185266"/>
                <a:gd name="csY68" fmla="*/ 71631 h 239112"/>
                <a:gd name="csX69" fmla="*/ 158224 w 185266"/>
                <a:gd name="csY69" fmla="*/ 74379 h 239112"/>
                <a:gd name="csX70" fmla="*/ 161464 w 185266"/>
                <a:gd name="csY70" fmla="*/ 73744 h 239112"/>
                <a:gd name="csX71" fmla="*/ 184383 w 185266"/>
                <a:gd name="csY71" fmla="*/ 51018 h 239112"/>
                <a:gd name="csX72" fmla="*/ 185266 w 185266"/>
                <a:gd name="csY72" fmla="*/ 48905 h 239112"/>
                <a:gd name="csX73" fmla="*/ 184383 w 185266"/>
                <a:gd name="csY73" fmla="*/ 46792 h 239112"/>
                <a:gd name="csX74" fmla="*/ 79291 w 185266"/>
                <a:gd name="csY74" fmla="*/ 22915 h 239112"/>
                <a:gd name="csX75" fmla="*/ 94873 w 185266"/>
                <a:gd name="csY75" fmla="*/ 7198 h 239112"/>
                <a:gd name="csX76" fmla="*/ 110455 w 185266"/>
                <a:gd name="csY76" fmla="*/ 22915 h 239112"/>
                <a:gd name="csX77" fmla="*/ 104234 w 185266"/>
                <a:gd name="csY77" fmla="*/ 22915 h 239112"/>
                <a:gd name="csX78" fmla="*/ 101258 w 185266"/>
                <a:gd name="csY78" fmla="*/ 25891 h 239112"/>
                <a:gd name="csX79" fmla="*/ 101258 w 185266"/>
                <a:gd name="csY79" fmla="*/ 83473 h 239112"/>
                <a:gd name="csX80" fmla="*/ 88478 w 185266"/>
                <a:gd name="csY80" fmla="*/ 62974 h 239112"/>
                <a:gd name="csX81" fmla="*/ 88478 w 185266"/>
                <a:gd name="csY81" fmla="*/ 25891 h 239112"/>
                <a:gd name="csX82" fmla="*/ 85502 w 185266"/>
                <a:gd name="csY82" fmla="*/ 22915 h 239112"/>
                <a:gd name="csX83" fmla="*/ 30758 w 185266"/>
                <a:gd name="csY83" fmla="*/ 55295 h 239112"/>
                <a:gd name="csX84" fmla="*/ 30386 w 185266"/>
                <a:gd name="csY84" fmla="*/ 55295 h 239112"/>
                <a:gd name="csX85" fmla="*/ 27409 w 185266"/>
                <a:gd name="csY85" fmla="*/ 58271 h 239112"/>
                <a:gd name="csX86" fmla="*/ 27409 w 185266"/>
                <a:gd name="csY86" fmla="*/ 64492 h 239112"/>
                <a:gd name="csX87" fmla="*/ 11693 w 185266"/>
                <a:gd name="csY87" fmla="*/ 48910 h 239112"/>
                <a:gd name="csX88" fmla="*/ 27409 w 185266"/>
                <a:gd name="csY88" fmla="*/ 33328 h 239112"/>
                <a:gd name="csX89" fmla="*/ 27409 w 185266"/>
                <a:gd name="csY89" fmla="*/ 39549 h 239112"/>
                <a:gd name="csX90" fmla="*/ 30386 w 185266"/>
                <a:gd name="csY90" fmla="*/ 42525 h 239112"/>
                <a:gd name="csX91" fmla="*/ 30867 w 185266"/>
                <a:gd name="csY91" fmla="*/ 42525 h 239112"/>
                <a:gd name="csX92" fmla="*/ 98142 w 185266"/>
                <a:gd name="csY92" fmla="*/ 92234 h 239112"/>
                <a:gd name="csX93" fmla="*/ 84589 w 185266"/>
                <a:gd name="csY93" fmla="*/ 92234 h 239112"/>
                <a:gd name="csX94" fmla="*/ 30758 w 185266"/>
                <a:gd name="csY94" fmla="*/ 55295 h 239112"/>
                <a:gd name="csX95" fmla="*/ 148595 w 185266"/>
                <a:gd name="csY95" fmla="*/ 179442 h 239112"/>
                <a:gd name="csX96" fmla="*/ 94878 w 185266"/>
                <a:gd name="csY96" fmla="*/ 233159 h 239112"/>
                <a:gd name="csX97" fmla="*/ 41161 w 185266"/>
                <a:gd name="csY97" fmla="*/ 179442 h 239112"/>
                <a:gd name="csX98" fmla="*/ 94878 w 185266"/>
                <a:gd name="csY98" fmla="*/ 125725 h 239112"/>
                <a:gd name="csX99" fmla="*/ 148595 w 185266"/>
                <a:gd name="csY99" fmla="*/ 179442 h 239112"/>
                <a:gd name="csX100" fmla="*/ 102840 w 185266"/>
                <a:gd name="csY100" fmla="*/ 120308 h 239112"/>
                <a:gd name="csX101" fmla="*/ 94878 w 185266"/>
                <a:gd name="csY101" fmla="*/ 119777 h 239112"/>
                <a:gd name="csX102" fmla="*/ 86916 w 185266"/>
                <a:gd name="csY102" fmla="*/ 120308 h 239112"/>
                <a:gd name="csX103" fmla="*/ 86916 w 185266"/>
                <a:gd name="csY103" fmla="*/ 112440 h 239112"/>
                <a:gd name="csX104" fmla="*/ 102840 w 185266"/>
                <a:gd name="csY104" fmla="*/ 112440 h 239112"/>
                <a:gd name="csX105" fmla="*/ 111358 w 185266"/>
                <a:gd name="csY105" fmla="*/ 106482 h 239112"/>
                <a:gd name="csX106" fmla="*/ 78398 w 185266"/>
                <a:gd name="csY106" fmla="*/ 106482 h 239112"/>
                <a:gd name="csX107" fmla="*/ 78398 w 185266"/>
                <a:gd name="csY107" fmla="*/ 98177 h 239112"/>
                <a:gd name="csX108" fmla="*/ 111358 w 185266"/>
                <a:gd name="csY108" fmla="*/ 98177 h 239112"/>
                <a:gd name="csX109" fmla="*/ 162347 w 185266"/>
                <a:gd name="csY109" fmla="*/ 64492 h 239112"/>
                <a:gd name="csX110" fmla="*/ 162347 w 185266"/>
                <a:gd name="csY110" fmla="*/ 58276 h 239112"/>
                <a:gd name="csX111" fmla="*/ 159370 w 185266"/>
                <a:gd name="csY111" fmla="*/ 55300 h 239112"/>
                <a:gd name="csX112" fmla="*/ 158998 w 185266"/>
                <a:gd name="csY112" fmla="*/ 55300 h 239112"/>
                <a:gd name="csX113" fmla="*/ 107221 w 185266"/>
                <a:gd name="csY113" fmla="*/ 87566 h 239112"/>
                <a:gd name="csX114" fmla="*/ 107221 w 185266"/>
                <a:gd name="csY114" fmla="*/ 65241 h 239112"/>
                <a:gd name="csX115" fmla="*/ 158889 w 185266"/>
                <a:gd name="csY115" fmla="*/ 42520 h 239112"/>
                <a:gd name="csX116" fmla="*/ 159370 w 185266"/>
                <a:gd name="csY116" fmla="*/ 42520 h 239112"/>
                <a:gd name="csX117" fmla="*/ 162347 w 185266"/>
                <a:gd name="csY117" fmla="*/ 39544 h 239112"/>
                <a:gd name="csX118" fmla="*/ 162347 w 185266"/>
                <a:gd name="csY118" fmla="*/ 33323 h 239112"/>
                <a:gd name="csX119" fmla="*/ 178058 w 185266"/>
                <a:gd name="csY119" fmla="*/ 48905 h 239112"/>
                <a:gd name="csX120" fmla="*/ 48230 w 185266"/>
                <a:gd name="csY120" fmla="*/ 179442 h 239112"/>
                <a:gd name="csX121" fmla="*/ 94878 w 185266"/>
                <a:gd name="csY121" fmla="*/ 226090 h 239112"/>
                <a:gd name="csX122" fmla="*/ 141526 w 185266"/>
                <a:gd name="csY122" fmla="*/ 179442 h 239112"/>
                <a:gd name="csX123" fmla="*/ 94878 w 185266"/>
                <a:gd name="csY123" fmla="*/ 132794 h 239112"/>
                <a:gd name="csX124" fmla="*/ 48230 w 185266"/>
                <a:gd name="csY124" fmla="*/ 179442 h 239112"/>
                <a:gd name="csX125" fmla="*/ 135453 w 185266"/>
                <a:gd name="csY125" fmla="*/ 176466 h 239112"/>
                <a:gd name="csX126" fmla="*/ 129788 w 185266"/>
                <a:gd name="csY126" fmla="*/ 176466 h 239112"/>
                <a:gd name="csX127" fmla="*/ 126811 w 185266"/>
                <a:gd name="csY127" fmla="*/ 179442 h 239112"/>
                <a:gd name="csX128" fmla="*/ 129788 w 185266"/>
                <a:gd name="csY128" fmla="*/ 182419 h 239112"/>
                <a:gd name="csX129" fmla="*/ 135453 w 185266"/>
                <a:gd name="csY129" fmla="*/ 182419 h 239112"/>
                <a:gd name="csX130" fmla="*/ 97854 w 185266"/>
                <a:gd name="csY130" fmla="*/ 220018 h 239112"/>
                <a:gd name="csX131" fmla="*/ 97854 w 185266"/>
                <a:gd name="csY131" fmla="*/ 214357 h 239112"/>
                <a:gd name="csX132" fmla="*/ 94878 w 185266"/>
                <a:gd name="csY132" fmla="*/ 211381 h 239112"/>
                <a:gd name="csX133" fmla="*/ 91901 w 185266"/>
                <a:gd name="csY133" fmla="*/ 214357 h 239112"/>
                <a:gd name="csX134" fmla="*/ 91901 w 185266"/>
                <a:gd name="csY134" fmla="*/ 220023 h 239112"/>
                <a:gd name="csX135" fmla="*/ 54302 w 185266"/>
                <a:gd name="csY135" fmla="*/ 182424 h 239112"/>
                <a:gd name="csX136" fmla="*/ 59968 w 185266"/>
                <a:gd name="csY136" fmla="*/ 182424 h 239112"/>
                <a:gd name="csX137" fmla="*/ 62944 w 185266"/>
                <a:gd name="csY137" fmla="*/ 179447 h 239112"/>
                <a:gd name="csX138" fmla="*/ 59968 w 185266"/>
                <a:gd name="csY138" fmla="*/ 176470 h 239112"/>
                <a:gd name="csX139" fmla="*/ 54302 w 185266"/>
                <a:gd name="csY139" fmla="*/ 176470 h 239112"/>
                <a:gd name="csX140" fmla="*/ 91901 w 185266"/>
                <a:gd name="csY140" fmla="*/ 138872 h 239112"/>
                <a:gd name="csX141" fmla="*/ 91901 w 185266"/>
                <a:gd name="csY141" fmla="*/ 144537 h 239112"/>
                <a:gd name="csX142" fmla="*/ 94878 w 185266"/>
                <a:gd name="csY142" fmla="*/ 147513 h 239112"/>
                <a:gd name="csX143" fmla="*/ 97854 w 185266"/>
                <a:gd name="csY143" fmla="*/ 144537 h 239112"/>
                <a:gd name="csX144" fmla="*/ 97854 w 185266"/>
                <a:gd name="csY144" fmla="*/ 138872 h 239112"/>
                <a:gd name="csX145" fmla="*/ 135453 w 185266"/>
                <a:gd name="csY145" fmla="*/ 176466 h 239112"/>
                <a:gd name="csX146" fmla="*/ 94878 w 185266"/>
                <a:gd name="csY146" fmla="*/ 169361 h 239112"/>
                <a:gd name="csX147" fmla="*/ 84797 w 185266"/>
                <a:gd name="csY147" fmla="*/ 179442 h 239112"/>
                <a:gd name="csX148" fmla="*/ 85055 w 185266"/>
                <a:gd name="csY148" fmla="*/ 181675 h 239112"/>
                <a:gd name="csX149" fmla="*/ 66486 w 185266"/>
                <a:gd name="csY149" fmla="*/ 192395 h 239112"/>
                <a:gd name="csX150" fmla="*/ 65395 w 185266"/>
                <a:gd name="csY150" fmla="*/ 196463 h 239112"/>
                <a:gd name="csX151" fmla="*/ 67975 w 185266"/>
                <a:gd name="csY151" fmla="*/ 197951 h 239112"/>
                <a:gd name="csX152" fmla="*/ 69458 w 185266"/>
                <a:gd name="csY152" fmla="*/ 197554 h 239112"/>
                <a:gd name="csX153" fmla="*/ 88032 w 185266"/>
                <a:gd name="csY153" fmla="*/ 186829 h 239112"/>
                <a:gd name="csX154" fmla="*/ 94868 w 185266"/>
                <a:gd name="csY154" fmla="*/ 189523 h 239112"/>
                <a:gd name="csX155" fmla="*/ 104949 w 185266"/>
                <a:gd name="csY155" fmla="*/ 179442 h 239112"/>
                <a:gd name="csX156" fmla="*/ 94878 w 185266"/>
                <a:gd name="csY156" fmla="*/ 169361 h 239112"/>
                <a:gd name="csX157" fmla="*/ 94878 w 185266"/>
                <a:gd name="csY157" fmla="*/ 183570 h 239112"/>
                <a:gd name="csX158" fmla="*/ 90750 w 185266"/>
                <a:gd name="csY158" fmla="*/ 179442 h 239112"/>
                <a:gd name="csX159" fmla="*/ 94878 w 185266"/>
                <a:gd name="csY159" fmla="*/ 175315 h 239112"/>
                <a:gd name="csX160" fmla="*/ 99005 w 185266"/>
                <a:gd name="csY160" fmla="*/ 179442 h 239112"/>
                <a:gd name="csX161" fmla="*/ 94878 w 185266"/>
                <a:gd name="csY161" fmla="*/ 183570 h 239112"/>
                <a:gd name="csX162" fmla="*/ 12179 w 185266"/>
                <a:gd name="csY162" fmla="*/ 136327 h 239112"/>
                <a:gd name="csX163" fmla="*/ 9203 w 185266"/>
                <a:gd name="csY163" fmla="*/ 133350 h 239112"/>
                <a:gd name="csX164" fmla="*/ 12179 w 185266"/>
                <a:gd name="csY164" fmla="*/ 130373 h 239112"/>
                <a:gd name="csX165" fmla="*/ 34354 w 185266"/>
                <a:gd name="csY165" fmla="*/ 130373 h 239112"/>
                <a:gd name="csX166" fmla="*/ 37331 w 185266"/>
                <a:gd name="csY166" fmla="*/ 133350 h 239112"/>
                <a:gd name="csX167" fmla="*/ 34354 w 185266"/>
                <a:gd name="csY167" fmla="*/ 136327 h 239112"/>
                <a:gd name="csX168" fmla="*/ 0 w 185266"/>
                <a:gd name="csY168" fmla="*/ 149875 h 239112"/>
                <a:gd name="csX169" fmla="*/ 2977 w 185266"/>
                <a:gd name="csY169" fmla="*/ 146898 h 239112"/>
                <a:gd name="csX170" fmla="*/ 30416 w 185266"/>
                <a:gd name="csY170" fmla="*/ 146898 h 239112"/>
                <a:gd name="csX171" fmla="*/ 33392 w 185266"/>
                <a:gd name="csY171" fmla="*/ 149875 h 239112"/>
                <a:gd name="csX172" fmla="*/ 30416 w 185266"/>
                <a:gd name="csY172" fmla="*/ 152851 h 239112"/>
                <a:gd name="csX173" fmla="*/ 2977 w 185266"/>
                <a:gd name="csY173" fmla="*/ 152851 h 239112"/>
                <a:gd name="csX174" fmla="*/ 0 w 185266"/>
                <a:gd name="csY174" fmla="*/ 149875 h 239112"/>
                <a:gd name="csX175" fmla="*/ 22964 w 185266"/>
                <a:gd name="csY175" fmla="*/ 179333 h 239112"/>
                <a:gd name="csX176" fmla="*/ 3170 w 185266"/>
                <a:gd name="csY176" fmla="*/ 179333 h 239112"/>
                <a:gd name="csX177" fmla="*/ 193 w 185266"/>
                <a:gd name="csY177" fmla="*/ 176356 h 239112"/>
                <a:gd name="csX178" fmla="*/ 3170 w 185266"/>
                <a:gd name="csY178" fmla="*/ 173380 h 239112"/>
                <a:gd name="csX179" fmla="*/ 22964 w 185266"/>
                <a:gd name="csY179" fmla="*/ 173380 h 239112"/>
                <a:gd name="csX180" fmla="*/ 25941 w 185266"/>
                <a:gd name="csY180" fmla="*/ 176356 h 239112"/>
                <a:gd name="csX181" fmla="*/ 22964 w 185266"/>
                <a:gd name="csY181" fmla="*/ 179333 h 239112"/>
                <a:gd name="csX182" fmla="*/ 30217 w 185266"/>
                <a:gd name="csY182" fmla="*/ 210056 h 239112"/>
                <a:gd name="csX183" fmla="*/ 14937 w 185266"/>
                <a:gd name="csY183" fmla="*/ 210056 h 239112"/>
                <a:gd name="csX184" fmla="*/ 11961 w 185266"/>
                <a:gd name="csY184" fmla="*/ 207079 h 239112"/>
                <a:gd name="csX185" fmla="*/ 14937 w 185266"/>
                <a:gd name="csY185" fmla="*/ 204103 h 239112"/>
                <a:gd name="csX186" fmla="*/ 30217 w 185266"/>
                <a:gd name="csY186" fmla="*/ 204103 h 239112"/>
                <a:gd name="csX187" fmla="*/ 33194 w 185266"/>
                <a:gd name="csY187" fmla="*/ 207079 h 239112"/>
                <a:gd name="csX188" fmla="*/ 30217 w 185266"/>
                <a:gd name="csY188" fmla="*/ 210056 h 23911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Lst>
              <a:rect l="l" t="t" r="r" b="b"/>
              <a:pathLst>
                <a:path w="185266" h="239112">
                  <a:moveTo>
                    <a:pt x="184383" y="46792"/>
                  </a:moveTo>
                  <a:lnTo>
                    <a:pt x="161464" y="24066"/>
                  </a:lnTo>
                  <a:cubicBezTo>
                    <a:pt x="160610" y="23217"/>
                    <a:pt x="159330" y="22969"/>
                    <a:pt x="158224" y="23431"/>
                  </a:cubicBezTo>
                  <a:cubicBezTo>
                    <a:pt x="157113" y="23892"/>
                    <a:pt x="156394" y="24978"/>
                    <a:pt x="156394" y="26179"/>
                  </a:cubicBezTo>
                  <a:lnTo>
                    <a:pt x="156394" y="36607"/>
                  </a:lnTo>
                  <a:cubicBezTo>
                    <a:pt x="138137" y="37212"/>
                    <a:pt x="120670" y="44440"/>
                    <a:pt x="107221" y="56833"/>
                  </a:cubicBezTo>
                  <a:lnTo>
                    <a:pt x="107221" y="28868"/>
                  </a:lnTo>
                  <a:lnTo>
                    <a:pt x="117609" y="28868"/>
                  </a:lnTo>
                  <a:cubicBezTo>
                    <a:pt x="118809" y="28868"/>
                    <a:pt x="119896" y="28143"/>
                    <a:pt x="120357" y="27037"/>
                  </a:cubicBezTo>
                  <a:cubicBezTo>
                    <a:pt x="120819" y="25931"/>
                    <a:pt x="120571" y="24651"/>
                    <a:pt x="119722" y="23798"/>
                  </a:cubicBezTo>
                  <a:lnTo>
                    <a:pt x="96996" y="878"/>
                  </a:lnTo>
                  <a:cubicBezTo>
                    <a:pt x="96436" y="313"/>
                    <a:pt x="95677" y="0"/>
                    <a:pt x="94883" y="0"/>
                  </a:cubicBezTo>
                  <a:cubicBezTo>
                    <a:pt x="94089" y="0"/>
                    <a:pt x="93330" y="317"/>
                    <a:pt x="92770" y="878"/>
                  </a:cubicBezTo>
                  <a:lnTo>
                    <a:pt x="70043" y="23798"/>
                  </a:lnTo>
                  <a:cubicBezTo>
                    <a:pt x="69195" y="24651"/>
                    <a:pt x="68947" y="25931"/>
                    <a:pt x="69408" y="27037"/>
                  </a:cubicBezTo>
                  <a:cubicBezTo>
                    <a:pt x="69870" y="28143"/>
                    <a:pt x="70956" y="28868"/>
                    <a:pt x="72157" y="28868"/>
                  </a:cubicBezTo>
                  <a:lnTo>
                    <a:pt x="82545" y="28868"/>
                  </a:lnTo>
                  <a:lnTo>
                    <a:pt x="82545" y="56833"/>
                  </a:lnTo>
                  <a:cubicBezTo>
                    <a:pt x="81141" y="55533"/>
                    <a:pt x="79688" y="54283"/>
                    <a:pt x="78179" y="53092"/>
                  </a:cubicBezTo>
                  <a:cubicBezTo>
                    <a:pt x="65207" y="42803"/>
                    <a:pt x="49763" y="37133"/>
                    <a:pt x="33372" y="36607"/>
                  </a:cubicBezTo>
                  <a:lnTo>
                    <a:pt x="33372" y="26179"/>
                  </a:lnTo>
                  <a:cubicBezTo>
                    <a:pt x="33372" y="24978"/>
                    <a:pt x="32648" y="23892"/>
                    <a:pt x="31542" y="23431"/>
                  </a:cubicBezTo>
                  <a:cubicBezTo>
                    <a:pt x="30430" y="22969"/>
                    <a:pt x="29155" y="23217"/>
                    <a:pt x="28302" y="24066"/>
                  </a:cubicBezTo>
                  <a:lnTo>
                    <a:pt x="5383" y="46792"/>
                  </a:lnTo>
                  <a:cubicBezTo>
                    <a:pt x="4817" y="47352"/>
                    <a:pt x="4500" y="48111"/>
                    <a:pt x="4500" y="48905"/>
                  </a:cubicBezTo>
                  <a:cubicBezTo>
                    <a:pt x="4500" y="49699"/>
                    <a:pt x="4817" y="50458"/>
                    <a:pt x="5383" y="51018"/>
                  </a:cubicBezTo>
                  <a:lnTo>
                    <a:pt x="28302" y="73744"/>
                  </a:lnTo>
                  <a:cubicBezTo>
                    <a:pt x="29155" y="74593"/>
                    <a:pt x="30435" y="74841"/>
                    <a:pt x="31542" y="74379"/>
                  </a:cubicBezTo>
                  <a:cubicBezTo>
                    <a:pt x="32653" y="73918"/>
                    <a:pt x="33372" y="72832"/>
                    <a:pt x="33372" y="71631"/>
                  </a:cubicBezTo>
                  <a:lnTo>
                    <a:pt x="33372" y="61312"/>
                  </a:lnTo>
                  <a:cubicBezTo>
                    <a:pt x="52928" y="62299"/>
                    <a:pt x="70262" y="74325"/>
                    <a:pt x="78155" y="92224"/>
                  </a:cubicBezTo>
                  <a:lnTo>
                    <a:pt x="75431" y="92224"/>
                  </a:lnTo>
                  <a:cubicBezTo>
                    <a:pt x="73789" y="92224"/>
                    <a:pt x="72454" y="93558"/>
                    <a:pt x="72454" y="95200"/>
                  </a:cubicBezTo>
                  <a:lnTo>
                    <a:pt x="72454" y="109458"/>
                  </a:lnTo>
                  <a:cubicBezTo>
                    <a:pt x="72454" y="111100"/>
                    <a:pt x="73789" y="112435"/>
                    <a:pt x="75431" y="112435"/>
                  </a:cubicBezTo>
                  <a:lnTo>
                    <a:pt x="80972" y="112435"/>
                  </a:lnTo>
                  <a:lnTo>
                    <a:pt x="80972" y="121414"/>
                  </a:lnTo>
                  <a:cubicBezTo>
                    <a:pt x="75252" y="122783"/>
                    <a:pt x="69850" y="124981"/>
                    <a:pt x="64899" y="127873"/>
                  </a:cubicBezTo>
                  <a:lnTo>
                    <a:pt x="48399" y="127873"/>
                  </a:lnTo>
                  <a:cubicBezTo>
                    <a:pt x="46757" y="127873"/>
                    <a:pt x="45422" y="129208"/>
                    <a:pt x="45422" y="130850"/>
                  </a:cubicBezTo>
                  <a:cubicBezTo>
                    <a:pt x="45422" y="132492"/>
                    <a:pt x="46757" y="133826"/>
                    <a:pt x="48399" y="133826"/>
                  </a:cubicBezTo>
                  <a:lnTo>
                    <a:pt x="56465" y="133826"/>
                  </a:lnTo>
                  <a:cubicBezTo>
                    <a:pt x="48721" y="140360"/>
                    <a:pt x="42659" y="148823"/>
                    <a:pt x="39023" y="158472"/>
                  </a:cubicBezTo>
                  <a:lnTo>
                    <a:pt x="25127" y="158472"/>
                  </a:lnTo>
                  <a:cubicBezTo>
                    <a:pt x="23485" y="158472"/>
                    <a:pt x="22151" y="159807"/>
                    <a:pt x="22151" y="161449"/>
                  </a:cubicBezTo>
                  <a:cubicBezTo>
                    <a:pt x="22151" y="163091"/>
                    <a:pt x="23485" y="164425"/>
                    <a:pt x="25127" y="164425"/>
                  </a:cubicBezTo>
                  <a:lnTo>
                    <a:pt x="37128" y="164425"/>
                  </a:lnTo>
                  <a:cubicBezTo>
                    <a:pt x="35878" y="169228"/>
                    <a:pt x="35213" y="174258"/>
                    <a:pt x="35213" y="179442"/>
                  </a:cubicBezTo>
                  <a:cubicBezTo>
                    <a:pt x="35213" y="182696"/>
                    <a:pt x="35481" y="185891"/>
                    <a:pt x="35982" y="189012"/>
                  </a:cubicBezTo>
                  <a:lnTo>
                    <a:pt x="15538" y="189012"/>
                  </a:lnTo>
                  <a:cubicBezTo>
                    <a:pt x="13896" y="189012"/>
                    <a:pt x="12561" y="190346"/>
                    <a:pt x="12561" y="191988"/>
                  </a:cubicBezTo>
                  <a:cubicBezTo>
                    <a:pt x="12561" y="193630"/>
                    <a:pt x="13896" y="194965"/>
                    <a:pt x="15538" y="194965"/>
                  </a:cubicBezTo>
                  <a:lnTo>
                    <a:pt x="37262" y="194965"/>
                  </a:lnTo>
                  <a:cubicBezTo>
                    <a:pt x="39757" y="204217"/>
                    <a:pt x="44420" y="212581"/>
                    <a:pt x="50676" y="219487"/>
                  </a:cubicBezTo>
                  <a:lnTo>
                    <a:pt x="33010" y="219487"/>
                  </a:lnTo>
                  <a:cubicBezTo>
                    <a:pt x="31368" y="219487"/>
                    <a:pt x="30034" y="220821"/>
                    <a:pt x="30034" y="222463"/>
                  </a:cubicBezTo>
                  <a:cubicBezTo>
                    <a:pt x="30034" y="224105"/>
                    <a:pt x="31368" y="225440"/>
                    <a:pt x="33010" y="225440"/>
                  </a:cubicBezTo>
                  <a:lnTo>
                    <a:pt x="56902" y="225440"/>
                  </a:lnTo>
                  <a:cubicBezTo>
                    <a:pt x="67231" y="233978"/>
                    <a:pt x="80466" y="239112"/>
                    <a:pt x="94878" y="239112"/>
                  </a:cubicBezTo>
                  <a:cubicBezTo>
                    <a:pt x="127779" y="239112"/>
                    <a:pt x="154548" y="212343"/>
                    <a:pt x="154548" y="179442"/>
                  </a:cubicBezTo>
                  <a:cubicBezTo>
                    <a:pt x="154548" y="151328"/>
                    <a:pt x="135007" y="127700"/>
                    <a:pt x="108793" y="121414"/>
                  </a:cubicBezTo>
                  <a:lnTo>
                    <a:pt x="108793" y="112435"/>
                  </a:lnTo>
                  <a:lnTo>
                    <a:pt x="114335" y="112435"/>
                  </a:lnTo>
                  <a:cubicBezTo>
                    <a:pt x="115977" y="112435"/>
                    <a:pt x="117311" y="111100"/>
                    <a:pt x="117311" y="109458"/>
                  </a:cubicBezTo>
                  <a:lnTo>
                    <a:pt x="117311" y="95200"/>
                  </a:lnTo>
                  <a:cubicBezTo>
                    <a:pt x="117311" y="93558"/>
                    <a:pt x="115977" y="92224"/>
                    <a:pt x="114335" y="92224"/>
                  </a:cubicBezTo>
                  <a:lnTo>
                    <a:pt x="111611" y="92224"/>
                  </a:lnTo>
                  <a:cubicBezTo>
                    <a:pt x="119504" y="74325"/>
                    <a:pt x="136838" y="62294"/>
                    <a:pt x="156394" y="61312"/>
                  </a:cubicBezTo>
                  <a:lnTo>
                    <a:pt x="156394" y="71631"/>
                  </a:lnTo>
                  <a:cubicBezTo>
                    <a:pt x="156394" y="72832"/>
                    <a:pt x="157118" y="73918"/>
                    <a:pt x="158224" y="74379"/>
                  </a:cubicBezTo>
                  <a:cubicBezTo>
                    <a:pt x="159335" y="74841"/>
                    <a:pt x="160610" y="74593"/>
                    <a:pt x="161464" y="73744"/>
                  </a:cubicBezTo>
                  <a:lnTo>
                    <a:pt x="184383" y="51018"/>
                  </a:lnTo>
                  <a:cubicBezTo>
                    <a:pt x="184949" y="50458"/>
                    <a:pt x="185266" y="49699"/>
                    <a:pt x="185266" y="48905"/>
                  </a:cubicBezTo>
                  <a:cubicBezTo>
                    <a:pt x="185266" y="48111"/>
                    <a:pt x="184944" y="47352"/>
                    <a:pt x="184383" y="46792"/>
                  </a:cubicBezTo>
                  <a:close/>
                  <a:moveTo>
                    <a:pt x="79291" y="22915"/>
                  </a:moveTo>
                  <a:lnTo>
                    <a:pt x="94873" y="7198"/>
                  </a:lnTo>
                  <a:lnTo>
                    <a:pt x="110455" y="22915"/>
                  </a:lnTo>
                  <a:lnTo>
                    <a:pt x="104234" y="22915"/>
                  </a:lnTo>
                  <a:cubicBezTo>
                    <a:pt x="102592" y="22915"/>
                    <a:pt x="101258" y="24249"/>
                    <a:pt x="101258" y="25891"/>
                  </a:cubicBezTo>
                  <a:lnTo>
                    <a:pt x="101258" y="83473"/>
                  </a:lnTo>
                  <a:cubicBezTo>
                    <a:pt x="98112" y="76036"/>
                    <a:pt x="93791" y="69101"/>
                    <a:pt x="88478" y="62974"/>
                  </a:cubicBezTo>
                  <a:lnTo>
                    <a:pt x="88478" y="25891"/>
                  </a:lnTo>
                  <a:cubicBezTo>
                    <a:pt x="88478" y="24249"/>
                    <a:pt x="87144" y="22915"/>
                    <a:pt x="85502" y="22915"/>
                  </a:cubicBezTo>
                  <a:close/>
                  <a:moveTo>
                    <a:pt x="30758" y="55295"/>
                  </a:moveTo>
                  <a:lnTo>
                    <a:pt x="30386" y="55295"/>
                  </a:lnTo>
                  <a:cubicBezTo>
                    <a:pt x="28744" y="55295"/>
                    <a:pt x="27409" y="56629"/>
                    <a:pt x="27409" y="58271"/>
                  </a:cubicBezTo>
                  <a:lnTo>
                    <a:pt x="27409" y="64492"/>
                  </a:lnTo>
                  <a:lnTo>
                    <a:pt x="11693" y="48910"/>
                  </a:lnTo>
                  <a:lnTo>
                    <a:pt x="27409" y="33328"/>
                  </a:lnTo>
                  <a:lnTo>
                    <a:pt x="27409" y="39549"/>
                  </a:lnTo>
                  <a:cubicBezTo>
                    <a:pt x="27409" y="41191"/>
                    <a:pt x="28744" y="42525"/>
                    <a:pt x="30386" y="42525"/>
                  </a:cubicBezTo>
                  <a:lnTo>
                    <a:pt x="30867" y="42525"/>
                  </a:lnTo>
                  <a:cubicBezTo>
                    <a:pt x="61932" y="42525"/>
                    <a:pt x="89069" y="62781"/>
                    <a:pt x="98142" y="92234"/>
                  </a:cubicBezTo>
                  <a:lnTo>
                    <a:pt x="84589" y="92234"/>
                  </a:lnTo>
                  <a:cubicBezTo>
                    <a:pt x="75977" y="70048"/>
                    <a:pt x="54610" y="55295"/>
                    <a:pt x="30758" y="55295"/>
                  </a:cubicBezTo>
                  <a:close/>
                  <a:moveTo>
                    <a:pt x="148595" y="179442"/>
                  </a:moveTo>
                  <a:cubicBezTo>
                    <a:pt x="148595" y="209059"/>
                    <a:pt x="124500" y="233159"/>
                    <a:pt x="94878" y="233159"/>
                  </a:cubicBezTo>
                  <a:cubicBezTo>
                    <a:pt x="65256" y="233159"/>
                    <a:pt x="41161" y="209064"/>
                    <a:pt x="41161" y="179442"/>
                  </a:cubicBezTo>
                  <a:cubicBezTo>
                    <a:pt x="41161" y="149820"/>
                    <a:pt x="65256" y="125725"/>
                    <a:pt x="94878" y="125725"/>
                  </a:cubicBezTo>
                  <a:cubicBezTo>
                    <a:pt x="124500" y="125725"/>
                    <a:pt x="148595" y="149825"/>
                    <a:pt x="148595" y="179442"/>
                  </a:cubicBezTo>
                  <a:close/>
                  <a:moveTo>
                    <a:pt x="102840" y="120308"/>
                  </a:moveTo>
                  <a:cubicBezTo>
                    <a:pt x="100236" y="119960"/>
                    <a:pt x="97577" y="119777"/>
                    <a:pt x="94878" y="119777"/>
                  </a:cubicBezTo>
                  <a:cubicBezTo>
                    <a:pt x="92179" y="119777"/>
                    <a:pt x="89520" y="119960"/>
                    <a:pt x="86916" y="120308"/>
                  </a:cubicBezTo>
                  <a:lnTo>
                    <a:pt x="86916" y="112440"/>
                  </a:lnTo>
                  <a:lnTo>
                    <a:pt x="102840" y="112440"/>
                  </a:lnTo>
                  <a:close/>
                  <a:moveTo>
                    <a:pt x="111358" y="106482"/>
                  </a:moveTo>
                  <a:lnTo>
                    <a:pt x="78398" y="106482"/>
                  </a:lnTo>
                  <a:lnTo>
                    <a:pt x="78398" y="98177"/>
                  </a:lnTo>
                  <a:lnTo>
                    <a:pt x="111358" y="98177"/>
                  </a:lnTo>
                  <a:close/>
                  <a:moveTo>
                    <a:pt x="162347" y="64492"/>
                  </a:moveTo>
                  <a:lnTo>
                    <a:pt x="162347" y="58276"/>
                  </a:lnTo>
                  <a:cubicBezTo>
                    <a:pt x="162347" y="56634"/>
                    <a:pt x="161012" y="55300"/>
                    <a:pt x="159370" y="55300"/>
                  </a:cubicBezTo>
                  <a:lnTo>
                    <a:pt x="158998" y="55300"/>
                  </a:lnTo>
                  <a:cubicBezTo>
                    <a:pt x="136862" y="55300"/>
                    <a:pt x="116870" y="68009"/>
                    <a:pt x="107221" y="87566"/>
                  </a:cubicBezTo>
                  <a:lnTo>
                    <a:pt x="107221" y="65241"/>
                  </a:lnTo>
                  <a:cubicBezTo>
                    <a:pt x="120576" y="50790"/>
                    <a:pt x="139338" y="42520"/>
                    <a:pt x="158889" y="42520"/>
                  </a:cubicBezTo>
                  <a:lnTo>
                    <a:pt x="159370" y="42520"/>
                  </a:lnTo>
                  <a:cubicBezTo>
                    <a:pt x="161012" y="42520"/>
                    <a:pt x="162347" y="41186"/>
                    <a:pt x="162347" y="39544"/>
                  </a:cubicBezTo>
                  <a:lnTo>
                    <a:pt x="162347" y="33323"/>
                  </a:lnTo>
                  <a:lnTo>
                    <a:pt x="178058" y="48905"/>
                  </a:lnTo>
                  <a:close/>
                  <a:moveTo>
                    <a:pt x="48230" y="179442"/>
                  </a:moveTo>
                  <a:cubicBezTo>
                    <a:pt x="48230" y="205165"/>
                    <a:pt x="69155" y="226090"/>
                    <a:pt x="94878" y="226090"/>
                  </a:cubicBezTo>
                  <a:cubicBezTo>
                    <a:pt x="120600" y="226090"/>
                    <a:pt x="141526" y="205165"/>
                    <a:pt x="141526" y="179442"/>
                  </a:cubicBezTo>
                  <a:cubicBezTo>
                    <a:pt x="141526" y="153720"/>
                    <a:pt x="120600" y="132794"/>
                    <a:pt x="94878" y="132794"/>
                  </a:cubicBezTo>
                  <a:cubicBezTo>
                    <a:pt x="69155" y="132794"/>
                    <a:pt x="48230" y="153720"/>
                    <a:pt x="48230" y="179442"/>
                  </a:cubicBezTo>
                  <a:close/>
                  <a:moveTo>
                    <a:pt x="135453" y="176466"/>
                  </a:moveTo>
                  <a:lnTo>
                    <a:pt x="129788" y="176466"/>
                  </a:lnTo>
                  <a:cubicBezTo>
                    <a:pt x="128146" y="176466"/>
                    <a:pt x="126811" y="177800"/>
                    <a:pt x="126811" y="179442"/>
                  </a:cubicBezTo>
                  <a:cubicBezTo>
                    <a:pt x="126811" y="181084"/>
                    <a:pt x="128146" y="182419"/>
                    <a:pt x="129788" y="182419"/>
                  </a:cubicBezTo>
                  <a:lnTo>
                    <a:pt x="135453" y="182419"/>
                  </a:lnTo>
                  <a:cubicBezTo>
                    <a:pt x="133995" y="202491"/>
                    <a:pt x="117926" y="218559"/>
                    <a:pt x="97854" y="220018"/>
                  </a:cubicBezTo>
                  <a:lnTo>
                    <a:pt x="97854" y="214357"/>
                  </a:lnTo>
                  <a:cubicBezTo>
                    <a:pt x="97854" y="212715"/>
                    <a:pt x="96520" y="211381"/>
                    <a:pt x="94878" y="211381"/>
                  </a:cubicBezTo>
                  <a:cubicBezTo>
                    <a:pt x="93236" y="211381"/>
                    <a:pt x="91901" y="212715"/>
                    <a:pt x="91901" y="214357"/>
                  </a:cubicBezTo>
                  <a:lnTo>
                    <a:pt x="91901" y="220023"/>
                  </a:lnTo>
                  <a:cubicBezTo>
                    <a:pt x="71829" y="218564"/>
                    <a:pt x="55761" y="202496"/>
                    <a:pt x="54302" y="182424"/>
                  </a:cubicBezTo>
                  <a:lnTo>
                    <a:pt x="59968" y="182424"/>
                  </a:lnTo>
                  <a:cubicBezTo>
                    <a:pt x="61610" y="182424"/>
                    <a:pt x="62944" y="181089"/>
                    <a:pt x="62944" y="179447"/>
                  </a:cubicBezTo>
                  <a:cubicBezTo>
                    <a:pt x="62944" y="177805"/>
                    <a:pt x="61610" y="176470"/>
                    <a:pt x="59968" y="176470"/>
                  </a:cubicBezTo>
                  <a:lnTo>
                    <a:pt x="54302" y="176470"/>
                  </a:lnTo>
                  <a:cubicBezTo>
                    <a:pt x="55761" y="156399"/>
                    <a:pt x="71829" y="140330"/>
                    <a:pt x="91901" y="138872"/>
                  </a:cubicBezTo>
                  <a:lnTo>
                    <a:pt x="91901" y="144537"/>
                  </a:lnTo>
                  <a:cubicBezTo>
                    <a:pt x="91901" y="146179"/>
                    <a:pt x="93236" y="147513"/>
                    <a:pt x="94878" y="147513"/>
                  </a:cubicBezTo>
                  <a:cubicBezTo>
                    <a:pt x="96520" y="147513"/>
                    <a:pt x="97854" y="146179"/>
                    <a:pt x="97854" y="144537"/>
                  </a:cubicBezTo>
                  <a:lnTo>
                    <a:pt x="97854" y="138872"/>
                  </a:lnTo>
                  <a:cubicBezTo>
                    <a:pt x="117921" y="140325"/>
                    <a:pt x="133995" y="156399"/>
                    <a:pt x="135453" y="176466"/>
                  </a:cubicBezTo>
                  <a:close/>
                  <a:moveTo>
                    <a:pt x="94878" y="169361"/>
                  </a:moveTo>
                  <a:cubicBezTo>
                    <a:pt x="89317" y="169361"/>
                    <a:pt x="84797" y="173886"/>
                    <a:pt x="84797" y="179442"/>
                  </a:cubicBezTo>
                  <a:cubicBezTo>
                    <a:pt x="84797" y="180211"/>
                    <a:pt x="84892" y="180955"/>
                    <a:pt x="85055" y="181675"/>
                  </a:cubicBezTo>
                  <a:lnTo>
                    <a:pt x="66486" y="192395"/>
                  </a:lnTo>
                  <a:cubicBezTo>
                    <a:pt x="65063" y="193219"/>
                    <a:pt x="64577" y="195039"/>
                    <a:pt x="65395" y="196463"/>
                  </a:cubicBezTo>
                  <a:cubicBezTo>
                    <a:pt x="65946" y="197416"/>
                    <a:pt x="66948" y="197951"/>
                    <a:pt x="67975" y="197951"/>
                  </a:cubicBezTo>
                  <a:cubicBezTo>
                    <a:pt x="68481" y="197951"/>
                    <a:pt x="68992" y="197822"/>
                    <a:pt x="69458" y="197554"/>
                  </a:cubicBezTo>
                  <a:lnTo>
                    <a:pt x="88032" y="186829"/>
                  </a:lnTo>
                  <a:cubicBezTo>
                    <a:pt x="89833" y="188496"/>
                    <a:pt x="92229" y="189523"/>
                    <a:pt x="94868" y="189523"/>
                  </a:cubicBezTo>
                  <a:cubicBezTo>
                    <a:pt x="100429" y="189523"/>
                    <a:pt x="104949" y="184998"/>
                    <a:pt x="104949" y="179442"/>
                  </a:cubicBezTo>
                  <a:cubicBezTo>
                    <a:pt x="104949" y="173886"/>
                    <a:pt x="100434" y="169361"/>
                    <a:pt x="94878" y="169361"/>
                  </a:cubicBezTo>
                  <a:close/>
                  <a:moveTo>
                    <a:pt x="94878" y="183570"/>
                  </a:moveTo>
                  <a:cubicBezTo>
                    <a:pt x="92601" y="183570"/>
                    <a:pt x="90750" y="181719"/>
                    <a:pt x="90750" y="179442"/>
                  </a:cubicBezTo>
                  <a:cubicBezTo>
                    <a:pt x="90750" y="177165"/>
                    <a:pt x="92601" y="175315"/>
                    <a:pt x="94878" y="175315"/>
                  </a:cubicBezTo>
                  <a:cubicBezTo>
                    <a:pt x="97155" y="175315"/>
                    <a:pt x="99005" y="177165"/>
                    <a:pt x="99005" y="179442"/>
                  </a:cubicBezTo>
                  <a:cubicBezTo>
                    <a:pt x="99005" y="181719"/>
                    <a:pt x="97155" y="183570"/>
                    <a:pt x="94878" y="183570"/>
                  </a:cubicBezTo>
                  <a:close/>
                  <a:moveTo>
                    <a:pt x="12179" y="136327"/>
                  </a:moveTo>
                  <a:cubicBezTo>
                    <a:pt x="10537" y="136327"/>
                    <a:pt x="9203" y="134992"/>
                    <a:pt x="9203" y="133350"/>
                  </a:cubicBezTo>
                  <a:cubicBezTo>
                    <a:pt x="9203" y="131708"/>
                    <a:pt x="10537" y="130373"/>
                    <a:pt x="12179" y="130373"/>
                  </a:cubicBezTo>
                  <a:lnTo>
                    <a:pt x="34354" y="130373"/>
                  </a:lnTo>
                  <a:cubicBezTo>
                    <a:pt x="35997" y="130373"/>
                    <a:pt x="37331" y="131708"/>
                    <a:pt x="37331" y="133350"/>
                  </a:cubicBezTo>
                  <a:cubicBezTo>
                    <a:pt x="37331" y="134992"/>
                    <a:pt x="35997" y="136327"/>
                    <a:pt x="34354" y="136327"/>
                  </a:cubicBezTo>
                  <a:close/>
                  <a:moveTo>
                    <a:pt x="0" y="149875"/>
                  </a:moveTo>
                  <a:cubicBezTo>
                    <a:pt x="0" y="148233"/>
                    <a:pt x="1334" y="146898"/>
                    <a:pt x="2977" y="146898"/>
                  </a:cubicBezTo>
                  <a:lnTo>
                    <a:pt x="30416" y="146898"/>
                  </a:lnTo>
                  <a:cubicBezTo>
                    <a:pt x="32058" y="146898"/>
                    <a:pt x="33392" y="148233"/>
                    <a:pt x="33392" y="149875"/>
                  </a:cubicBezTo>
                  <a:cubicBezTo>
                    <a:pt x="33392" y="151517"/>
                    <a:pt x="32058" y="152851"/>
                    <a:pt x="30416" y="152851"/>
                  </a:cubicBezTo>
                  <a:lnTo>
                    <a:pt x="2977" y="152851"/>
                  </a:lnTo>
                  <a:cubicBezTo>
                    <a:pt x="1334" y="152851"/>
                    <a:pt x="0" y="151517"/>
                    <a:pt x="0" y="149875"/>
                  </a:cubicBezTo>
                  <a:close/>
                  <a:moveTo>
                    <a:pt x="22964" y="179333"/>
                  </a:moveTo>
                  <a:lnTo>
                    <a:pt x="3170" y="179333"/>
                  </a:lnTo>
                  <a:cubicBezTo>
                    <a:pt x="1528" y="179333"/>
                    <a:pt x="193" y="177998"/>
                    <a:pt x="193" y="176356"/>
                  </a:cubicBezTo>
                  <a:cubicBezTo>
                    <a:pt x="193" y="174714"/>
                    <a:pt x="1528" y="173380"/>
                    <a:pt x="3170" y="173380"/>
                  </a:cubicBezTo>
                  <a:lnTo>
                    <a:pt x="22964" y="173380"/>
                  </a:lnTo>
                  <a:cubicBezTo>
                    <a:pt x="24606" y="173380"/>
                    <a:pt x="25941" y="174714"/>
                    <a:pt x="25941" y="176356"/>
                  </a:cubicBezTo>
                  <a:cubicBezTo>
                    <a:pt x="25941" y="177998"/>
                    <a:pt x="24606" y="179333"/>
                    <a:pt x="22964" y="179333"/>
                  </a:cubicBezTo>
                  <a:close/>
                  <a:moveTo>
                    <a:pt x="30217" y="210056"/>
                  </a:moveTo>
                  <a:lnTo>
                    <a:pt x="14937" y="210056"/>
                  </a:lnTo>
                  <a:cubicBezTo>
                    <a:pt x="13295" y="210056"/>
                    <a:pt x="11961" y="208722"/>
                    <a:pt x="11961" y="207079"/>
                  </a:cubicBezTo>
                  <a:cubicBezTo>
                    <a:pt x="11961" y="205437"/>
                    <a:pt x="13295" y="204103"/>
                    <a:pt x="14937" y="204103"/>
                  </a:cubicBezTo>
                  <a:lnTo>
                    <a:pt x="30217" y="204103"/>
                  </a:lnTo>
                  <a:cubicBezTo>
                    <a:pt x="31859" y="204103"/>
                    <a:pt x="33194" y="205437"/>
                    <a:pt x="33194" y="207079"/>
                  </a:cubicBezTo>
                  <a:cubicBezTo>
                    <a:pt x="33194" y="208722"/>
                    <a:pt x="31859" y="210056"/>
                    <a:pt x="30217" y="210056"/>
                  </a:cubicBezTo>
                  <a:close/>
                </a:path>
              </a:pathLst>
            </a:custGeom>
            <a:solidFill>
              <a:schemeClr val="bg1"/>
            </a:solid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169" name="Group 168">
            <a:extLst>
              <a:ext uri="{FF2B5EF4-FFF2-40B4-BE49-F238E27FC236}">
                <a16:creationId xmlns:a16="http://schemas.microsoft.com/office/drawing/2014/main" id="{FD940B29-DE43-4041-B9CC-98D4EE5B9D8C}"/>
              </a:ext>
            </a:extLst>
          </p:cNvPr>
          <p:cNvGrpSpPr>
            <a:grpSpLocks noChangeAspect="1"/>
          </p:cNvGrpSpPr>
          <p:nvPr/>
        </p:nvGrpSpPr>
        <p:grpSpPr>
          <a:xfrm>
            <a:off x="7957391" y="3312176"/>
            <a:ext cx="415636" cy="415636"/>
            <a:chOff x="7936609" y="3684818"/>
            <a:chExt cx="457200" cy="457200"/>
          </a:xfrm>
        </p:grpSpPr>
        <p:sp>
          <p:nvSpPr>
            <p:cNvPr id="170" name="Oval 169">
              <a:extLst>
                <a:ext uri="{FF2B5EF4-FFF2-40B4-BE49-F238E27FC236}">
                  <a16:creationId xmlns:a16="http://schemas.microsoft.com/office/drawing/2014/main" id="{CCAE3C0C-F472-B846-0FD8-D1F633E37261}"/>
                </a:ext>
              </a:extLst>
            </p:cNvPr>
            <p:cNvSpPr>
              <a:spLocks noChangeAspect="1"/>
            </p:cNvSpPr>
            <p:nvPr/>
          </p:nvSpPr>
          <p:spPr>
            <a:xfrm>
              <a:off x="7936609" y="3684818"/>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grpSp>
          <p:nvGrpSpPr>
            <p:cNvPr id="171" name="Pic">
              <a:extLst>
                <a:ext uri="{FF2B5EF4-FFF2-40B4-BE49-F238E27FC236}">
                  <a16:creationId xmlns:a16="http://schemas.microsoft.com/office/drawing/2014/main" id="{81A584B5-6217-1482-5A67-CC35AD52A2CE}"/>
                </a:ext>
              </a:extLst>
            </p:cNvPr>
            <p:cNvGrpSpPr>
              <a:grpSpLocks noChangeAspect="1"/>
            </p:cNvGrpSpPr>
            <p:nvPr/>
          </p:nvGrpSpPr>
          <p:grpSpPr>
            <a:xfrm>
              <a:off x="8050753" y="3776794"/>
              <a:ext cx="228912" cy="254201"/>
              <a:chOff x="946873" y="1471953"/>
              <a:chExt cx="208102" cy="231092"/>
            </a:xfrm>
            <a:solidFill>
              <a:schemeClr val="bg1"/>
            </a:solidFill>
          </p:grpSpPr>
          <p:sp>
            <p:nvSpPr>
              <p:cNvPr id="172" name="Freeform: Shape 171">
                <a:extLst>
                  <a:ext uri="{FF2B5EF4-FFF2-40B4-BE49-F238E27FC236}">
                    <a16:creationId xmlns:a16="http://schemas.microsoft.com/office/drawing/2014/main" id="{0199267A-69F7-E2D7-7D65-407A2E19EA7E}"/>
                  </a:ext>
                </a:extLst>
              </p:cNvPr>
              <p:cNvSpPr/>
              <p:nvPr/>
            </p:nvSpPr>
            <p:spPr>
              <a:xfrm>
                <a:off x="946873" y="1471953"/>
                <a:ext cx="208102" cy="231092"/>
              </a:xfrm>
              <a:custGeom>
                <a:avLst/>
                <a:gdLst>
                  <a:gd name="csX0" fmla="*/ 10851 w 208102"/>
                  <a:gd name="csY0" fmla="*/ 214183 h 231092"/>
                  <a:gd name="csX1" fmla="*/ 75147 w 208102"/>
                  <a:gd name="csY1" fmla="*/ 214183 h 231092"/>
                  <a:gd name="csX2" fmla="*/ 81472 w 208102"/>
                  <a:gd name="csY2" fmla="*/ 218302 h 231092"/>
                  <a:gd name="csX3" fmla="*/ 99682 w 208102"/>
                  <a:gd name="csY3" fmla="*/ 231092 h 231092"/>
                  <a:gd name="csX4" fmla="*/ 117874 w 208102"/>
                  <a:gd name="csY4" fmla="*/ 218299 h 231092"/>
                  <a:gd name="csX5" fmla="*/ 124199 w 208102"/>
                  <a:gd name="csY5" fmla="*/ 214183 h 231092"/>
                  <a:gd name="csX6" fmla="*/ 188497 w 208102"/>
                  <a:gd name="csY6" fmla="*/ 214183 h 231092"/>
                  <a:gd name="csX7" fmla="*/ 199348 w 208102"/>
                  <a:gd name="csY7" fmla="*/ 203332 h 231092"/>
                  <a:gd name="csX8" fmla="*/ 199348 w 208102"/>
                  <a:gd name="csY8" fmla="*/ 92706 h 231092"/>
                  <a:gd name="csX9" fmla="*/ 188497 w 208102"/>
                  <a:gd name="csY9" fmla="*/ 81855 h 231092"/>
                  <a:gd name="csX10" fmla="*/ 175425 w 208102"/>
                  <a:gd name="csY10" fmla="*/ 81855 h 231092"/>
                  <a:gd name="csX11" fmla="*/ 175425 w 208102"/>
                  <a:gd name="csY11" fmla="*/ 79583 h 231092"/>
                  <a:gd name="csX12" fmla="*/ 166835 w 208102"/>
                  <a:gd name="csY12" fmla="*/ 70995 h 231092"/>
                  <a:gd name="csX13" fmla="*/ 151899 w 208102"/>
                  <a:gd name="csY13" fmla="*/ 70995 h 231092"/>
                  <a:gd name="csX14" fmla="*/ 164201 w 208102"/>
                  <a:gd name="csY14" fmla="*/ 53694 h 231092"/>
                  <a:gd name="csX15" fmla="*/ 164958 w 208102"/>
                  <a:gd name="csY15" fmla="*/ 53835 h 231092"/>
                  <a:gd name="csX16" fmla="*/ 165459 w 208102"/>
                  <a:gd name="csY16" fmla="*/ 53807 h 231092"/>
                  <a:gd name="csX17" fmla="*/ 184516 w 208102"/>
                  <a:gd name="csY17" fmla="*/ 51757 h 231092"/>
                  <a:gd name="csX18" fmla="*/ 188984 w 208102"/>
                  <a:gd name="csY18" fmla="*/ 49314 h 231092"/>
                  <a:gd name="csX19" fmla="*/ 207505 w 208102"/>
                  <a:gd name="csY19" fmla="*/ 24757 h 231092"/>
                  <a:gd name="csX20" fmla="*/ 207683 w 208102"/>
                  <a:gd name="csY20" fmla="*/ 21427 h 231092"/>
                  <a:gd name="csX21" fmla="*/ 204444 w 208102"/>
                  <a:gd name="csY21" fmla="*/ 19735 h 231092"/>
                  <a:gd name="csX22" fmla="*/ 185160 w 208102"/>
                  <a:gd name="csY22" fmla="*/ 21500 h 231092"/>
                  <a:gd name="csX23" fmla="*/ 181917 w 208102"/>
                  <a:gd name="csY23" fmla="*/ 2742 h 231092"/>
                  <a:gd name="csX24" fmla="*/ 179394 w 208102"/>
                  <a:gd name="csY24" fmla="*/ 93 h 231092"/>
                  <a:gd name="csX25" fmla="*/ 176247 w 208102"/>
                  <a:gd name="csY25" fmla="*/ 1176 h 231092"/>
                  <a:gd name="csX26" fmla="*/ 157725 w 208102"/>
                  <a:gd name="csY26" fmla="*/ 25731 h 231092"/>
                  <a:gd name="csX27" fmla="*/ 156599 w 208102"/>
                  <a:gd name="csY27" fmla="*/ 30699 h 231092"/>
                  <a:gd name="csX28" fmla="*/ 159866 w 208102"/>
                  <a:gd name="csY28" fmla="*/ 49588 h 231092"/>
                  <a:gd name="csX29" fmla="*/ 160342 w 208102"/>
                  <a:gd name="csY29" fmla="*/ 50851 h 231092"/>
                  <a:gd name="csX30" fmla="*/ 146018 w 208102"/>
                  <a:gd name="csY30" fmla="*/ 70995 h 231092"/>
                  <a:gd name="csX31" fmla="*/ 121491 w 208102"/>
                  <a:gd name="csY31" fmla="*/ 70995 h 231092"/>
                  <a:gd name="csX32" fmla="*/ 99675 w 208102"/>
                  <a:gd name="csY32" fmla="*/ 81071 h 231092"/>
                  <a:gd name="csX33" fmla="*/ 77856 w 208102"/>
                  <a:gd name="csY33" fmla="*/ 70995 h 231092"/>
                  <a:gd name="csX34" fmla="*/ 32534 w 208102"/>
                  <a:gd name="csY34" fmla="*/ 70995 h 231092"/>
                  <a:gd name="csX35" fmla="*/ 23946 w 208102"/>
                  <a:gd name="csY35" fmla="*/ 79583 h 231092"/>
                  <a:gd name="csX36" fmla="*/ 23946 w 208102"/>
                  <a:gd name="csY36" fmla="*/ 81855 h 231092"/>
                  <a:gd name="csX37" fmla="*/ 10851 w 208102"/>
                  <a:gd name="csY37" fmla="*/ 81855 h 231092"/>
                  <a:gd name="csX38" fmla="*/ 0 w 208102"/>
                  <a:gd name="csY38" fmla="*/ 92706 h 231092"/>
                  <a:gd name="csX39" fmla="*/ 0 w 208102"/>
                  <a:gd name="csY39" fmla="*/ 203332 h 231092"/>
                  <a:gd name="csX40" fmla="*/ 10851 w 208102"/>
                  <a:gd name="csY40" fmla="*/ 214183 h 231092"/>
                  <a:gd name="csX41" fmla="*/ 161551 w 208102"/>
                  <a:gd name="csY41" fmla="*/ 28621 h 231092"/>
                  <a:gd name="csX42" fmla="*/ 177803 w 208102"/>
                  <a:gd name="csY42" fmla="*/ 7076 h 231092"/>
                  <a:gd name="csX43" fmla="*/ 180438 w 208102"/>
                  <a:gd name="csY43" fmla="*/ 22314 h 231092"/>
                  <a:gd name="csX44" fmla="*/ 186030 w 208102"/>
                  <a:gd name="csY44" fmla="*/ 26533 h 231092"/>
                  <a:gd name="csX45" fmla="*/ 201409 w 208102"/>
                  <a:gd name="csY45" fmla="*/ 24881 h 231092"/>
                  <a:gd name="csX46" fmla="*/ 185153 w 208102"/>
                  <a:gd name="csY46" fmla="*/ 46431 h 231092"/>
                  <a:gd name="csX47" fmla="*/ 184004 w 208102"/>
                  <a:gd name="csY47" fmla="*/ 46993 h 231092"/>
                  <a:gd name="csX48" fmla="*/ 164588 w 208102"/>
                  <a:gd name="csY48" fmla="*/ 48771 h 231092"/>
                  <a:gd name="csX49" fmla="*/ 161322 w 208102"/>
                  <a:gd name="csY49" fmla="*/ 29884 h 231092"/>
                  <a:gd name="csX50" fmla="*/ 161551 w 208102"/>
                  <a:gd name="csY50" fmla="*/ 28621 h 231092"/>
                  <a:gd name="csX51" fmla="*/ 28738 w 208102"/>
                  <a:gd name="csY51" fmla="*/ 79583 h 231092"/>
                  <a:gd name="csX52" fmla="*/ 32534 w 208102"/>
                  <a:gd name="csY52" fmla="*/ 75787 h 231092"/>
                  <a:gd name="csX53" fmla="*/ 77856 w 208102"/>
                  <a:gd name="csY53" fmla="*/ 75787 h 231092"/>
                  <a:gd name="csX54" fmla="*/ 97162 w 208102"/>
                  <a:gd name="csY54" fmla="*/ 85622 h 231092"/>
                  <a:gd name="csX55" fmla="*/ 97737 w 208102"/>
                  <a:gd name="csY55" fmla="*/ 86413 h 231092"/>
                  <a:gd name="csX56" fmla="*/ 99675 w 208102"/>
                  <a:gd name="csY56" fmla="*/ 87398 h 231092"/>
                  <a:gd name="csX57" fmla="*/ 99677 w 208102"/>
                  <a:gd name="csY57" fmla="*/ 87398 h 231092"/>
                  <a:gd name="csX58" fmla="*/ 101615 w 208102"/>
                  <a:gd name="csY58" fmla="*/ 86409 h 231092"/>
                  <a:gd name="csX59" fmla="*/ 102186 w 208102"/>
                  <a:gd name="csY59" fmla="*/ 85620 h 231092"/>
                  <a:gd name="csX60" fmla="*/ 121491 w 208102"/>
                  <a:gd name="csY60" fmla="*/ 75787 h 231092"/>
                  <a:gd name="csX61" fmla="*/ 142610 w 208102"/>
                  <a:gd name="csY61" fmla="*/ 75787 h 231092"/>
                  <a:gd name="csX62" fmla="*/ 117456 w 208102"/>
                  <a:gd name="csY62" fmla="*/ 111162 h 231092"/>
                  <a:gd name="csX63" fmla="*/ 102081 w 208102"/>
                  <a:gd name="csY63" fmla="*/ 106141 h 231092"/>
                  <a:gd name="csX64" fmla="*/ 102081 w 208102"/>
                  <a:gd name="csY64" fmla="*/ 102342 h 231092"/>
                  <a:gd name="csX65" fmla="*/ 99684 w 208102"/>
                  <a:gd name="csY65" fmla="*/ 99946 h 231092"/>
                  <a:gd name="csX66" fmla="*/ 97288 w 208102"/>
                  <a:gd name="csY66" fmla="*/ 102342 h 231092"/>
                  <a:gd name="csX67" fmla="*/ 97288 w 208102"/>
                  <a:gd name="csY67" fmla="*/ 106142 h 231092"/>
                  <a:gd name="csX68" fmla="*/ 66314 w 208102"/>
                  <a:gd name="csY68" fmla="*/ 137099 h 231092"/>
                  <a:gd name="csX69" fmla="*/ 62531 w 208102"/>
                  <a:gd name="csY69" fmla="*/ 137099 h 231092"/>
                  <a:gd name="csX70" fmla="*/ 60135 w 208102"/>
                  <a:gd name="csY70" fmla="*/ 139495 h 231092"/>
                  <a:gd name="csX71" fmla="*/ 62531 w 208102"/>
                  <a:gd name="csY71" fmla="*/ 141892 h 231092"/>
                  <a:gd name="csX72" fmla="*/ 66316 w 208102"/>
                  <a:gd name="csY72" fmla="*/ 141892 h 231092"/>
                  <a:gd name="csX73" fmla="*/ 97288 w 208102"/>
                  <a:gd name="csY73" fmla="*/ 172851 h 231092"/>
                  <a:gd name="csX74" fmla="*/ 97288 w 208102"/>
                  <a:gd name="csY74" fmla="*/ 176649 h 231092"/>
                  <a:gd name="csX75" fmla="*/ 99684 w 208102"/>
                  <a:gd name="csY75" fmla="*/ 179045 h 231092"/>
                  <a:gd name="csX76" fmla="*/ 102081 w 208102"/>
                  <a:gd name="csY76" fmla="*/ 176649 h 231092"/>
                  <a:gd name="csX77" fmla="*/ 102081 w 208102"/>
                  <a:gd name="csY77" fmla="*/ 172851 h 231092"/>
                  <a:gd name="csX78" fmla="*/ 133069 w 208102"/>
                  <a:gd name="csY78" fmla="*/ 141892 h 231092"/>
                  <a:gd name="csX79" fmla="*/ 136838 w 208102"/>
                  <a:gd name="csY79" fmla="*/ 141892 h 231092"/>
                  <a:gd name="csX80" fmla="*/ 139234 w 208102"/>
                  <a:gd name="csY80" fmla="*/ 139495 h 231092"/>
                  <a:gd name="csX81" fmla="*/ 136838 w 208102"/>
                  <a:gd name="csY81" fmla="*/ 137099 h 231092"/>
                  <a:gd name="csX82" fmla="*/ 133072 w 208102"/>
                  <a:gd name="csY82" fmla="*/ 137099 h 231092"/>
                  <a:gd name="csX83" fmla="*/ 121333 w 208102"/>
                  <a:gd name="csY83" fmla="*/ 113981 h 231092"/>
                  <a:gd name="csX84" fmla="*/ 148492 w 208102"/>
                  <a:gd name="csY84" fmla="*/ 75787 h 231092"/>
                  <a:gd name="csX85" fmla="*/ 166835 w 208102"/>
                  <a:gd name="csY85" fmla="*/ 75787 h 231092"/>
                  <a:gd name="csX86" fmla="*/ 170633 w 208102"/>
                  <a:gd name="csY86" fmla="*/ 79583 h 231092"/>
                  <a:gd name="csX87" fmla="*/ 170633 w 208102"/>
                  <a:gd name="csY87" fmla="*/ 187492 h 231092"/>
                  <a:gd name="csX88" fmla="*/ 115361 w 208102"/>
                  <a:gd name="csY88" fmla="*/ 187492 h 231092"/>
                  <a:gd name="csX89" fmla="*/ 99684 w 208102"/>
                  <a:gd name="csY89" fmla="*/ 196598 h 231092"/>
                  <a:gd name="csX90" fmla="*/ 84011 w 208102"/>
                  <a:gd name="csY90" fmla="*/ 187492 h 231092"/>
                  <a:gd name="csX91" fmla="*/ 28738 w 208102"/>
                  <a:gd name="csY91" fmla="*/ 187492 h 231092"/>
                  <a:gd name="csX92" fmla="*/ 125928 w 208102"/>
                  <a:gd name="csY92" fmla="*/ 141892 h 231092"/>
                  <a:gd name="csX93" fmla="*/ 128277 w 208102"/>
                  <a:gd name="csY93" fmla="*/ 141892 h 231092"/>
                  <a:gd name="csX94" fmla="*/ 102081 w 208102"/>
                  <a:gd name="csY94" fmla="*/ 168059 h 231092"/>
                  <a:gd name="csX95" fmla="*/ 102081 w 208102"/>
                  <a:gd name="csY95" fmla="*/ 165739 h 231092"/>
                  <a:gd name="csX96" fmla="*/ 99684 w 208102"/>
                  <a:gd name="csY96" fmla="*/ 163343 h 231092"/>
                  <a:gd name="csX97" fmla="*/ 97288 w 208102"/>
                  <a:gd name="csY97" fmla="*/ 165739 h 231092"/>
                  <a:gd name="csX98" fmla="*/ 97288 w 208102"/>
                  <a:gd name="csY98" fmla="*/ 168058 h 231092"/>
                  <a:gd name="csX99" fmla="*/ 71108 w 208102"/>
                  <a:gd name="csY99" fmla="*/ 141892 h 231092"/>
                  <a:gd name="csX100" fmla="*/ 73443 w 208102"/>
                  <a:gd name="csY100" fmla="*/ 141892 h 231092"/>
                  <a:gd name="csX101" fmla="*/ 75839 w 208102"/>
                  <a:gd name="csY101" fmla="*/ 139495 h 231092"/>
                  <a:gd name="csX102" fmla="*/ 73443 w 208102"/>
                  <a:gd name="csY102" fmla="*/ 137099 h 231092"/>
                  <a:gd name="csX103" fmla="*/ 71106 w 208102"/>
                  <a:gd name="csY103" fmla="*/ 137099 h 231092"/>
                  <a:gd name="csX104" fmla="*/ 97288 w 208102"/>
                  <a:gd name="csY104" fmla="*/ 110935 h 231092"/>
                  <a:gd name="csX105" fmla="*/ 97288 w 208102"/>
                  <a:gd name="csY105" fmla="*/ 113254 h 231092"/>
                  <a:gd name="csX106" fmla="*/ 99684 w 208102"/>
                  <a:gd name="csY106" fmla="*/ 115650 h 231092"/>
                  <a:gd name="csX107" fmla="*/ 102081 w 208102"/>
                  <a:gd name="csY107" fmla="*/ 113254 h 231092"/>
                  <a:gd name="csX108" fmla="*/ 102081 w 208102"/>
                  <a:gd name="csY108" fmla="*/ 110934 h 231092"/>
                  <a:gd name="csX109" fmla="*/ 114675 w 208102"/>
                  <a:gd name="csY109" fmla="*/ 115073 h 231092"/>
                  <a:gd name="csX110" fmla="*/ 98294 w 208102"/>
                  <a:gd name="csY110" fmla="*/ 138110 h 231092"/>
                  <a:gd name="csX111" fmla="*/ 98861 w 208102"/>
                  <a:gd name="csY111" fmla="*/ 141452 h 231092"/>
                  <a:gd name="csX112" fmla="*/ 100246 w 208102"/>
                  <a:gd name="csY112" fmla="*/ 141894 h 231092"/>
                  <a:gd name="csX113" fmla="*/ 102202 w 208102"/>
                  <a:gd name="csY113" fmla="*/ 140885 h 231092"/>
                  <a:gd name="csX114" fmla="*/ 118541 w 208102"/>
                  <a:gd name="csY114" fmla="*/ 117908 h 231092"/>
                  <a:gd name="csX115" fmla="*/ 128279 w 208102"/>
                  <a:gd name="csY115" fmla="*/ 137099 h 231092"/>
                  <a:gd name="csX116" fmla="*/ 125928 w 208102"/>
                  <a:gd name="csY116" fmla="*/ 137099 h 231092"/>
                  <a:gd name="csX117" fmla="*/ 123532 w 208102"/>
                  <a:gd name="csY117" fmla="*/ 139495 h 231092"/>
                  <a:gd name="csX118" fmla="*/ 125928 w 208102"/>
                  <a:gd name="csY118" fmla="*/ 141892 h 231092"/>
                  <a:gd name="csX119" fmla="*/ 4792 w 208102"/>
                  <a:gd name="csY119" fmla="*/ 92706 h 231092"/>
                  <a:gd name="csX120" fmla="*/ 10851 w 208102"/>
                  <a:gd name="csY120" fmla="*/ 86647 h 231092"/>
                  <a:gd name="csX121" fmla="*/ 23946 w 208102"/>
                  <a:gd name="csY121" fmla="*/ 86647 h 231092"/>
                  <a:gd name="csX122" fmla="*/ 23946 w 208102"/>
                  <a:gd name="csY122" fmla="*/ 189889 h 231092"/>
                  <a:gd name="csX123" fmla="*/ 26342 w 208102"/>
                  <a:gd name="csY123" fmla="*/ 192285 h 231092"/>
                  <a:gd name="csX124" fmla="*/ 84011 w 208102"/>
                  <a:gd name="csY124" fmla="*/ 192285 h 231092"/>
                  <a:gd name="csX125" fmla="*/ 97288 w 208102"/>
                  <a:gd name="csY125" fmla="*/ 205602 h 231092"/>
                  <a:gd name="csX126" fmla="*/ 99684 w 208102"/>
                  <a:gd name="csY126" fmla="*/ 207998 h 231092"/>
                  <a:gd name="csX127" fmla="*/ 102081 w 208102"/>
                  <a:gd name="csY127" fmla="*/ 205602 h 231092"/>
                  <a:gd name="csX128" fmla="*/ 115361 w 208102"/>
                  <a:gd name="csY128" fmla="*/ 192285 h 231092"/>
                  <a:gd name="csX129" fmla="*/ 173029 w 208102"/>
                  <a:gd name="csY129" fmla="*/ 192285 h 231092"/>
                  <a:gd name="csX130" fmla="*/ 175425 w 208102"/>
                  <a:gd name="csY130" fmla="*/ 189889 h 231092"/>
                  <a:gd name="csX131" fmla="*/ 175425 w 208102"/>
                  <a:gd name="csY131" fmla="*/ 86647 h 231092"/>
                  <a:gd name="csX132" fmla="*/ 188497 w 208102"/>
                  <a:gd name="csY132" fmla="*/ 86647 h 231092"/>
                  <a:gd name="csX133" fmla="*/ 194555 w 208102"/>
                  <a:gd name="csY133" fmla="*/ 92706 h 231092"/>
                  <a:gd name="csX134" fmla="*/ 194555 w 208102"/>
                  <a:gd name="csY134" fmla="*/ 203332 h 231092"/>
                  <a:gd name="csX135" fmla="*/ 188497 w 208102"/>
                  <a:gd name="csY135" fmla="*/ 209391 h 231092"/>
                  <a:gd name="csX136" fmla="*/ 124199 w 208102"/>
                  <a:gd name="csY136" fmla="*/ 209391 h 231092"/>
                  <a:gd name="csX137" fmla="*/ 113362 w 208102"/>
                  <a:gd name="csY137" fmla="*/ 216689 h 231092"/>
                  <a:gd name="csX138" fmla="*/ 99666 w 208102"/>
                  <a:gd name="csY138" fmla="*/ 226300 h 231092"/>
                  <a:gd name="csX139" fmla="*/ 85986 w 208102"/>
                  <a:gd name="csY139" fmla="*/ 216689 h 231092"/>
                  <a:gd name="csX140" fmla="*/ 75147 w 208102"/>
                  <a:gd name="csY140" fmla="*/ 209391 h 231092"/>
                  <a:gd name="csX141" fmla="*/ 10851 w 208102"/>
                  <a:gd name="csY141" fmla="*/ 209391 h 231092"/>
                  <a:gd name="csX142" fmla="*/ 4792 w 208102"/>
                  <a:gd name="csY142" fmla="*/ 203332 h 23109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Lst>
                <a:rect l="l" t="t" r="r" b="b"/>
                <a:pathLst>
                  <a:path w="208102" h="231092">
                    <a:moveTo>
                      <a:pt x="10851" y="214183"/>
                    </a:moveTo>
                    <a:lnTo>
                      <a:pt x="75147" y="214183"/>
                    </a:lnTo>
                    <a:cubicBezTo>
                      <a:pt x="78051" y="214183"/>
                      <a:pt x="80594" y="215838"/>
                      <a:pt x="81472" y="218302"/>
                    </a:cubicBezTo>
                    <a:cubicBezTo>
                      <a:pt x="84205" y="225951"/>
                      <a:pt x="91518" y="231092"/>
                      <a:pt x="99682" y="231092"/>
                    </a:cubicBezTo>
                    <a:cubicBezTo>
                      <a:pt x="107833" y="231092"/>
                      <a:pt x="115143" y="225951"/>
                      <a:pt x="117874" y="218299"/>
                    </a:cubicBezTo>
                    <a:cubicBezTo>
                      <a:pt x="118754" y="215838"/>
                      <a:pt x="121295" y="214183"/>
                      <a:pt x="124199" y="214183"/>
                    </a:cubicBezTo>
                    <a:lnTo>
                      <a:pt x="188497" y="214183"/>
                    </a:lnTo>
                    <a:cubicBezTo>
                      <a:pt x="194480" y="214183"/>
                      <a:pt x="199348" y="209316"/>
                      <a:pt x="199348" y="203332"/>
                    </a:cubicBezTo>
                    <a:lnTo>
                      <a:pt x="199348" y="92706"/>
                    </a:lnTo>
                    <a:cubicBezTo>
                      <a:pt x="199348" y="86722"/>
                      <a:pt x="194480" y="81855"/>
                      <a:pt x="188497" y="81855"/>
                    </a:cubicBezTo>
                    <a:lnTo>
                      <a:pt x="175425" y="81855"/>
                    </a:lnTo>
                    <a:lnTo>
                      <a:pt x="175425" y="79583"/>
                    </a:lnTo>
                    <a:cubicBezTo>
                      <a:pt x="175425" y="74846"/>
                      <a:pt x="171571" y="70995"/>
                      <a:pt x="166835" y="70995"/>
                    </a:cubicBezTo>
                    <a:lnTo>
                      <a:pt x="151899" y="70995"/>
                    </a:lnTo>
                    <a:lnTo>
                      <a:pt x="164201" y="53694"/>
                    </a:lnTo>
                    <a:cubicBezTo>
                      <a:pt x="164456" y="53735"/>
                      <a:pt x="164698" y="53835"/>
                      <a:pt x="164958" y="53835"/>
                    </a:cubicBezTo>
                    <a:cubicBezTo>
                      <a:pt x="165124" y="53835"/>
                      <a:pt x="165290" y="53826"/>
                      <a:pt x="165459" y="53807"/>
                    </a:cubicBezTo>
                    <a:lnTo>
                      <a:pt x="184516" y="51757"/>
                    </a:lnTo>
                    <a:cubicBezTo>
                      <a:pt x="186360" y="51560"/>
                      <a:pt x="187947" y="50690"/>
                      <a:pt x="188984" y="49314"/>
                    </a:cubicBezTo>
                    <a:lnTo>
                      <a:pt x="207505" y="24757"/>
                    </a:lnTo>
                    <a:cubicBezTo>
                      <a:pt x="208233" y="23793"/>
                      <a:pt x="208301" y="22518"/>
                      <a:pt x="207683" y="21427"/>
                    </a:cubicBezTo>
                    <a:cubicBezTo>
                      <a:pt x="207019" y="20255"/>
                      <a:pt x="205715" y="19569"/>
                      <a:pt x="204444" y="19735"/>
                    </a:cubicBezTo>
                    <a:lnTo>
                      <a:pt x="185160" y="21500"/>
                    </a:lnTo>
                    <a:lnTo>
                      <a:pt x="181917" y="2742"/>
                    </a:lnTo>
                    <a:cubicBezTo>
                      <a:pt x="181692" y="1445"/>
                      <a:pt x="180700" y="407"/>
                      <a:pt x="179394" y="93"/>
                    </a:cubicBezTo>
                    <a:cubicBezTo>
                      <a:pt x="178175" y="-202"/>
                      <a:pt x="176972" y="217"/>
                      <a:pt x="176247" y="1176"/>
                    </a:cubicBezTo>
                    <a:lnTo>
                      <a:pt x="157725" y="25731"/>
                    </a:lnTo>
                    <a:cubicBezTo>
                      <a:pt x="156684" y="27109"/>
                      <a:pt x="156284" y="28873"/>
                      <a:pt x="156599" y="30699"/>
                    </a:cubicBezTo>
                    <a:lnTo>
                      <a:pt x="159866" y="49588"/>
                    </a:lnTo>
                    <a:cubicBezTo>
                      <a:pt x="159944" y="50040"/>
                      <a:pt x="160144" y="50446"/>
                      <a:pt x="160342" y="50851"/>
                    </a:cubicBezTo>
                    <a:lnTo>
                      <a:pt x="146018" y="70995"/>
                    </a:lnTo>
                    <a:lnTo>
                      <a:pt x="121491" y="70995"/>
                    </a:lnTo>
                    <a:cubicBezTo>
                      <a:pt x="113088" y="70995"/>
                      <a:pt x="105088" y="74725"/>
                      <a:pt x="99675" y="81071"/>
                    </a:cubicBezTo>
                    <a:cubicBezTo>
                      <a:pt x="94260" y="74725"/>
                      <a:pt x="86259" y="70995"/>
                      <a:pt x="77856" y="70995"/>
                    </a:cubicBezTo>
                    <a:lnTo>
                      <a:pt x="32534" y="70995"/>
                    </a:lnTo>
                    <a:cubicBezTo>
                      <a:pt x="27798" y="70995"/>
                      <a:pt x="23946" y="74846"/>
                      <a:pt x="23946" y="79583"/>
                    </a:cubicBezTo>
                    <a:lnTo>
                      <a:pt x="23946" y="81855"/>
                    </a:lnTo>
                    <a:lnTo>
                      <a:pt x="10851" y="81855"/>
                    </a:lnTo>
                    <a:cubicBezTo>
                      <a:pt x="4867" y="81855"/>
                      <a:pt x="0" y="86722"/>
                      <a:pt x="0" y="92706"/>
                    </a:cubicBezTo>
                    <a:lnTo>
                      <a:pt x="0" y="203332"/>
                    </a:lnTo>
                    <a:cubicBezTo>
                      <a:pt x="0" y="209316"/>
                      <a:pt x="4867" y="214183"/>
                      <a:pt x="10851" y="214183"/>
                    </a:cubicBezTo>
                    <a:close/>
                    <a:moveTo>
                      <a:pt x="161551" y="28621"/>
                    </a:moveTo>
                    <a:lnTo>
                      <a:pt x="177803" y="7076"/>
                    </a:lnTo>
                    <a:lnTo>
                      <a:pt x="180438" y="22314"/>
                    </a:lnTo>
                    <a:cubicBezTo>
                      <a:pt x="180880" y="24881"/>
                      <a:pt x="183456" y="26840"/>
                      <a:pt x="186030" y="26533"/>
                    </a:cubicBezTo>
                    <a:lnTo>
                      <a:pt x="201409" y="24881"/>
                    </a:lnTo>
                    <a:lnTo>
                      <a:pt x="185153" y="46431"/>
                    </a:lnTo>
                    <a:cubicBezTo>
                      <a:pt x="184858" y="46824"/>
                      <a:pt x="184367" y="46953"/>
                      <a:pt x="184004" y="46993"/>
                    </a:cubicBezTo>
                    <a:lnTo>
                      <a:pt x="164588" y="48771"/>
                    </a:lnTo>
                    <a:lnTo>
                      <a:pt x="161322" y="29884"/>
                    </a:lnTo>
                    <a:cubicBezTo>
                      <a:pt x="161235" y="29379"/>
                      <a:pt x="161315" y="28930"/>
                      <a:pt x="161551" y="28621"/>
                    </a:cubicBezTo>
                    <a:close/>
                    <a:moveTo>
                      <a:pt x="28738" y="79583"/>
                    </a:moveTo>
                    <a:cubicBezTo>
                      <a:pt x="28738" y="77491"/>
                      <a:pt x="30442" y="75787"/>
                      <a:pt x="32534" y="75787"/>
                    </a:cubicBezTo>
                    <a:lnTo>
                      <a:pt x="77856" y="75787"/>
                    </a:lnTo>
                    <a:cubicBezTo>
                      <a:pt x="85469" y="75787"/>
                      <a:pt x="92685" y="79463"/>
                      <a:pt x="97162" y="85622"/>
                    </a:cubicBezTo>
                    <a:lnTo>
                      <a:pt x="97737" y="86413"/>
                    </a:lnTo>
                    <a:cubicBezTo>
                      <a:pt x="98189" y="87031"/>
                      <a:pt x="98910" y="87398"/>
                      <a:pt x="99675" y="87398"/>
                    </a:cubicBezTo>
                    <a:lnTo>
                      <a:pt x="99677" y="87398"/>
                    </a:lnTo>
                    <a:cubicBezTo>
                      <a:pt x="100445" y="87398"/>
                      <a:pt x="101166" y="87029"/>
                      <a:pt x="101615" y="86409"/>
                    </a:cubicBezTo>
                    <a:lnTo>
                      <a:pt x="102186" y="85620"/>
                    </a:lnTo>
                    <a:cubicBezTo>
                      <a:pt x="106663" y="79463"/>
                      <a:pt x="113879" y="75787"/>
                      <a:pt x="121491" y="75787"/>
                    </a:cubicBezTo>
                    <a:lnTo>
                      <a:pt x="142610" y="75787"/>
                    </a:lnTo>
                    <a:lnTo>
                      <a:pt x="117456" y="111162"/>
                    </a:lnTo>
                    <a:cubicBezTo>
                      <a:pt x="112936" y="108324"/>
                      <a:pt x="107703" y="106540"/>
                      <a:pt x="102081" y="106141"/>
                    </a:cubicBezTo>
                    <a:lnTo>
                      <a:pt x="102081" y="102342"/>
                    </a:lnTo>
                    <a:cubicBezTo>
                      <a:pt x="102081" y="101018"/>
                      <a:pt x="101009" y="99946"/>
                      <a:pt x="99684" y="99946"/>
                    </a:cubicBezTo>
                    <a:cubicBezTo>
                      <a:pt x="98360" y="99946"/>
                      <a:pt x="97288" y="101018"/>
                      <a:pt x="97288" y="102342"/>
                    </a:cubicBezTo>
                    <a:lnTo>
                      <a:pt x="97288" y="106142"/>
                    </a:lnTo>
                    <a:cubicBezTo>
                      <a:pt x="80727" y="107326"/>
                      <a:pt x="67485" y="120559"/>
                      <a:pt x="66314" y="137099"/>
                    </a:cubicBezTo>
                    <a:lnTo>
                      <a:pt x="62531" y="137099"/>
                    </a:lnTo>
                    <a:cubicBezTo>
                      <a:pt x="61207" y="137099"/>
                      <a:pt x="60135" y="138171"/>
                      <a:pt x="60135" y="139495"/>
                    </a:cubicBezTo>
                    <a:cubicBezTo>
                      <a:pt x="60135" y="140820"/>
                      <a:pt x="61207" y="141892"/>
                      <a:pt x="62531" y="141892"/>
                    </a:cubicBezTo>
                    <a:lnTo>
                      <a:pt x="66316" y="141892"/>
                    </a:lnTo>
                    <a:cubicBezTo>
                      <a:pt x="67507" y="158437"/>
                      <a:pt x="80741" y="171666"/>
                      <a:pt x="97288" y="172851"/>
                    </a:cubicBezTo>
                    <a:lnTo>
                      <a:pt x="97288" y="176649"/>
                    </a:lnTo>
                    <a:cubicBezTo>
                      <a:pt x="97288" y="177973"/>
                      <a:pt x="98360" y="179045"/>
                      <a:pt x="99684" y="179045"/>
                    </a:cubicBezTo>
                    <a:cubicBezTo>
                      <a:pt x="101009" y="179045"/>
                      <a:pt x="102081" y="177973"/>
                      <a:pt x="102081" y="176649"/>
                    </a:cubicBezTo>
                    <a:lnTo>
                      <a:pt x="102081" y="172851"/>
                    </a:lnTo>
                    <a:cubicBezTo>
                      <a:pt x="118635" y="171676"/>
                      <a:pt x="131878" y="158443"/>
                      <a:pt x="133069" y="141892"/>
                    </a:cubicBezTo>
                    <a:lnTo>
                      <a:pt x="136838" y="141892"/>
                    </a:lnTo>
                    <a:cubicBezTo>
                      <a:pt x="138162" y="141892"/>
                      <a:pt x="139234" y="140820"/>
                      <a:pt x="139234" y="139495"/>
                    </a:cubicBezTo>
                    <a:cubicBezTo>
                      <a:pt x="139234" y="138171"/>
                      <a:pt x="138162" y="137099"/>
                      <a:pt x="136838" y="137099"/>
                    </a:cubicBezTo>
                    <a:lnTo>
                      <a:pt x="133072" y="137099"/>
                    </a:lnTo>
                    <a:cubicBezTo>
                      <a:pt x="132417" y="127855"/>
                      <a:pt x="128007" y="119640"/>
                      <a:pt x="121333" y="113981"/>
                    </a:cubicBezTo>
                    <a:lnTo>
                      <a:pt x="148492" y="75787"/>
                    </a:lnTo>
                    <a:lnTo>
                      <a:pt x="166835" y="75787"/>
                    </a:lnTo>
                    <a:cubicBezTo>
                      <a:pt x="168929" y="75787"/>
                      <a:pt x="170633" y="77491"/>
                      <a:pt x="170633" y="79583"/>
                    </a:cubicBezTo>
                    <a:lnTo>
                      <a:pt x="170633" y="187492"/>
                    </a:lnTo>
                    <a:lnTo>
                      <a:pt x="115361" y="187492"/>
                    </a:lnTo>
                    <a:cubicBezTo>
                      <a:pt x="108663" y="187492"/>
                      <a:pt x="102806" y="191162"/>
                      <a:pt x="99684" y="196598"/>
                    </a:cubicBezTo>
                    <a:cubicBezTo>
                      <a:pt x="96563" y="191162"/>
                      <a:pt x="90706" y="187492"/>
                      <a:pt x="84011" y="187492"/>
                    </a:cubicBezTo>
                    <a:lnTo>
                      <a:pt x="28738" y="187492"/>
                    </a:lnTo>
                    <a:close/>
                    <a:moveTo>
                      <a:pt x="125928" y="141892"/>
                    </a:moveTo>
                    <a:lnTo>
                      <a:pt x="128277" y="141892"/>
                    </a:lnTo>
                    <a:cubicBezTo>
                      <a:pt x="127108" y="155802"/>
                      <a:pt x="115994" y="166905"/>
                      <a:pt x="102081" y="168059"/>
                    </a:cubicBezTo>
                    <a:lnTo>
                      <a:pt x="102081" y="165739"/>
                    </a:lnTo>
                    <a:cubicBezTo>
                      <a:pt x="102081" y="164415"/>
                      <a:pt x="101009" y="163343"/>
                      <a:pt x="99684" y="163343"/>
                    </a:cubicBezTo>
                    <a:cubicBezTo>
                      <a:pt x="98360" y="163343"/>
                      <a:pt x="97288" y="164415"/>
                      <a:pt x="97288" y="165739"/>
                    </a:cubicBezTo>
                    <a:lnTo>
                      <a:pt x="97288" y="168058"/>
                    </a:lnTo>
                    <a:cubicBezTo>
                      <a:pt x="83381" y="166896"/>
                      <a:pt x="72277" y="155796"/>
                      <a:pt x="71108" y="141892"/>
                    </a:cubicBezTo>
                    <a:lnTo>
                      <a:pt x="73443" y="141892"/>
                    </a:lnTo>
                    <a:cubicBezTo>
                      <a:pt x="74767" y="141892"/>
                      <a:pt x="75839" y="140820"/>
                      <a:pt x="75839" y="139495"/>
                    </a:cubicBezTo>
                    <a:cubicBezTo>
                      <a:pt x="75839" y="138171"/>
                      <a:pt x="74767" y="137099"/>
                      <a:pt x="73443" y="137099"/>
                    </a:cubicBezTo>
                    <a:lnTo>
                      <a:pt x="71106" y="137099"/>
                    </a:lnTo>
                    <a:cubicBezTo>
                      <a:pt x="72256" y="123199"/>
                      <a:pt x="83367" y="112095"/>
                      <a:pt x="97288" y="110935"/>
                    </a:cubicBezTo>
                    <a:lnTo>
                      <a:pt x="97288" y="113254"/>
                    </a:lnTo>
                    <a:cubicBezTo>
                      <a:pt x="97288" y="114578"/>
                      <a:pt x="98360" y="115650"/>
                      <a:pt x="99684" y="115650"/>
                    </a:cubicBezTo>
                    <a:cubicBezTo>
                      <a:pt x="101009" y="115650"/>
                      <a:pt x="102081" y="114578"/>
                      <a:pt x="102081" y="113254"/>
                    </a:cubicBezTo>
                    <a:lnTo>
                      <a:pt x="102081" y="110934"/>
                    </a:lnTo>
                    <a:cubicBezTo>
                      <a:pt x="106672" y="111314"/>
                      <a:pt x="110948" y="112783"/>
                      <a:pt x="114675" y="115073"/>
                    </a:cubicBezTo>
                    <a:lnTo>
                      <a:pt x="98294" y="138110"/>
                    </a:lnTo>
                    <a:cubicBezTo>
                      <a:pt x="97529" y="139186"/>
                      <a:pt x="97782" y="140684"/>
                      <a:pt x="98861" y="141452"/>
                    </a:cubicBezTo>
                    <a:cubicBezTo>
                      <a:pt x="99282" y="141751"/>
                      <a:pt x="99766" y="141894"/>
                      <a:pt x="100246" y="141894"/>
                    </a:cubicBezTo>
                    <a:cubicBezTo>
                      <a:pt x="100995" y="141894"/>
                      <a:pt x="101734" y="141543"/>
                      <a:pt x="102202" y="140885"/>
                    </a:cubicBezTo>
                    <a:lnTo>
                      <a:pt x="118541" y="117908"/>
                    </a:lnTo>
                    <a:cubicBezTo>
                      <a:pt x="124006" y="122676"/>
                      <a:pt x="127647" y="129461"/>
                      <a:pt x="128279" y="137099"/>
                    </a:cubicBezTo>
                    <a:lnTo>
                      <a:pt x="125928" y="137099"/>
                    </a:lnTo>
                    <a:cubicBezTo>
                      <a:pt x="124604" y="137099"/>
                      <a:pt x="123532" y="138171"/>
                      <a:pt x="123532" y="139495"/>
                    </a:cubicBezTo>
                    <a:cubicBezTo>
                      <a:pt x="123532" y="140820"/>
                      <a:pt x="124604" y="141892"/>
                      <a:pt x="125928" y="141892"/>
                    </a:cubicBezTo>
                    <a:close/>
                    <a:moveTo>
                      <a:pt x="4792" y="92706"/>
                    </a:moveTo>
                    <a:cubicBezTo>
                      <a:pt x="4792" y="89364"/>
                      <a:pt x="7509" y="86647"/>
                      <a:pt x="10851" y="86647"/>
                    </a:cubicBezTo>
                    <a:lnTo>
                      <a:pt x="23946" y="86647"/>
                    </a:lnTo>
                    <a:lnTo>
                      <a:pt x="23946" y="189889"/>
                    </a:lnTo>
                    <a:cubicBezTo>
                      <a:pt x="23946" y="191213"/>
                      <a:pt x="25018" y="192285"/>
                      <a:pt x="26342" y="192285"/>
                    </a:cubicBezTo>
                    <a:lnTo>
                      <a:pt x="84011" y="192285"/>
                    </a:lnTo>
                    <a:cubicBezTo>
                      <a:pt x="91333" y="192285"/>
                      <a:pt x="97288" y="198259"/>
                      <a:pt x="97288" y="205602"/>
                    </a:cubicBezTo>
                    <a:cubicBezTo>
                      <a:pt x="97288" y="206927"/>
                      <a:pt x="98360" y="207998"/>
                      <a:pt x="99684" y="207998"/>
                    </a:cubicBezTo>
                    <a:cubicBezTo>
                      <a:pt x="101009" y="207998"/>
                      <a:pt x="102081" y="206927"/>
                      <a:pt x="102081" y="205602"/>
                    </a:cubicBezTo>
                    <a:cubicBezTo>
                      <a:pt x="102081" y="198259"/>
                      <a:pt x="108038" y="192285"/>
                      <a:pt x="115361" y="192285"/>
                    </a:cubicBezTo>
                    <a:lnTo>
                      <a:pt x="173029" y="192285"/>
                    </a:lnTo>
                    <a:cubicBezTo>
                      <a:pt x="174354" y="192285"/>
                      <a:pt x="175425" y="191213"/>
                      <a:pt x="175425" y="189889"/>
                    </a:cubicBezTo>
                    <a:lnTo>
                      <a:pt x="175425" y="86647"/>
                    </a:lnTo>
                    <a:lnTo>
                      <a:pt x="188497" y="86647"/>
                    </a:lnTo>
                    <a:cubicBezTo>
                      <a:pt x="191839" y="86647"/>
                      <a:pt x="194555" y="89364"/>
                      <a:pt x="194555" y="92706"/>
                    </a:cubicBezTo>
                    <a:lnTo>
                      <a:pt x="194555" y="203332"/>
                    </a:lnTo>
                    <a:cubicBezTo>
                      <a:pt x="194555" y="206674"/>
                      <a:pt x="191839" y="209391"/>
                      <a:pt x="188497" y="209391"/>
                    </a:cubicBezTo>
                    <a:lnTo>
                      <a:pt x="124199" y="209391"/>
                    </a:lnTo>
                    <a:cubicBezTo>
                      <a:pt x="119275" y="209391"/>
                      <a:pt x="114921" y="212323"/>
                      <a:pt x="113362" y="216689"/>
                    </a:cubicBezTo>
                    <a:cubicBezTo>
                      <a:pt x="111310" y="222437"/>
                      <a:pt x="105813" y="226300"/>
                      <a:pt x="99666" y="226300"/>
                    </a:cubicBezTo>
                    <a:cubicBezTo>
                      <a:pt x="93537" y="226300"/>
                      <a:pt x="88038" y="222437"/>
                      <a:pt x="85986" y="216689"/>
                    </a:cubicBezTo>
                    <a:cubicBezTo>
                      <a:pt x="84430" y="212325"/>
                      <a:pt x="80072" y="209391"/>
                      <a:pt x="75147" y="209391"/>
                    </a:cubicBezTo>
                    <a:lnTo>
                      <a:pt x="10851" y="209391"/>
                    </a:lnTo>
                    <a:cubicBezTo>
                      <a:pt x="7509" y="209391"/>
                      <a:pt x="4792" y="206674"/>
                      <a:pt x="4792" y="203332"/>
                    </a:cubicBezTo>
                    <a:close/>
                  </a:path>
                </a:pathLst>
              </a:custGeom>
              <a:grpFill/>
              <a:ln w="4673"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73" name="Freeform: Shape 172">
                <a:extLst>
                  <a:ext uri="{FF2B5EF4-FFF2-40B4-BE49-F238E27FC236}">
                    <a16:creationId xmlns:a16="http://schemas.microsoft.com/office/drawing/2014/main" id="{36E31331-D895-F904-57CF-F80CEE927981}"/>
                  </a:ext>
                </a:extLst>
              </p:cNvPr>
              <p:cNvSpPr/>
              <p:nvPr/>
            </p:nvSpPr>
            <p:spPr>
              <a:xfrm>
                <a:off x="988833" y="1562483"/>
                <a:ext cx="35524" cy="4792"/>
              </a:xfrm>
              <a:custGeom>
                <a:avLst/>
                <a:gdLst>
                  <a:gd name="csX0" fmla="*/ 2396 w 35524"/>
                  <a:gd name="csY0" fmla="*/ 4792 h 4792"/>
                  <a:gd name="csX1" fmla="*/ 33128 w 35524"/>
                  <a:gd name="csY1" fmla="*/ 4792 h 4792"/>
                  <a:gd name="csX2" fmla="*/ 35525 w 35524"/>
                  <a:gd name="csY2" fmla="*/ 2396 h 4792"/>
                  <a:gd name="csX3" fmla="*/ 33128 w 35524"/>
                  <a:gd name="csY3" fmla="*/ 0 h 4792"/>
                  <a:gd name="csX4" fmla="*/ 2396 w 35524"/>
                  <a:gd name="csY4" fmla="*/ 0 h 4792"/>
                  <a:gd name="csX5" fmla="*/ 0 w 35524"/>
                  <a:gd name="csY5" fmla="*/ 2396 h 4792"/>
                  <a:gd name="csX6" fmla="*/ 2396 w 35524"/>
                  <a:gd name="csY6" fmla="*/ 4792 h 4792"/>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5524" h="4792">
                    <a:moveTo>
                      <a:pt x="2396" y="4792"/>
                    </a:moveTo>
                    <a:lnTo>
                      <a:pt x="33128" y="4792"/>
                    </a:lnTo>
                    <a:cubicBezTo>
                      <a:pt x="34453" y="4792"/>
                      <a:pt x="35525" y="3721"/>
                      <a:pt x="35525" y="2396"/>
                    </a:cubicBezTo>
                    <a:cubicBezTo>
                      <a:pt x="35525" y="1072"/>
                      <a:pt x="34453" y="0"/>
                      <a:pt x="33128" y="0"/>
                    </a:cubicBezTo>
                    <a:lnTo>
                      <a:pt x="2396" y="0"/>
                    </a:lnTo>
                    <a:cubicBezTo>
                      <a:pt x="1072" y="0"/>
                      <a:pt x="0" y="1072"/>
                      <a:pt x="0" y="2396"/>
                    </a:cubicBezTo>
                    <a:cubicBezTo>
                      <a:pt x="0" y="3721"/>
                      <a:pt x="1072" y="4792"/>
                      <a:pt x="2396" y="4792"/>
                    </a:cubicBezTo>
                    <a:close/>
                  </a:path>
                </a:pathLst>
              </a:custGeom>
              <a:grpFill/>
              <a:ln w="4673"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74" name="Freeform: Shape 173">
                <a:extLst>
                  <a:ext uri="{FF2B5EF4-FFF2-40B4-BE49-F238E27FC236}">
                    <a16:creationId xmlns:a16="http://schemas.microsoft.com/office/drawing/2014/main" id="{9C963299-F2EF-2849-4697-DAFC0082BF38}"/>
                  </a:ext>
                </a:extLst>
              </p:cNvPr>
              <p:cNvSpPr/>
              <p:nvPr/>
            </p:nvSpPr>
            <p:spPr>
              <a:xfrm>
                <a:off x="988833" y="1582811"/>
                <a:ext cx="20157" cy="4792"/>
              </a:xfrm>
              <a:custGeom>
                <a:avLst/>
                <a:gdLst>
                  <a:gd name="csX0" fmla="*/ 2396 w 20157"/>
                  <a:gd name="csY0" fmla="*/ 4792 h 4792"/>
                  <a:gd name="csX1" fmla="*/ 17761 w 20157"/>
                  <a:gd name="csY1" fmla="*/ 4792 h 4792"/>
                  <a:gd name="csX2" fmla="*/ 20157 w 20157"/>
                  <a:gd name="csY2" fmla="*/ 2396 h 4792"/>
                  <a:gd name="csX3" fmla="*/ 17761 w 20157"/>
                  <a:gd name="csY3" fmla="*/ 0 h 4792"/>
                  <a:gd name="csX4" fmla="*/ 2396 w 20157"/>
                  <a:gd name="csY4" fmla="*/ 0 h 4792"/>
                  <a:gd name="csX5" fmla="*/ 0 w 20157"/>
                  <a:gd name="csY5" fmla="*/ 2396 h 4792"/>
                  <a:gd name="csX6" fmla="*/ 2396 w 20157"/>
                  <a:gd name="csY6" fmla="*/ 4792 h 4792"/>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0157" h="4792">
                    <a:moveTo>
                      <a:pt x="2396" y="4792"/>
                    </a:moveTo>
                    <a:lnTo>
                      <a:pt x="17761" y="4792"/>
                    </a:lnTo>
                    <a:cubicBezTo>
                      <a:pt x="19086" y="4792"/>
                      <a:pt x="20157" y="3721"/>
                      <a:pt x="20157" y="2396"/>
                    </a:cubicBezTo>
                    <a:cubicBezTo>
                      <a:pt x="20157" y="1072"/>
                      <a:pt x="19086" y="0"/>
                      <a:pt x="17761" y="0"/>
                    </a:cubicBezTo>
                    <a:lnTo>
                      <a:pt x="2396" y="0"/>
                    </a:lnTo>
                    <a:cubicBezTo>
                      <a:pt x="1072" y="0"/>
                      <a:pt x="0" y="1072"/>
                      <a:pt x="0" y="2396"/>
                    </a:cubicBezTo>
                    <a:cubicBezTo>
                      <a:pt x="0" y="3721"/>
                      <a:pt x="1072" y="4792"/>
                      <a:pt x="2396" y="4792"/>
                    </a:cubicBezTo>
                    <a:close/>
                  </a:path>
                </a:pathLst>
              </a:custGeom>
              <a:grpFill/>
              <a:ln w="4673"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75" name="Freeform: Shape 174">
                <a:extLst>
                  <a:ext uri="{FF2B5EF4-FFF2-40B4-BE49-F238E27FC236}">
                    <a16:creationId xmlns:a16="http://schemas.microsoft.com/office/drawing/2014/main" id="{B00D7449-20EA-2183-66CD-6DDD1FD0D989}"/>
                  </a:ext>
                </a:extLst>
              </p:cNvPr>
              <p:cNvSpPr/>
              <p:nvPr/>
            </p:nvSpPr>
            <p:spPr>
              <a:xfrm>
                <a:off x="988648" y="1641869"/>
                <a:ext cx="25939" cy="4792"/>
              </a:xfrm>
              <a:custGeom>
                <a:avLst/>
                <a:gdLst>
                  <a:gd name="csX0" fmla="*/ 23543 w 25939"/>
                  <a:gd name="csY0" fmla="*/ 0 h 4792"/>
                  <a:gd name="csX1" fmla="*/ 2396 w 25939"/>
                  <a:gd name="csY1" fmla="*/ 0 h 4792"/>
                  <a:gd name="csX2" fmla="*/ 0 w 25939"/>
                  <a:gd name="csY2" fmla="*/ 2396 h 4792"/>
                  <a:gd name="csX3" fmla="*/ 2396 w 25939"/>
                  <a:gd name="csY3" fmla="*/ 4792 h 4792"/>
                  <a:gd name="csX4" fmla="*/ 23543 w 25939"/>
                  <a:gd name="csY4" fmla="*/ 4792 h 4792"/>
                  <a:gd name="csX5" fmla="*/ 25940 w 25939"/>
                  <a:gd name="csY5" fmla="*/ 2396 h 4792"/>
                  <a:gd name="csX6" fmla="*/ 23543 w 25939"/>
                  <a:gd name="csY6" fmla="*/ 0 h 4792"/>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5939" h="4792">
                    <a:moveTo>
                      <a:pt x="23543" y="0"/>
                    </a:moveTo>
                    <a:lnTo>
                      <a:pt x="2396" y="0"/>
                    </a:lnTo>
                    <a:cubicBezTo>
                      <a:pt x="1072" y="0"/>
                      <a:pt x="0" y="1072"/>
                      <a:pt x="0" y="2396"/>
                    </a:cubicBezTo>
                    <a:cubicBezTo>
                      <a:pt x="0" y="3721"/>
                      <a:pt x="1072" y="4792"/>
                      <a:pt x="2396" y="4792"/>
                    </a:cubicBezTo>
                    <a:lnTo>
                      <a:pt x="23543" y="4792"/>
                    </a:lnTo>
                    <a:cubicBezTo>
                      <a:pt x="24868" y="4792"/>
                      <a:pt x="25940" y="3721"/>
                      <a:pt x="25940" y="2396"/>
                    </a:cubicBezTo>
                    <a:cubicBezTo>
                      <a:pt x="25940" y="1072"/>
                      <a:pt x="24868" y="0"/>
                      <a:pt x="23543" y="0"/>
                    </a:cubicBezTo>
                    <a:close/>
                  </a:path>
                </a:pathLst>
              </a:custGeom>
              <a:grpFill/>
              <a:ln w="4673"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76" name="Freeform: Shape 175">
                <a:extLst>
                  <a:ext uri="{FF2B5EF4-FFF2-40B4-BE49-F238E27FC236}">
                    <a16:creationId xmlns:a16="http://schemas.microsoft.com/office/drawing/2014/main" id="{40755F38-CD4F-E9DD-1264-1D621BF7F685}"/>
                  </a:ext>
                </a:extLst>
              </p:cNvPr>
              <p:cNvSpPr/>
              <p:nvPr/>
            </p:nvSpPr>
            <p:spPr>
              <a:xfrm>
                <a:off x="1078527" y="1641869"/>
                <a:ext cx="25941" cy="4792"/>
              </a:xfrm>
              <a:custGeom>
                <a:avLst/>
                <a:gdLst>
                  <a:gd name="csX0" fmla="*/ 2396 w 25941"/>
                  <a:gd name="csY0" fmla="*/ 4792 h 4792"/>
                  <a:gd name="csX1" fmla="*/ 23546 w 25941"/>
                  <a:gd name="csY1" fmla="*/ 4792 h 4792"/>
                  <a:gd name="csX2" fmla="*/ 25942 w 25941"/>
                  <a:gd name="csY2" fmla="*/ 2396 h 4792"/>
                  <a:gd name="csX3" fmla="*/ 23546 w 25941"/>
                  <a:gd name="csY3" fmla="*/ 0 h 4792"/>
                  <a:gd name="csX4" fmla="*/ 2396 w 25941"/>
                  <a:gd name="csY4" fmla="*/ 0 h 4792"/>
                  <a:gd name="csX5" fmla="*/ 0 w 25941"/>
                  <a:gd name="csY5" fmla="*/ 2396 h 4792"/>
                  <a:gd name="csX6" fmla="*/ 2396 w 25941"/>
                  <a:gd name="csY6" fmla="*/ 4792 h 4792"/>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5941" h="4792">
                    <a:moveTo>
                      <a:pt x="2396" y="4792"/>
                    </a:moveTo>
                    <a:lnTo>
                      <a:pt x="23546" y="4792"/>
                    </a:lnTo>
                    <a:cubicBezTo>
                      <a:pt x="24870" y="4792"/>
                      <a:pt x="25942" y="3721"/>
                      <a:pt x="25942" y="2396"/>
                    </a:cubicBezTo>
                    <a:cubicBezTo>
                      <a:pt x="25942" y="1072"/>
                      <a:pt x="24870" y="0"/>
                      <a:pt x="23546" y="0"/>
                    </a:cubicBezTo>
                    <a:lnTo>
                      <a:pt x="2396" y="0"/>
                    </a:lnTo>
                    <a:cubicBezTo>
                      <a:pt x="1072" y="0"/>
                      <a:pt x="0" y="1072"/>
                      <a:pt x="0" y="2396"/>
                    </a:cubicBezTo>
                    <a:cubicBezTo>
                      <a:pt x="0" y="3721"/>
                      <a:pt x="1072" y="4792"/>
                      <a:pt x="2396" y="4792"/>
                    </a:cubicBezTo>
                    <a:close/>
                  </a:path>
                </a:pathLst>
              </a:custGeom>
              <a:grpFill/>
              <a:ln w="4673"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77" name="Group 176">
            <a:extLst>
              <a:ext uri="{FF2B5EF4-FFF2-40B4-BE49-F238E27FC236}">
                <a16:creationId xmlns:a16="http://schemas.microsoft.com/office/drawing/2014/main" id="{740296FC-24EB-22DE-605D-6B2EB7544DF0}"/>
              </a:ext>
            </a:extLst>
          </p:cNvPr>
          <p:cNvGrpSpPr>
            <a:grpSpLocks noChangeAspect="1"/>
          </p:cNvGrpSpPr>
          <p:nvPr/>
        </p:nvGrpSpPr>
        <p:grpSpPr>
          <a:xfrm>
            <a:off x="7957391" y="4022458"/>
            <a:ext cx="415636" cy="415636"/>
            <a:chOff x="7936609" y="4526857"/>
            <a:chExt cx="457200" cy="457200"/>
          </a:xfrm>
        </p:grpSpPr>
        <p:sp>
          <p:nvSpPr>
            <p:cNvPr id="178" name="Oval 177">
              <a:extLst>
                <a:ext uri="{FF2B5EF4-FFF2-40B4-BE49-F238E27FC236}">
                  <a16:creationId xmlns:a16="http://schemas.microsoft.com/office/drawing/2014/main" id="{81226D1C-F54C-ED19-DC75-0F77897DCB31}"/>
                </a:ext>
              </a:extLst>
            </p:cNvPr>
            <p:cNvSpPr>
              <a:spLocks noChangeAspect="1"/>
            </p:cNvSpPr>
            <p:nvPr/>
          </p:nvSpPr>
          <p:spPr>
            <a:xfrm>
              <a:off x="7936609" y="4526857"/>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grpSp>
          <p:nvGrpSpPr>
            <p:cNvPr id="179" name="Pic">
              <a:extLst>
                <a:ext uri="{FF2B5EF4-FFF2-40B4-BE49-F238E27FC236}">
                  <a16:creationId xmlns:a16="http://schemas.microsoft.com/office/drawing/2014/main" id="{73BBF092-3F0E-F403-86D5-5406B14FC303}"/>
                </a:ext>
              </a:extLst>
            </p:cNvPr>
            <p:cNvGrpSpPr>
              <a:grpSpLocks noChangeAspect="1"/>
            </p:cNvGrpSpPr>
            <p:nvPr/>
          </p:nvGrpSpPr>
          <p:grpSpPr>
            <a:xfrm>
              <a:off x="8049885" y="4631257"/>
              <a:ext cx="230648" cy="248400"/>
              <a:chOff x="935750" y="1819317"/>
              <a:chExt cx="230648" cy="248400"/>
            </a:xfrm>
            <a:solidFill>
              <a:schemeClr val="bg1"/>
            </a:solidFill>
          </p:grpSpPr>
          <p:sp>
            <p:nvSpPr>
              <p:cNvPr id="180" name="Freeform: Shape 179">
                <a:extLst>
                  <a:ext uri="{FF2B5EF4-FFF2-40B4-BE49-F238E27FC236}">
                    <a16:creationId xmlns:a16="http://schemas.microsoft.com/office/drawing/2014/main" id="{6E23CA21-BBD7-DBCD-14E6-EED15D3A9E73}"/>
                  </a:ext>
                </a:extLst>
              </p:cNvPr>
              <p:cNvSpPr/>
              <p:nvPr/>
            </p:nvSpPr>
            <p:spPr>
              <a:xfrm>
                <a:off x="935750" y="1984123"/>
                <a:ext cx="83594" cy="83594"/>
              </a:xfrm>
              <a:custGeom>
                <a:avLst/>
                <a:gdLst>
                  <a:gd name="csX0" fmla="*/ 41797 w 83594"/>
                  <a:gd name="csY0" fmla="*/ 83594 h 83594"/>
                  <a:gd name="csX1" fmla="*/ 0 w 83594"/>
                  <a:gd name="csY1" fmla="*/ 41797 h 83594"/>
                  <a:gd name="csX2" fmla="*/ 41797 w 83594"/>
                  <a:gd name="csY2" fmla="*/ 0 h 83594"/>
                  <a:gd name="csX3" fmla="*/ 83594 w 83594"/>
                  <a:gd name="csY3" fmla="*/ 41797 h 83594"/>
                  <a:gd name="csX4" fmla="*/ 41797 w 83594"/>
                  <a:gd name="csY4" fmla="*/ 83594 h 83594"/>
                  <a:gd name="csX5" fmla="*/ 41797 w 83594"/>
                  <a:gd name="csY5" fmla="*/ 5644 h 83594"/>
                  <a:gd name="csX6" fmla="*/ 5644 w 83594"/>
                  <a:gd name="csY6" fmla="*/ 41797 h 83594"/>
                  <a:gd name="csX7" fmla="*/ 41797 w 83594"/>
                  <a:gd name="csY7" fmla="*/ 77950 h 83594"/>
                  <a:gd name="csX8" fmla="*/ 77950 w 83594"/>
                  <a:gd name="csY8" fmla="*/ 41797 h 83594"/>
                  <a:gd name="csX9" fmla="*/ 41797 w 83594"/>
                  <a:gd name="csY9" fmla="*/ 5644 h 8359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83594" h="83594">
                    <a:moveTo>
                      <a:pt x="41797" y="83594"/>
                    </a:moveTo>
                    <a:cubicBezTo>
                      <a:pt x="18751" y="83594"/>
                      <a:pt x="0" y="64843"/>
                      <a:pt x="0" y="41797"/>
                    </a:cubicBezTo>
                    <a:cubicBezTo>
                      <a:pt x="0" y="18751"/>
                      <a:pt x="18751" y="0"/>
                      <a:pt x="41797" y="0"/>
                    </a:cubicBezTo>
                    <a:cubicBezTo>
                      <a:pt x="64843" y="0"/>
                      <a:pt x="83594" y="18751"/>
                      <a:pt x="83594" y="41797"/>
                    </a:cubicBezTo>
                    <a:cubicBezTo>
                      <a:pt x="83594" y="64843"/>
                      <a:pt x="64843" y="83594"/>
                      <a:pt x="41797" y="83594"/>
                    </a:cubicBezTo>
                    <a:close/>
                    <a:moveTo>
                      <a:pt x="41797" y="5644"/>
                    </a:moveTo>
                    <a:cubicBezTo>
                      <a:pt x="21861" y="5644"/>
                      <a:pt x="5644" y="21861"/>
                      <a:pt x="5644" y="41797"/>
                    </a:cubicBezTo>
                    <a:cubicBezTo>
                      <a:pt x="5644" y="61733"/>
                      <a:pt x="21861" y="77950"/>
                      <a:pt x="41797" y="77950"/>
                    </a:cubicBezTo>
                    <a:cubicBezTo>
                      <a:pt x="61733" y="77950"/>
                      <a:pt x="77950" y="61733"/>
                      <a:pt x="77950" y="41797"/>
                    </a:cubicBezTo>
                    <a:cubicBezTo>
                      <a:pt x="77950" y="21861"/>
                      <a:pt x="61728" y="5644"/>
                      <a:pt x="41797" y="5644"/>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1" name="Freeform: Shape 180">
                <a:extLst>
                  <a:ext uri="{FF2B5EF4-FFF2-40B4-BE49-F238E27FC236}">
                    <a16:creationId xmlns:a16="http://schemas.microsoft.com/office/drawing/2014/main" id="{3BF8BC2D-2B26-75D0-F141-9F126E74945C}"/>
                  </a:ext>
                </a:extLst>
              </p:cNvPr>
              <p:cNvSpPr/>
              <p:nvPr/>
            </p:nvSpPr>
            <p:spPr>
              <a:xfrm>
                <a:off x="953992" y="2027569"/>
                <a:ext cx="47108" cy="34182"/>
              </a:xfrm>
              <a:custGeom>
                <a:avLst/>
                <a:gdLst>
                  <a:gd name="csX0" fmla="*/ 44281 w 47108"/>
                  <a:gd name="csY0" fmla="*/ 34183 h 34182"/>
                  <a:gd name="csX1" fmla="*/ 41458 w 47108"/>
                  <a:gd name="csY1" fmla="*/ 31361 h 34182"/>
                  <a:gd name="csX2" fmla="*/ 41458 w 47108"/>
                  <a:gd name="csY2" fmla="*/ 11695 h 34182"/>
                  <a:gd name="csX3" fmla="*/ 35408 w 47108"/>
                  <a:gd name="csY3" fmla="*/ 5644 h 34182"/>
                  <a:gd name="csX4" fmla="*/ 11695 w 47108"/>
                  <a:gd name="csY4" fmla="*/ 5644 h 34182"/>
                  <a:gd name="csX5" fmla="*/ 5644 w 47108"/>
                  <a:gd name="csY5" fmla="*/ 11695 h 34182"/>
                  <a:gd name="csX6" fmla="*/ 5644 w 47108"/>
                  <a:gd name="csY6" fmla="*/ 31361 h 34182"/>
                  <a:gd name="csX7" fmla="*/ 2822 w 47108"/>
                  <a:gd name="csY7" fmla="*/ 34183 h 34182"/>
                  <a:gd name="csX8" fmla="*/ 0 w 47108"/>
                  <a:gd name="csY8" fmla="*/ 31361 h 34182"/>
                  <a:gd name="csX9" fmla="*/ 0 w 47108"/>
                  <a:gd name="csY9" fmla="*/ 11695 h 34182"/>
                  <a:gd name="csX10" fmla="*/ 11695 w 47108"/>
                  <a:gd name="csY10" fmla="*/ 0 h 34182"/>
                  <a:gd name="csX11" fmla="*/ 35413 w 47108"/>
                  <a:gd name="csY11" fmla="*/ 0 h 34182"/>
                  <a:gd name="csX12" fmla="*/ 47109 w 47108"/>
                  <a:gd name="csY12" fmla="*/ 11695 h 34182"/>
                  <a:gd name="csX13" fmla="*/ 47109 w 47108"/>
                  <a:gd name="csY13" fmla="*/ 31361 h 34182"/>
                  <a:gd name="csX14" fmla="*/ 44281 w 47108"/>
                  <a:gd name="csY14" fmla="*/ 34183 h 3418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47108" h="34182">
                    <a:moveTo>
                      <a:pt x="44281" y="34183"/>
                    </a:moveTo>
                    <a:cubicBezTo>
                      <a:pt x="42723" y="34183"/>
                      <a:pt x="41458" y="32918"/>
                      <a:pt x="41458" y="31361"/>
                    </a:cubicBezTo>
                    <a:lnTo>
                      <a:pt x="41458" y="11695"/>
                    </a:lnTo>
                    <a:cubicBezTo>
                      <a:pt x="41458" y="8359"/>
                      <a:pt x="38743" y="5644"/>
                      <a:pt x="35408" y="5644"/>
                    </a:cubicBezTo>
                    <a:lnTo>
                      <a:pt x="11695" y="5644"/>
                    </a:lnTo>
                    <a:cubicBezTo>
                      <a:pt x="8359" y="5644"/>
                      <a:pt x="5644" y="8359"/>
                      <a:pt x="5644" y="11695"/>
                    </a:cubicBezTo>
                    <a:lnTo>
                      <a:pt x="5644" y="31361"/>
                    </a:lnTo>
                    <a:cubicBezTo>
                      <a:pt x="5644" y="32918"/>
                      <a:pt x="4380" y="34183"/>
                      <a:pt x="2822" y="34183"/>
                    </a:cubicBezTo>
                    <a:cubicBezTo>
                      <a:pt x="1264" y="34183"/>
                      <a:pt x="0" y="32918"/>
                      <a:pt x="0" y="31361"/>
                    </a:cubicBezTo>
                    <a:lnTo>
                      <a:pt x="0" y="11695"/>
                    </a:lnTo>
                    <a:cubicBezTo>
                      <a:pt x="0" y="5249"/>
                      <a:pt x="5244" y="0"/>
                      <a:pt x="11695" y="0"/>
                    </a:cubicBezTo>
                    <a:lnTo>
                      <a:pt x="35413" y="0"/>
                    </a:lnTo>
                    <a:cubicBezTo>
                      <a:pt x="41859" y="0"/>
                      <a:pt x="47109" y="5244"/>
                      <a:pt x="47109" y="11695"/>
                    </a:cubicBezTo>
                    <a:lnTo>
                      <a:pt x="47109" y="31361"/>
                    </a:lnTo>
                    <a:cubicBezTo>
                      <a:pt x="47103" y="32918"/>
                      <a:pt x="45844" y="34183"/>
                      <a:pt x="44281" y="34183"/>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2" name="Freeform: Shape 181">
                <a:extLst>
                  <a:ext uri="{FF2B5EF4-FFF2-40B4-BE49-F238E27FC236}">
                    <a16:creationId xmlns:a16="http://schemas.microsoft.com/office/drawing/2014/main" id="{395F2D2F-A87B-7BBF-263C-97124CF64BBE}"/>
                  </a:ext>
                </a:extLst>
              </p:cNvPr>
              <p:cNvSpPr/>
              <p:nvPr/>
            </p:nvSpPr>
            <p:spPr>
              <a:xfrm>
                <a:off x="962544" y="1994650"/>
                <a:ext cx="30005" cy="30005"/>
              </a:xfrm>
              <a:custGeom>
                <a:avLst/>
                <a:gdLst>
                  <a:gd name="csX0" fmla="*/ 15003 w 30005"/>
                  <a:gd name="csY0" fmla="*/ 30006 h 30005"/>
                  <a:gd name="csX1" fmla="*/ 0 w 30005"/>
                  <a:gd name="csY1" fmla="*/ 15003 h 30005"/>
                  <a:gd name="csX2" fmla="*/ 15003 w 30005"/>
                  <a:gd name="csY2" fmla="*/ 0 h 30005"/>
                  <a:gd name="csX3" fmla="*/ 30006 w 30005"/>
                  <a:gd name="csY3" fmla="*/ 15003 h 30005"/>
                  <a:gd name="csX4" fmla="*/ 15003 w 30005"/>
                  <a:gd name="csY4" fmla="*/ 30006 h 30005"/>
                  <a:gd name="csX5" fmla="*/ 15003 w 30005"/>
                  <a:gd name="csY5" fmla="*/ 5644 h 30005"/>
                  <a:gd name="csX6" fmla="*/ 5644 w 30005"/>
                  <a:gd name="csY6" fmla="*/ 15003 h 30005"/>
                  <a:gd name="csX7" fmla="*/ 15003 w 30005"/>
                  <a:gd name="csY7" fmla="*/ 24361 h 30005"/>
                  <a:gd name="csX8" fmla="*/ 24361 w 30005"/>
                  <a:gd name="csY8" fmla="*/ 15003 h 30005"/>
                  <a:gd name="csX9" fmla="*/ 15003 w 30005"/>
                  <a:gd name="csY9" fmla="*/ 5644 h 3000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30005" h="30005">
                    <a:moveTo>
                      <a:pt x="15003" y="30006"/>
                    </a:moveTo>
                    <a:cubicBezTo>
                      <a:pt x="6734" y="30006"/>
                      <a:pt x="0" y="23278"/>
                      <a:pt x="0" y="15003"/>
                    </a:cubicBezTo>
                    <a:cubicBezTo>
                      <a:pt x="0" y="6728"/>
                      <a:pt x="6728" y="0"/>
                      <a:pt x="15003" y="0"/>
                    </a:cubicBezTo>
                    <a:cubicBezTo>
                      <a:pt x="23278" y="0"/>
                      <a:pt x="30006" y="6728"/>
                      <a:pt x="30006" y="15003"/>
                    </a:cubicBezTo>
                    <a:cubicBezTo>
                      <a:pt x="30006" y="23278"/>
                      <a:pt x="23272" y="30006"/>
                      <a:pt x="15003" y="30006"/>
                    </a:cubicBezTo>
                    <a:close/>
                    <a:moveTo>
                      <a:pt x="15003" y="5644"/>
                    </a:moveTo>
                    <a:cubicBezTo>
                      <a:pt x="9844" y="5644"/>
                      <a:pt x="5644" y="9844"/>
                      <a:pt x="5644" y="15003"/>
                    </a:cubicBezTo>
                    <a:cubicBezTo>
                      <a:pt x="5644" y="20162"/>
                      <a:pt x="9844" y="24361"/>
                      <a:pt x="15003" y="24361"/>
                    </a:cubicBezTo>
                    <a:cubicBezTo>
                      <a:pt x="20162" y="24361"/>
                      <a:pt x="24361" y="20162"/>
                      <a:pt x="24361" y="15003"/>
                    </a:cubicBezTo>
                    <a:cubicBezTo>
                      <a:pt x="24361" y="9844"/>
                      <a:pt x="20162" y="5644"/>
                      <a:pt x="15003" y="5644"/>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3" name="Freeform: Shape 182">
                <a:extLst>
                  <a:ext uri="{FF2B5EF4-FFF2-40B4-BE49-F238E27FC236}">
                    <a16:creationId xmlns:a16="http://schemas.microsoft.com/office/drawing/2014/main" id="{0EBE2456-D3A8-4908-59AE-6280EF3AA57A}"/>
                  </a:ext>
                </a:extLst>
              </p:cNvPr>
              <p:cNvSpPr/>
              <p:nvPr/>
            </p:nvSpPr>
            <p:spPr>
              <a:xfrm>
                <a:off x="1032557" y="1948795"/>
                <a:ext cx="133841" cy="86529"/>
              </a:xfrm>
              <a:custGeom>
                <a:avLst/>
                <a:gdLst>
                  <a:gd name="csX0" fmla="*/ 131013 w 133841"/>
                  <a:gd name="csY0" fmla="*/ 86529 h 86529"/>
                  <a:gd name="csX1" fmla="*/ 2822 w 133841"/>
                  <a:gd name="csY1" fmla="*/ 86529 h 86529"/>
                  <a:gd name="csX2" fmla="*/ 0 w 133841"/>
                  <a:gd name="csY2" fmla="*/ 83707 h 86529"/>
                  <a:gd name="csX3" fmla="*/ 0 w 133841"/>
                  <a:gd name="csY3" fmla="*/ 38687 h 86529"/>
                  <a:gd name="csX4" fmla="*/ 38687 w 133841"/>
                  <a:gd name="csY4" fmla="*/ 0 h 86529"/>
                  <a:gd name="csX5" fmla="*/ 49507 w 133841"/>
                  <a:gd name="csY5" fmla="*/ 0 h 86529"/>
                  <a:gd name="csX6" fmla="*/ 51641 w 133841"/>
                  <a:gd name="csY6" fmla="*/ 976 h 86529"/>
                  <a:gd name="csX7" fmla="*/ 66921 w 133841"/>
                  <a:gd name="csY7" fmla="*/ 18644 h 86529"/>
                  <a:gd name="csX8" fmla="*/ 82200 w 133841"/>
                  <a:gd name="csY8" fmla="*/ 976 h 86529"/>
                  <a:gd name="csX9" fmla="*/ 84334 w 133841"/>
                  <a:gd name="csY9" fmla="*/ 0 h 86529"/>
                  <a:gd name="csX10" fmla="*/ 95154 w 133841"/>
                  <a:gd name="csY10" fmla="*/ 0 h 86529"/>
                  <a:gd name="csX11" fmla="*/ 133841 w 133841"/>
                  <a:gd name="csY11" fmla="*/ 38687 h 86529"/>
                  <a:gd name="csX12" fmla="*/ 133841 w 133841"/>
                  <a:gd name="csY12" fmla="*/ 83707 h 86529"/>
                  <a:gd name="csX13" fmla="*/ 131013 w 133841"/>
                  <a:gd name="csY13" fmla="*/ 86529 h 86529"/>
                  <a:gd name="csX14" fmla="*/ 5644 w 133841"/>
                  <a:gd name="csY14" fmla="*/ 80885 h 86529"/>
                  <a:gd name="csX15" fmla="*/ 128191 w 133841"/>
                  <a:gd name="csY15" fmla="*/ 80885 h 86529"/>
                  <a:gd name="csX16" fmla="*/ 128191 w 133841"/>
                  <a:gd name="csY16" fmla="*/ 38687 h 86529"/>
                  <a:gd name="csX17" fmla="*/ 95148 w 133841"/>
                  <a:gd name="csY17" fmla="*/ 5644 h 86529"/>
                  <a:gd name="csX18" fmla="*/ 85621 w 133841"/>
                  <a:gd name="csY18" fmla="*/ 5644 h 86529"/>
                  <a:gd name="csX19" fmla="*/ 69054 w 133841"/>
                  <a:gd name="csY19" fmla="*/ 24802 h 86529"/>
                  <a:gd name="csX20" fmla="*/ 66921 w 133841"/>
                  <a:gd name="csY20" fmla="*/ 25778 h 86529"/>
                  <a:gd name="csX21" fmla="*/ 64787 w 133841"/>
                  <a:gd name="csY21" fmla="*/ 24802 h 86529"/>
                  <a:gd name="csX22" fmla="*/ 48220 w 133841"/>
                  <a:gd name="csY22" fmla="*/ 5644 h 86529"/>
                  <a:gd name="csX23" fmla="*/ 38687 w 133841"/>
                  <a:gd name="csY23" fmla="*/ 5644 h 86529"/>
                  <a:gd name="csX24" fmla="*/ 5644 w 133841"/>
                  <a:gd name="csY24" fmla="*/ 38687 h 8652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Lst>
                <a:rect l="l" t="t" r="r" b="b"/>
                <a:pathLst>
                  <a:path w="133841" h="86529">
                    <a:moveTo>
                      <a:pt x="131013" y="86529"/>
                    </a:moveTo>
                    <a:lnTo>
                      <a:pt x="2822" y="86529"/>
                    </a:lnTo>
                    <a:cubicBezTo>
                      <a:pt x="1264" y="86529"/>
                      <a:pt x="0" y="85265"/>
                      <a:pt x="0" y="83707"/>
                    </a:cubicBezTo>
                    <a:lnTo>
                      <a:pt x="0" y="38687"/>
                    </a:lnTo>
                    <a:cubicBezTo>
                      <a:pt x="0" y="17357"/>
                      <a:pt x="17357" y="0"/>
                      <a:pt x="38687" y="0"/>
                    </a:cubicBezTo>
                    <a:lnTo>
                      <a:pt x="49507" y="0"/>
                    </a:lnTo>
                    <a:cubicBezTo>
                      <a:pt x="50326" y="0"/>
                      <a:pt x="51105" y="356"/>
                      <a:pt x="51641" y="976"/>
                    </a:cubicBezTo>
                    <a:lnTo>
                      <a:pt x="66921" y="18644"/>
                    </a:lnTo>
                    <a:lnTo>
                      <a:pt x="82200" y="976"/>
                    </a:lnTo>
                    <a:cubicBezTo>
                      <a:pt x="82736" y="356"/>
                      <a:pt x="83515" y="0"/>
                      <a:pt x="84334" y="0"/>
                    </a:cubicBezTo>
                    <a:lnTo>
                      <a:pt x="95154" y="0"/>
                    </a:lnTo>
                    <a:cubicBezTo>
                      <a:pt x="116484" y="0"/>
                      <a:pt x="133841" y="17357"/>
                      <a:pt x="133841" y="38687"/>
                    </a:cubicBezTo>
                    <a:lnTo>
                      <a:pt x="133841" y="83707"/>
                    </a:lnTo>
                    <a:cubicBezTo>
                      <a:pt x="133835" y="85271"/>
                      <a:pt x="132571" y="86529"/>
                      <a:pt x="131013" y="86529"/>
                    </a:cubicBezTo>
                    <a:close/>
                    <a:moveTo>
                      <a:pt x="5644" y="80885"/>
                    </a:moveTo>
                    <a:lnTo>
                      <a:pt x="128191" y="80885"/>
                    </a:lnTo>
                    <a:lnTo>
                      <a:pt x="128191" y="38687"/>
                    </a:lnTo>
                    <a:cubicBezTo>
                      <a:pt x="128191" y="20467"/>
                      <a:pt x="113369" y="5644"/>
                      <a:pt x="95148" y="5644"/>
                    </a:cubicBezTo>
                    <a:lnTo>
                      <a:pt x="85621" y="5644"/>
                    </a:lnTo>
                    <a:lnTo>
                      <a:pt x="69054" y="24802"/>
                    </a:lnTo>
                    <a:cubicBezTo>
                      <a:pt x="68518" y="25423"/>
                      <a:pt x="67739" y="25778"/>
                      <a:pt x="66921" y="25778"/>
                    </a:cubicBezTo>
                    <a:cubicBezTo>
                      <a:pt x="66102" y="25778"/>
                      <a:pt x="65323" y="25423"/>
                      <a:pt x="64787" y="24802"/>
                    </a:cubicBezTo>
                    <a:lnTo>
                      <a:pt x="48220" y="5644"/>
                    </a:lnTo>
                    <a:lnTo>
                      <a:pt x="38687" y="5644"/>
                    </a:lnTo>
                    <a:cubicBezTo>
                      <a:pt x="20467" y="5644"/>
                      <a:pt x="5644" y="20467"/>
                      <a:pt x="5644" y="38687"/>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4" name="Freeform: Shape 183">
                <a:extLst>
                  <a:ext uri="{FF2B5EF4-FFF2-40B4-BE49-F238E27FC236}">
                    <a16:creationId xmlns:a16="http://schemas.microsoft.com/office/drawing/2014/main" id="{6E7CC7C7-5A57-453A-4F11-3F9211755518}"/>
                  </a:ext>
                </a:extLst>
              </p:cNvPr>
              <p:cNvSpPr/>
              <p:nvPr/>
            </p:nvSpPr>
            <p:spPr>
              <a:xfrm>
                <a:off x="1058313" y="1992804"/>
                <a:ext cx="5644" cy="42519"/>
              </a:xfrm>
              <a:custGeom>
                <a:avLst/>
                <a:gdLst>
                  <a:gd name="csX0" fmla="*/ 2822 w 5644"/>
                  <a:gd name="csY0" fmla="*/ 42520 h 42519"/>
                  <a:gd name="csX1" fmla="*/ 0 w 5644"/>
                  <a:gd name="csY1" fmla="*/ 39697 h 42519"/>
                  <a:gd name="csX2" fmla="*/ 0 w 5644"/>
                  <a:gd name="csY2" fmla="*/ 2822 h 42519"/>
                  <a:gd name="csX3" fmla="*/ 2822 w 5644"/>
                  <a:gd name="csY3" fmla="*/ 0 h 42519"/>
                  <a:gd name="csX4" fmla="*/ 5644 w 5644"/>
                  <a:gd name="csY4" fmla="*/ 2822 h 42519"/>
                  <a:gd name="csX5" fmla="*/ 5644 w 5644"/>
                  <a:gd name="csY5" fmla="*/ 39697 h 42519"/>
                  <a:gd name="csX6" fmla="*/ 2822 w 5644"/>
                  <a:gd name="csY6" fmla="*/ 42520 h 4251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5644" h="42519">
                    <a:moveTo>
                      <a:pt x="2822" y="42520"/>
                    </a:moveTo>
                    <a:cubicBezTo>
                      <a:pt x="1264" y="42520"/>
                      <a:pt x="0" y="41255"/>
                      <a:pt x="0" y="39697"/>
                    </a:cubicBezTo>
                    <a:lnTo>
                      <a:pt x="0" y="2822"/>
                    </a:lnTo>
                    <a:cubicBezTo>
                      <a:pt x="0" y="1264"/>
                      <a:pt x="1264" y="0"/>
                      <a:pt x="2822" y="0"/>
                    </a:cubicBezTo>
                    <a:cubicBezTo>
                      <a:pt x="4380" y="0"/>
                      <a:pt x="5644" y="1264"/>
                      <a:pt x="5644" y="2822"/>
                    </a:cubicBezTo>
                    <a:lnTo>
                      <a:pt x="5644" y="39697"/>
                    </a:lnTo>
                    <a:cubicBezTo>
                      <a:pt x="5644" y="41261"/>
                      <a:pt x="4380" y="42520"/>
                      <a:pt x="2822" y="42520"/>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5" name="Freeform: Shape 184">
                <a:extLst>
                  <a:ext uri="{FF2B5EF4-FFF2-40B4-BE49-F238E27FC236}">
                    <a16:creationId xmlns:a16="http://schemas.microsoft.com/office/drawing/2014/main" id="{D438F73C-13E2-2638-4AA8-0688D4A24741}"/>
                  </a:ext>
                </a:extLst>
              </p:cNvPr>
              <p:cNvSpPr/>
              <p:nvPr/>
            </p:nvSpPr>
            <p:spPr>
              <a:xfrm>
                <a:off x="1079243" y="1933103"/>
                <a:ext cx="5644" cy="21341"/>
              </a:xfrm>
              <a:custGeom>
                <a:avLst/>
                <a:gdLst>
                  <a:gd name="csX0" fmla="*/ 2822 w 5644"/>
                  <a:gd name="csY0" fmla="*/ 21342 h 21341"/>
                  <a:gd name="csX1" fmla="*/ 0 w 5644"/>
                  <a:gd name="csY1" fmla="*/ 18519 h 21341"/>
                  <a:gd name="csX2" fmla="*/ 0 w 5644"/>
                  <a:gd name="csY2" fmla="*/ 2822 h 21341"/>
                  <a:gd name="csX3" fmla="*/ 2822 w 5644"/>
                  <a:gd name="csY3" fmla="*/ 0 h 21341"/>
                  <a:gd name="csX4" fmla="*/ 5644 w 5644"/>
                  <a:gd name="csY4" fmla="*/ 2822 h 21341"/>
                  <a:gd name="csX5" fmla="*/ 5644 w 5644"/>
                  <a:gd name="csY5" fmla="*/ 18519 h 21341"/>
                  <a:gd name="csX6" fmla="*/ 2822 w 5644"/>
                  <a:gd name="csY6" fmla="*/ 21342 h 21341"/>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5644" h="21341">
                    <a:moveTo>
                      <a:pt x="2822" y="21342"/>
                    </a:moveTo>
                    <a:cubicBezTo>
                      <a:pt x="1264" y="21342"/>
                      <a:pt x="0" y="20077"/>
                      <a:pt x="0" y="18519"/>
                    </a:cubicBezTo>
                    <a:lnTo>
                      <a:pt x="0" y="2822"/>
                    </a:lnTo>
                    <a:cubicBezTo>
                      <a:pt x="0" y="1264"/>
                      <a:pt x="1264" y="0"/>
                      <a:pt x="2822" y="0"/>
                    </a:cubicBezTo>
                    <a:cubicBezTo>
                      <a:pt x="4380" y="0"/>
                      <a:pt x="5644" y="1264"/>
                      <a:pt x="5644" y="2822"/>
                    </a:cubicBezTo>
                    <a:lnTo>
                      <a:pt x="5644" y="18519"/>
                    </a:lnTo>
                    <a:cubicBezTo>
                      <a:pt x="5644" y="20077"/>
                      <a:pt x="4380" y="21342"/>
                      <a:pt x="2822" y="21342"/>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6" name="Freeform: Shape 185">
                <a:extLst>
                  <a:ext uri="{FF2B5EF4-FFF2-40B4-BE49-F238E27FC236}">
                    <a16:creationId xmlns:a16="http://schemas.microsoft.com/office/drawing/2014/main" id="{6D61F04C-2979-CEC0-226E-C882C0D472A1}"/>
                  </a:ext>
                </a:extLst>
              </p:cNvPr>
              <p:cNvSpPr/>
              <p:nvPr/>
            </p:nvSpPr>
            <p:spPr>
              <a:xfrm>
                <a:off x="1114069" y="1933865"/>
                <a:ext cx="5644" cy="20579"/>
              </a:xfrm>
              <a:custGeom>
                <a:avLst/>
                <a:gdLst>
                  <a:gd name="csX0" fmla="*/ 2822 w 5644"/>
                  <a:gd name="csY0" fmla="*/ 20580 h 20579"/>
                  <a:gd name="csX1" fmla="*/ 0 w 5644"/>
                  <a:gd name="csY1" fmla="*/ 17757 h 20579"/>
                  <a:gd name="csX2" fmla="*/ 0 w 5644"/>
                  <a:gd name="csY2" fmla="*/ 2822 h 20579"/>
                  <a:gd name="csX3" fmla="*/ 2822 w 5644"/>
                  <a:gd name="csY3" fmla="*/ 0 h 20579"/>
                  <a:gd name="csX4" fmla="*/ 5644 w 5644"/>
                  <a:gd name="csY4" fmla="*/ 2822 h 20579"/>
                  <a:gd name="csX5" fmla="*/ 5644 w 5644"/>
                  <a:gd name="csY5" fmla="*/ 17757 h 20579"/>
                  <a:gd name="csX6" fmla="*/ 2822 w 5644"/>
                  <a:gd name="csY6" fmla="*/ 20580 h 2057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5644" h="20579">
                    <a:moveTo>
                      <a:pt x="2822" y="20580"/>
                    </a:moveTo>
                    <a:cubicBezTo>
                      <a:pt x="1264" y="20580"/>
                      <a:pt x="0" y="19315"/>
                      <a:pt x="0" y="17757"/>
                    </a:cubicBezTo>
                    <a:lnTo>
                      <a:pt x="0" y="2822"/>
                    </a:lnTo>
                    <a:cubicBezTo>
                      <a:pt x="0" y="1264"/>
                      <a:pt x="1264" y="0"/>
                      <a:pt x="2822" y="0"/>
                    </a:cubicBezTo>
                    <a:cubicBezTo>
                      <a:pt x="4380" y="0"/>
                      <a:pt x="5644" y="1264"/>
                      <a:pt x="5644" y="2822"/>
                    </a:cubicBezTo>
                    <a:lnTo>
                      <a:pt x="5644" y="17757"/>
                    </a:lnTo>
                    <a:cubicBezTo>
                      <a:pt x="5644" y="19315"/>
                      <a:pt x="4380" y="20580"/>
                      <a:pt x="2822" y="20580"/>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7" name="Freeform: Shape 186">
                <a:extLst>
                  <a:ext uri="{FF2B5EF4-FFF2-40B4-BE49-F238E27FC236}">
                    <a16:creationId xmlns:a16="http://schemas.microsoft.com/office/drawing/2014/main" id="{9E1765CD-E673-54E3-70E4-41B15DD6B285}"/>
                  </a:ext>
                </a:extLst>
              </p:cNvPr>
              <p:cNvSpPr/>
              <p:nvPr/>
            </p:nvSpPr>
            <p:spPr>
              <a:xfrm>
                <a:off x="1066502" y="1902510"/>
                <a:ext cx="66859" cy="42959"/>
              </a:xfrm>
              <a:custGeom>
                <a:avLst/>
                <a:gdLst>
                  <a:gd name="csX0" fmla="*/ 33433 w 66859"/>
                  <a:gd name="csY0" fmla="*/ 42960 h 42959"/>
                  <a:gd name="csX1" fmla="*/ 33388 w 66859"/>
                  <a:gd name="csY1" fmla="*/ 42960 h 42959"/>
                  <a:gd name="csX2" fmla="*/ 1 w 66859"/>
                  <a:gd name="csY2" fmla="*/ 2879 h 42959"/>
                  <a:gd name="csX3" fmla="*/ 2761 w 66859"/>
                  <a:gd name="csY3" fmla="*/ 0 h 42959"/>
                  <a:gd name="csX4" fmla="*/ 2823 w 66859"/>
                  <a:gd name="csY4" fmla="*/ 0 h 42959"/>
                  <a:gd name="csX5" fmla="*/ 5645 w 66859"/>
                  <a:gd name="csY5" fmla="*/ 2760 h 42959"/>
                  <a:gd name="csX6" fmla="*/ 33399 w 66859"/>
                  <a:gd name="csY6" fmla="*/ 37315 h 42959"/>
                  <a:gd name="csX7" fmla="*/ 33433 w 66859"/>
                  <a:gd name="csY7" fmla="*/ 37315 h 42959"/>
                  <a:gd name="csX8" fmla="*/ 61215 w 66859"/>
                  <a:gd name="csY8" fmla="*/ 2941 h 42959"/>
                  <a:gd name="csX9" fmla="*/ 64105 w 66859"/>
                  <a:gd name="csY9" fmla="*/ 186 h 42959"/>
                  <a:gd name="csX10" fmla="*/ 66859 w 66859"/>
                  <a:gd name="csY10" fmla="*/ 3076 h 42959"/>
                  <a:gd name="csX11" fmla="*/ 33433 w 66859"/>
                  <a:gd name="csY11" fmla="*/ 42960 h 4295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66859" h="42959">
                    <a:moveTo>
                      <a:pt x="33433" y="42960"/>
                    </a:moveTo>
                    <a:cubicBezTo>
                      <a:pt x="33416" y="42960"/>
                      <a:pt x="33404" y="42960"/>
                      <a:pt x="33388" y="42960"/>
                    </a:cubicBezTo>
                    <a:cubicBezTo>
                      <a:pt x="17713" y="42937"/>
                      <a:pt x="582" y="30384"/>
                      <a:pt x="1" y="2879"/>
                    </a:cubicBezTo>
                    <a:cubicBezTo>
                      <a:pt x="-33" y="1321"/>
                      <a:pt x="1203" y="28"/>
                      <a:pt x="2761" y="0"/>
                    </a:cubicBezTo>
                    <a:lnTo>
                      <a:pt x="2823" y="0"/>
                    </a:lnTo>
                    <a:cubicBezTo>
                      <a:pt x="4353" y="0"/>
                      <a:pt x="5611" y="1225"/>
                      <a:pt x="5645" y="2760"/>
                    </a:cubicBezTo>
                    <a:cubicBezTo>
                      <a:pt x="6147" y="26472"/>
                      <a:pt x="20383" y="37298"/>
                      <a:pt x="33399" y="37315"/>
                    </a:cubicBezTo>
                    <a:lnTo>
                      <a:pt x="33433" y="37315"/>
                    </a:lnTo>
                    <a:cubicBezTo>
                      <a:pt x="46421" y="37315"/>
                      <a:pt x="60645" y="26568"/>
                      <a:pt x="61215" y="2941"/>
                    </a:cubicBezTo>
                    <a:cubicBezTo>
                      <a:pt x="61254" y="1383"/>
                      <a:pt x="62530" y="152"/>
                      <a:pt x="64105" y="186"/>
                    </a:cubicBezTo>
                    <a:cubicBezTo>
                      <a:pt x="65662" y="226"/>
                      <a:pt x="66893" y="1518"/>
                      <a:pt x="66859" y="3076"/>
                    </a:cubicBezTo>
                    <a:cubicBezTo>
                      <a:pt x="66199" y="30486"/>
                      <a:pt x="49073" y="42960"/>
                      <a:pt x="33433" y="42960"/>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8" name="Freeform: Shape 187">
                <a:extLst>
                  <a:ext uri="{FF2B5EF4-FFF2-40B4-BE49-F238E27FC236}">
                    <a16:creationId xmlns:a16="http://schemas.microsoft.com/office/drawing/2014/main" id="{195B45B1-7280-A0F8-12E4-6A1D1FB189E3}"/>
                  </a:ext>
                </a:extLst>
              </p:cNvPr>
              <p:cNvSpPr/>
              <p:nvPr/>
            </p:nvSpPr>
            <p:spPr>
              <a:xfrm>
                <a:off x="1059653" y="1844784"/>
                <a:ext cx="79658" cy="63647"/>
              </a:xfrm>
              <a:custGeom>
                <a:avLst/>
                <a:gdLst>
                  <a:gd name="csX0" fmla="*/ 70886 w 79658"/>
                  <a:gd name="csY0" fmla="*/ 63648 h 63647"/>
                  <a:gd name="csX1" fmla="*/ 70231 w 79658"/>
                  <a:gd name="csY1" fmla="*/ 63569 h 63647"/>
                  <a:gd name="csX2" fmla="*/ 68064 w 79658"/>
                  <a:gd name="csY2" fmla="*/ 60905 h 63647"/>
                  <a:gd name="csX3" fmla="*/ 62058 w 79658"/>
                  <a:gd name="csY3" fmla="*/ 36605 h 63647"/>
                  <a:gd name="csX4" fmla="*/ 26673 w 79658"/>
                  <a:gd name="csY4" fmla="*/ 37424 h 63647"/>
                  <a:gd name="csX5" fmla="*/ 18235 w 79658"/>
                  <a:gd name="csY5" fmla="*/ 35838 h 63647"/>
                  <a:gd name="csX6" fmla="*/ 12212 w 79658"/>
                  <a:gd name="csY6" fmla="*/ 61779 h 63647"/>
                  <a:gd name="csX7" fmla="*/ 9921 w 79658"/>
                  <a:gd name="csY7" fmla="*/ 63360 h 63647"/>
                  <a:gd name="csX8" fmla="*/ 7392 w 79658"/>
                  <a:gd name="csY8" fmla="*/ 62203 h 63647"/>
                  <a:gd name="csX9" fmla="*/ 5507 w 79658"/>
                  <a:gd name="csY9" fmla="*/ 22692 h 63647"/>
                  <a:gd name="csX10" fmla="*/ 50165 w 79658"/>
                  <a:gd name="csY10" fmla="*/ 419 h 63647"/>
                  <a:gd name="csX11" fmla="*/ 71891 w 79658"/>
                  <a:gd name="csY11" fmla="*/ 21608 h 63647"/>
                  <a:gd name="csX12" fmla="*/ 73370 w 79658"/>
                  <a:gd name="csY12" fmla="*/ 62169 h 63647"/>
                  <a:gd name="csX13" fmla="*/ 70886 w 79658"/>
                  <a:gd name="csY13" fmla="*/ 63648 h 63647"/>
                  <a:gd name="csX14" fmla="*/ 44950 w 79658"/>
                  <a:gd name="csY14" fmla="*/ 5645 h 63647"/>
                  <a:gd name="csX15" fmla="*/ 10304 w 79658"/>
                  <a:gd name="csY15" fmla="*/ 25661 h 63647"/>
                  <a:gd name="csX16" fmla="*/ 9125 w 79658"/>
                  <a:gd name="csY16" fmla="*/ 54329 h 63647"/>
                  <a:gd name="csX17" fmla="*/ 12585 w 79658"/>
                  <a:gd name="csY17" fmla="*/ 34878 h 63647"/>
                  <a:gd name="csX18" fmla="*/ 13042 w 79658"/>
                  <a:gd name="csY18" fmla="*/ 33286 h 63647"/>
                  <a:gd name="csX19" fmla="*/ 28666 w 79658"/>
                  <a:gd name="csY19" fmla="*/ 32140 h 63647"/>
                  <a:gd name="csX20" fmla="*/ 60924 w 79658"/>
                  <a:gd name="csY20" fmla="*/ 30707 h 63647"/>
                  <a:gd name="csX21" fmla="*/ 63802 w 79658"/>
                  <a:gd name="csY21" fmla="*/ 30628 h 63647"/>
                  <a:gd name="csX22" fmla="*/ 72557 w 79658"/>
                  <a:gd name="csY22" fmla="*/ 48718 h 63647"/>
                  <a:gd name="csX23" fmla="*/ 67725 w 79658"/>
                  <a:gd name="csY23" fmla="*/ 25536 h 63647"/>
                  <a:gd name="csX24" fmla="*/ 66625 w 79658"/>
                  <a:gd name="csY24" fmla="*/ 23877 h 63647"/>
                  <a:gd name="csX25" fmla="*/ 49228 w 79658"/>
                  <a:gd name="csY25" fmla="*/ 5984 h 63647"/>
                  <a:gd name="csX26" fmla="*/ 44950 w 79658"/>
                  <a:gd name="csY26" fmla="*/ 5645 h 6364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Lst>
                <a:rect l="l" t="t" r="r" b="b"/>
                <a:pathLst>
                  <a:path w="79658" h="63647">
                    <a:moveTo>
                      <a:pt x="70886" y="63648"/>
                    </a:moveTo>
                    <a:cubicBezTo>
                      <a:pt x="70672" y="63648"/>
                      <a:pt x="70452" y="63625"/>
                      <a:pt x="70231" y="63569"/>
                    </a:cubicBezTo>
                    <a:cubicBezTo>
                      <a:pt x="68990" y="63275"/>
                      <a:pt x="68103" y="62180"/>
                      <a:pt x="68064" y="60905"/>
                    </a:cubicBezTo>
                    <a:cubicBezTo>
                      <a:pt x="67601" y="45343"/>
                      <a:pt x="63932" y="38897"/>
                      <a:pt x="62058" y="36605"/>
                    </a:cubicBezTo>
                    <a:cubicBezTo>
                      <a:pt x="47021" y="45117"/>
                      <a:pt x="34841" y="40511"/>
                      <a:pt x="26673" y="37424"/>
                    </a:cubicBezTo>
                    <a:cubicBezTo>
                      <a:pt x="21418" y="35437"/>
                      <a:pt x="19375" y="34884"/>
                      <a:pt x="18235" y="35838"/>
                    </a:cubicBezTo>
                    <a:cubicBezTo>
                      <a:pt x="18167" y="49362"/>
                      <a:pt x="12461" y="61266"/>
                      <a:pt x="12212" y="61779"/>
                    </a:cubicBezTo>
                    <a:cubicBezTo>
                      <a:pt x="11778" y="62671"/>
                      <a:pt x="10908" y="63270"/>
                      <a:pt x="9921" y="63360"/>
                    </a:cubicBezTo>
                    <a:cubicBezTo>
                      <a:pt x="8933" y="63445"/>
                      <a:pt x="7973" y="63010"/>
                      <a:pt x="7392" y="62203"/>
                    </a:cubicBezTo>
                    <a:cubicBezTo>
                      <a:pt x="-1769" y="49570"/>
                      <a:pt x="-2435" y="35538"/>
                      <a:pt x="5507" y="22692"/>
                    </a:cubicBezTo>
                    <a:cubicBezTo>
                      <a:pt x="14842" y="7598"/>
                      <a:pt x="34463" y="-2183"/>
                      <a:pt x="50165" y="419"/>
                    </a:cubicBezTo>
                    <a:cubicBezTo>
                      <a:pt x="61178" y="2247"/>
                      <a:pt x="68860" y="9755"/>
                      <a:pt x="71891" y="21608"/>
                    </a:cubicBezTo>
                    <a:cubicBezTo>
                      <a:pt x="88113" y="34528"/>
                      <a:pt x="73991" y="61029"/>
                      <a:pt x="73370" y="62169"/>
                    </a:cubicBezTo>
                    <a:cubicBezTo>
                      <a:pt x="72862" y="63095"/>
                      <a:pt x="71902" y="63648"/>
                      <a:pt x="70886" y="63648"/>
                    </a:cubicBezTo>
                    <a:close/>
                    <a:moveTo>
                      <a:pt x="44950" y="5645"/>
                    </a:moveTo>
                    <a:cubicBezTo>
                      <a:pt x="32323" y="5645"/>
                      <a:pt x="17546" y="13948"/>
                      <a:pt x="10304" y="25661"/>
                    </a:cubicBezTo>
                    <a:cubicBezTo>
                      <a:pt x="4581" y="34918"/>
                      <a:pt x="4208" y="44931"/>
                      <a:pt x="9125" y="54329"/>
                    </a:cubicBezTo>
                    <a:cubicBezTo>
                      <a:pt x="10733" y="49717"/>
                      <a:pt x="12720" y="42447"/>
                      <a:pt x="12585" y="34878"/>
                    </a:cubicBezTo>
                    <a:cubicBezTo>
                      <a:pt x="12573" y="34314"/>
                      <a:pt x="12737" y="33760"/>
                      <a:pt x="13042" y="33286"/>
                    </a:cubicBezTo>
                    <a:cubicBezTo>
                      <a:pt x="16739" y="27631"/>
                      <a:pt x="22801" y="29922"/>
                      <a:pt x="28666" y="32140"/>
                    </a:cubicBezTo>
                    <a:cubicBezTo>
                      <a:pt x="37014" y="35296"/>
                      <a:pt x="47400" y="39219"/>
                      <a:pt x="60924" y="30707"/>
                    </a:cubicBezTo>
                    <a:cubicBezTo>
                      <a:pt x="61799" y="30159"/>
                      <a:pt x="62899" y="30125"/>
                      <a:pt x="63802" y="30628"/>
                    </a:cubicBezTo>
                    <a:cubicBezTo>
                      <a:pt x="64559" y="31051"/>
                      <a:pt x="70079" y="34579"/>
                      <a:pt x="72557" y="48718"/>
                    </a:cubicBezTo>
                    <a:cubicBezTo>
                      <a:pt x="74645" y="40997"/>
                      <a:pt x="75345" y="31028"/>
                      <a:pt x="67725" y="25536"/>
                    </a:cubicBezTo>
                    <a:cubicBezTo>
                      <a:pt x="67166" y="25136"/>
                      <a:pt x="66777" y="24543"/>
                      <a:pt x="66625" y="23877"/>
                    </a:cubicBezTo>
                    <a:cubicBezTo>
                      <a:pt x="64288" y="13672"/>
                      <a:pt x="58276" y="7485"/>
                      <a:pt x="49228" y="5984"/>
                    </a:cubicBezTo>
                    <a:cubicBezTo>
                      <a:pt x="47846" y="5758"/>
                      <a:pt x="46412" y="5645"/>
                      <a:pt x="44950" y="5645"/>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9" name="Freeform: Shape 188">
                <a:extLst>
                  <a:ext uri="{FF2B5EF4-FFF2-40B4-BE49-F238E27FC236}">
                    <a16:creationId xmlns:a16="http://schemas.microsoft.com/office/drawing/2014/main" id="{9CB048E8-C02E-6DF0-498A-C3515AF9FA59}"/>
                  </a:ext>
                </a:extLst>
              </p:cNvPr>
              <p:cNvSpPr/>
              <p:nvPr/>
            </p:nvSpPr>
            <p:spPr>
              <a:xfrm>
                <a:off x="1134999" y="1992804"/>
                <a:ext cx="5644" cy="42519"/>
              </a:xfrm>
              <a:custGeom>
                <a:avLst/>
                <a:gdLst>
                  <a:gd name="csX0" fmla="*/ 2822 w 5644"/>
                  <a:gd name="csY0" fmla="*/ 42520 h 42519"/>
                  <a:gd name="csX1" fmla="*/ 0 w 5644"/>
                  <a:gd name="csY1" fmla="*/ 39697 h 42519"/>
                  <a:gd name="csX2" fmla="*/ 0 w 5644"/>
                  <a:gd name="csY2" fmla="*/ 2822 h 42519"/>
                  <a:gd name="csX3" fmla="*/ 2822 w 5644"/>
                  <a:gd name="csY3" fmla="*/ 0 h 42519"/>
                  <a:gd name="csX4" fmla="*/ 5644 w 5644"/>
                  <a:gd name="csY4" fmla="*/ 2822 h 42519"/>
                  <a:gd name="csX5" fmla="*/ 5644 w 5644"/>
                  <a:gd name="csY5" fmla="*/ 39697 h 42519"/>
                  <a:gd name="csX6" fmla="*/ 2822 w 5644"/>
                  <a:gd name="csY6" fmla="*/ 42520 h 4251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5644" h="42519">
                    <a:moveTo>
                      <a:pt x="2822" y="42520"/>
                    </a:moveTo>
                    <a:cubicBezTo>
                      <a:pt x="1264" y="42520"/>
                      <a:pt x="0" y="41255"/>
                      <a:pt x="0" y="39697"/>
                    </a:cubicBezTo>
                    <a:lnTo>
                      <a:pt x="0" y="2822"/>
                    </a:lnTo>
                    <a:cubicBezTo>
                      <a:pt x="0" y="1264"/>
                      <a:pt x="1264" y="0"/>
                      <a:pt x="2822" y="0"/>
                    </a:cubicBezTo>
                    <a:cubicBezTo>
                      <a:pt x="4380" y="0"/>
                      <a:pt x="5644" y="1264"/>
                      <a:pt x="5644" y="2822"/>
                    </a:cubicBezTo>
                    <a:lnTo>
                      <a:pt x="5644" y="39697"/>
                    </a:lnTo>
                    <a:cubicBezTo>
                      <a:pt x="5644" y="41261"/>
                      <a:pt x="4380" y="42520"/>
                      <a:pt x="2822" y="42520"/>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0" name="Freeform: Shape 189">
                <a:extLst>
                  <a:ext uri="{FF2B5EF4-FFF2-40B4-BE49-F238E27FC236}">
                    <a16:creationId xmlns:a16="http://schemas.microsoft.com/office/drawing/2014/main" id="{71EE66D7-D81F-DBEB-6A41-0183827DEB61}"/>
                  </a:ext>
                </a:extLst>
              </p:cNvPr>
              <p:cNvSpPr/>
              <p:nvPr/>
            </p:nvSpPr>
            <p:spPr>
              <a:xfrm>
                <a:off x="1068424" y="1948796"/>
                <a:ext cx="33880" cy="25782"/>
              </a:xfrm>
              <a:custGeom>
                <a:avLst/>
                <a:gdLst>
                  <a:gd name="csX0" fmla="*/ 31054 w 33880"/>
                  <a:gd name="csY0" fmla="*/ 25782 h 25782"/>
                  <a:gd name="csX1" fmla="*/ 30902 w 33880"/>
                  <a:gd name="csY1" fmla="*/ 25777 h 25782"/>
                  <a:gd name="csX2" fmla="*/ 8567 w 33880"/>
                  <a:gd name="csY2" fmla="*/ 24574 h 25782"/>
                  <a:gd name="csX3" fmla="*/ 6027 w 33880"/>
                  <a:gd name="csY3" fmla="*/ 22593 h 25782"/>
                  <a:gd name="csX4" fmla="*/ 128 w 33880"/>
                  <a:gd name="csY4" fmla="*/ 3662 h 25782"/>
                  <a:gd name="csX5" fmla="*/ 1985 w 33880"/>
                  <a:gd name="csY5" fmla="*/ 128 h 25782"/>
                  <a:gd name="csX6" fmla="*/ 5519 w 33880"/>
                  <a:gd name="csY6" fmla="*/ 1985 h 25782"/>
                  <a:gd name="csX7" fmla="*/ 10836 w 33880"/>
                  <a:gd name="csY7" fmla="*/ 19043 h 25782"/>
                  <a:gd name="csX8" fmla="*/ 31212 w 33880"/>
                  <a:gd name="csY8" fmla="*/ 20138 h 25782"/>
                  <a:gd name="csX9" fmla="*/ 33876 w 33880"/>
                  <a:gd name="csY9" fmla="*/ 23107 h 25782"/>
                  <a:gd name="csX10" fmla="*/ 31054 w 33880"/>
                  <a:gd name="csY10" fmla="*/ 25782 h 2578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33880" h="25782">
                    <a:moveTo>
                      <a:pt x="31054" y="25782"/>
                    </a:moveTo>
                    <a:cubicBezTo>
                      <a:pt x="31003" y="25782"/>
                      <a:pt x="30952" y="25782"/>
                      <a:pt x="30902" y="25777"/>
                    </a:cubicBezTo>
                    <a:lnTo>
                      <a:pt x="8567" y="24574"/>
                    </a:lnTo>
                    <a:cubicBezTo>
                      <a:pt x="7387" y="24512"/>
                      <a:pt x="6377" y="23722"/>
                      <a:pt x="6027" y="22593"/>
                    </a:cubicBezTo>
                    <a:lnTo>
                      <a:pt x="128" y="3662"/>
                    </a:lnTo>
                    <a:cubicBezTo>
                      <a:pt x="-335" y="2171"/>
                      <a:pt x="495" y="591"/>
                      <a:pt x="1985" y="128"/>
                    </a:cubicBezTo>
                    <a:cubicBezTo>
                      <a:pt x="3470" y="-335"/>
                      <a:pt x="5056" y="495"/>
                      <a:pt x="5519" y="1985"/>
                    </a:cubicBezTo>
                    <a:lnTo>
                      <a:pt x="10836" y="19043"/>
                    </a:lnTo>
                    <a:lnTo>
                      <a:pt x="31212" y="20138"/>
                    </a:lnTo>
                    <a:cubicBezTo>
                      <a:pt x="32770" y="20222"/>
                      <a:pt x="33961" y="21549"/>
                      <a:pt x="33876" y="23107"/>
                    </a:cubicBezTo>
                    <a:cubicBezTo>
                      <a:pt x="33792" y="24619"/>
                      <a:pt x="32544" y="25782"/>
                      <a:pt x="31054" y="25782"/>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1" name="Freeform: Shape 190">
                <a:extLst>
                  <a:ext uri="{FF2B5EF4-FFF2-40B4-BE49-F238E27FC236}">
                    <a16:creationId xmlns:a16="http://schemas.microsoft.com/office/drawing/2014/main" id="{0E6CC6D4-ED4C-0BDE-0628-914CA2E277E9}"/>
                  </a:ext>
                </a:extLst>
              </p:cNvPr>
              <p:cNvSpPr/>
              <p:nvPr/>
            </p:nvSpPr>
            <p:spPr>
              <a:xfrm>
                <a:off x="1096652" y="1948804"/>
                <a:ext cx="33880" cy="25774"/>
              </a:xfrm>
              <a:custGeom>
                <a:avLst/>
                <a:gdLst>
                  <a:gd name="csX0" fmla="*/ 2821 w 33880"/>
                  <a:gd name="csY0" fmla="*/ 25774 h 25774"/>
                  <a:gd name="csX1" fmla="*/ 4 w 33880"/>
                  <a:gd name="csY1" fmla="*/ 23105 h 25774"/>
                  <a:gd name="csX2" fmla="*/ 2668 w 33880"/>
                  <a:gd name="csY2" fmla="*/ 20136 h 25774"/>
                  <a:gd name="csX3" fmla="*/ 23045 w 33880"/>
                  <a:gd name="csY3" fmla="*/ 19041 h 25774"/>
                  <a:gd name="csX4" fmla="*/ 28362 w 33880"/>
                  <a:gd name="csY4" fmla="*/ 1983 h 25774"/>
                  <a:gd name="csX5" fmla="*/ 31895 w 33880"/>
                  <a:gd name="csY5" fmla="*/ 126 h 25774"/>
                  <a:gd name="csX6" fmla="*/ 33752 w 33880"/>
                  <a:gd name="csY6" fmla="*/ 3660 h 25774"/>
                  <a:gd name="csX7" fmla="*/ 27854 w 33880"/>
                  <a:gd name="csY7" fmla="*/ 22591 h 25774"/>
                  <a:gd name="csX8" fmla="*/ 25314 w 33880"/>
                  <a:gd name="csY8" fmla="*/ 24572 h 25774"/>
                  <a:gd name="csX9" fmla="*/ 2979 w 33880"/>
                  <a:gd name="csY9" fmla="*/ 25774 h 25774"/>
                  <a:gd name="csX10" fmla="*/ 2821 w 33880"/>
                  <a:gd name="csY10" fmla="*/ 25774 h 2577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33880" h="25774">
                    <a:moveTo>
                      <a:pt x="2821" y="25774"/>
                    </a:moveTo>
                    <a:cubicBezTo>
                      <a:pt x="1331" y="25774"/>
                      <a:pt x="83" y="24606"/>
                      <a:pt x="4" y="23105"/>
                    </a:cubicBezTo>
                    <a:cubicBezTo>
                      <a:pt x="-80" y="21547"/>
                      <a:pt x="1116" y="20220"/>
                      <a:pt x="2668" y="20136"/>
                    </a:cubicBezTo>
                    <a:lnTo>
                      <a:pt x="23045" y="19041"/>
                    </a:lnTo>
                    <a:lnTo>
                      <a:pt x="28362" y="1983"/>
                    </a:lnTo>
                    <a:cubicBezTo>
                      <a:pt x="28825" y="493"/>
                      <a:pt x="30411" y="-331"/>
                      <a:pt x="31895" y="126"/>
                    </a:cubicBezTo>
                    <a:cubicBezTo>
                      <a:pt x="33385" y="589"/>
                      <a:pt x="34215" y="2169"/>
                      <a:pt x="33752" y="3660"/>
                    </a:cubicBezTo>
                    <a:lnTo>
                      <a:pt x="27854" y="22591"/>
                    </a:lnTo>
                    <a:cubicBezTo>
                      <a:pt x="27504" y="23720"/>
                      <a:pt x="26488" y="24504"/>
                      <a:pt x="25314" y="24572"/>
                    </a:cubicBezTo>
                    <a:lnTo>
                      <a:pt x="2979" y="25774"/>
                    </a:lnTo>
                    <a:cubicBezTo>
                      <a:pt x="2922" y="25774"/>
                      <a:pt x="2872" y="25774"/>
                      <a:pt x="2821" y="25774"/>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2" name="Freeform: Shape 191">
                <a:extLst>
                  <a:ext uri="{FF2B5EF4-FFF2-40B4-BE49-F238E27FC236}">
                    <a16:creationId xmlns:a16="http://schemas.microsoft.com/office/drawing/2014/main" id="{2174B6E2-EAA1-1FD5-74EF-8B0F3407DA9D}"/>
                  </a:ext>
                </a:extLst>
              </p:cNvPr>
              <p:cNvSpPr/>
              <p:nvPr/>
            </p:nvSpPr>
            <p:spPr>
              <a:xfrm>
                <a:off x="1073808" y="1988981"/>
                <a:ext cx="34383" cy="22659"/>
              </a:xfrm>
              <a:custGeom>
                <a:avLst/>
                <a:gdLst>
                  <a:gd name="csX0" fmla="*/ 6394 w 34383"/>
                  <a:gd name="csY0" fmla="*/ 22659 h 22659"/>
                  <a:gd name="csX1" fmla="*/ 3950 w 34383"/>
                  <a:gd name="csY1" fmla="*/ 21248 h 22659"/>
                  <a:gd name="csX2" fmla="*/ 377 w 34383"/>
                  <a:gd name="csY2" fmla="*/ 15062 h 22659"/>
                  <a:gd name="csX3" fmla="*/ 95 w 34383"/>
                  <a:gd name="csY3" fmla="*/ 12923 h 22659"/>
                  <a:gd name="csX4" fmla="*/ 1410 w 34383"/>
                  <a:gd name="csY4" fmla="*/ 11207 h 22659"/>
                  <a:gd name="csX5" fmla="*/ 18332 w 34383"/>
                  <a:gd name="csY5" fmla="*/ 1436 h 22659"/>
                  <a:gd name="csX6" fmla="*/ 26454 w 34383"/>
                  <a:gd name="csY6" fmla="*/ 369 h 22659"/>
                  <a:gd name="csX7" fmla="*/ 32951 w 34383"/>
                  <a:gd name="csY7" fmla="*/ 5353 h 22659"/>
                  <a:gd name="csX8" fmla="*/ 29034 w 34383"/>
                  <a:gd name="csY8" fmla="*/ 19973 h 22659"/>
                  <a:gd name="csX9" fmla="*/ 15634 w 34383"/>
                  <a:gd name="csY9" fmla="*/ 17760 h 22659"/>
                  <a:gd name="csX10" fmla="*/ 7805 w 34383"/>
                  <a:gd name="csY10" fmla="*/ 22281 h 22659"/>
                  <a:gd name="csX11" fmla="*/ 6394 w 34383"/>
                  <a:gd name="csY11" fmla="*/ 22659 h 22659"/>
                  <a:gd name="csX12" fmla="*/ 6676 w 34383"/>
                  <a:gd name="csY12" fmla="*/ 14684 h 22659"/>
                  <a:gd name="csX13" fmla="*/ 7427 w 34383"/>
                  <a:gd name="csY13" fmla="*/ 15982 h 22659"/>
                  <a:gd name="csX14" fmla="*/ 15109 w 34383"/>
                  <a:gd name="csY14" fmla="*/ 11545 h 22659"/>
                  <a:gd name="csX15" fmla="*/ 17373 w 34383"/>
                  <a:gd name="csY15" fmla="*/ 11297 h 22659"/>
                  <a:gd name="csX16" fmla="*/ 19083 w 34383"/>
                  <a:gd name="csY16" fmla="*/ 12804 h 22659"/>
                  <a:gd name="csX17" fmla="*/ 19303 w 34383"/>
                  <a:gd name="csY17" fmla="*/ 13227 h 22659"/>
                  <a:gd name="csX18" fmla="*/ 26212 w 34383"/>
                  <a:gd name="csY18" fmla="*/ 15079 h 22659"/>
                  <a:gd name="csX19" fmla="*/ 28063 w 34383"/>
                  <a:gd name="csY19" fmla="*/ 8170 h 22659"/>
                  <a:gd name="csX20" fmla="*/ 24993 w 34383"/>
                  <a:gd name="csY20" fmla="*/ 5816 h 22659"/>
                  <a:gd name="csX21" fmla="*/ 21154 w 34383"/>
                  <a:gd name="csY21" fmla="*/ 6319 h 2265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Lst>
                <a:rect l="l" t="t" r="r" b="b"/>
                <a:pathLst>
                  <a:path w="34383" h="22659">
                    <a:moveTo>
                      <a:pt x="6394" y="22659"/>
                    </a:moveTo>
                    <a:cubicBezTo>
                      <a:pt x="5418" y="22659"/>
                      <a:pt x="4469" y="22151"/>
                      <a:pt x="3950" y="21248"/>
                    </a:cubicBezTo>
                    <a:lnTo>
                      <a:pt x="377" y="15062"/>
                    </a:lnTo>
                    <a:cubicBezTo>
                      <a:pt x="5" y="14413"/>
                      <a:pt x="-97" y="13645"/>
                      <a:pt x="95" y="12923"/>
                    </a:cubicBezTo>
                    <a:cubicBezTo>
                      <a:pt x="287" y="12200"/>
                      <a:pt x="761" y="11585"/>
                      <a:pt x="1410" y="11207"/>
                    </a:cubicBezTo>
                    <a:lnTo>
                      <a:pt x="18332" y="1436"/>
                    </a:lnTo>
                    <a:cubicBezTo>
                      <a:pt x="20810" y="8"/>
                      <a:pt x="23694" y="-370"/>
                      <a:pt x="26454" y="369"/>
                    </a:cubicBezTo>
                    <a:cubicBezTo>
                      <a:pt x="29215" y="1109"/>
                      <a:pt x="31523" y="2881"/>
                      <a:pt x="32951" y="5353"/>
                    </a:cubicBezTo>
                    <a:cubicBezTo>
                      <a:pt x="35903" y="10462"/>
                      <a:pt x="34142" y="17021"/>
                      <a:pt x="29034" y="19973"/>
                    </a:cubicBezTo>
                    <a:cubicBezTo>
                      <a:pt x="24541" y="22563"/>
                      <a:pt x="18930" y="21525"/>
                      <a:pt x="15634" y="17760"/>
                    </a:cubicBezTo>
                    <a:lnTo>
                      <a:pt x="7805" y="22281"/>
                    </a:lnTo>
                    <a:cubicBezTo>
                      <a:pt x="7359" y="22541"/>
                      <a:pt x="6874" y="22659"/>
                      <a:pt x="6394" y="22659"/>
                    </a:cubicBezTo>
                    <a:close/>
                    <a:moveTo>
                      <a:pt x="6676" y="14684"/>
                    </a:moveTo>
                    <a:lnTo>
                      <a:pt x="7427" y="15982"/>
                    </a:lnTo>
                    <a:lnTo>
                      <a:pt x="15109" y="11545"/>
                    </a:lnTo>
                    <a:cubicBezTo>
                      <a:pt x="15798" y="11150"/>
                      <a:pt x="16616" y="11060"/>
                      <a:pt x="17373" y="11297"/>
                    </a:cubicBezTo>
                    <a:cubicBezTo>
                      <a:pt x="18129" y="11540"/>
                      <a:pt x="18750" y="12082"/>
                      <a:pt x="19083" y="12804"/>
                    </a:cubicBezTo>
                    <a:cubicBezTo>
                      <a:pt x="19151" y="12945"/>
                      <a:pt x="19224" y="13086"/>
                      <a:pt x="19303" y="13227"/>
                    </a:cubicBezTo>
                    <a:cubicBezTo>
                      <a:pt x="20697" y="15643"/>
                      <a:pt x="23796" y="16473"/>
                      <a:pt x="26212" y="15079"/>
                    </a:cubicBezTo>
                    <a:cubicBezTo>
                      <a:pt x="28628" y="13685"/>
                      <a:pt x="29457" y="10586"/>
                      <a:pt x="28063" y="8170"/>
                    </a:cubicBezTo>
                    <a:cubicBezTo>
                      <a:pt x="27386" y="7002"/>
                      <a:pt x="26296" y="6166"/>
                      <a:pt x="24993" y="5816"/>
                    </a:cubicBezTo>
                    <a:cubicBezTo>
                      <a:pt x="23689" y="5466"/>
                      <a:pt x="22328" y="5647"/>
                      <a:pt x="21154" y="6319"/>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3" name="Freeform: Shape 192">
                <a:extLst>
                  <a:ext uri="{FF2B5EF4-FFF2-40B4-BE49-F238E27FC236}">
                    <a16:creationId xmlns:a16="http://schemas.microsoft.com/office/drawing/2014/main" id="{FB4459CD-1D1C-6F08-367B-07355CE22410}"/>
                  </a:ext>
                </a:extLst>
              </p:cNvPr>
              <p:cNvSpPr/>
              <p:nvPr/>
            </p:nvSpPr>
            <p:spPr>
              <a:xfrm>
                <a:off x="1096656" y="1968934"/>
                <a:ext cx="5644" cy="25953"/>
              </a:xfrm>
              <a:custGeom>
                <a:avLst/>
                <a:gdLst>
                  <a:gd name="csX0" fmla="*/ 2822 w 5644"/>
                  <a:gd name="csY0" fmla="*/ 25953 h 25953"/>
                  <a:gd name="csX1" fmla="*/ 0 w 5644"/>
                  <a:gd name="csY1" fmla="*/ 23131 h 25953"/>
                  <a:gd name="csX2" fmla="*/ 0 w 5644"/>
                  <a:gd name="csY2" fmla="*/ 2822 h 25953"/>
                  <a:gd name="csX3" fmla="*/ 2822 w 5644"/>
                  <a:gd name="csY3" fmla="*/ 0 h 25953"/>
                  <a:gd name="csX4" fmla="*/ 5644 w 5644"/>
                  <a:gd name="csY4" fmla="*/ 2822 h 25953"/>
                  <a:gd name="csX5" fmla="*/ 5644 w 5644"/>
                  <a:gd name="csY5" fmla="*/ 23131 h 25953"/>
                  <a:gd name="csX6" fmla="*/ 2822 w 5644"/>
                  <a:gd name="csY6" fmla="*/ 25953 h 25953"/>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5644" h="25953">
                    <a:moveTo>
                      <a:pt x="2822" y="25953"/>
                    </a:moveTo>
                    <a:cubicBezTo>
                      <a:pt x="1264" y="25953"/>
                      <a:pt x="0" y="24689"/>
                      <a:pt x="0" y="23131"/>
                    </a:cubicBezTo>
                    <a:lnTo>
                      <a:pt x="0" y="2822"/>
                    </a:lnTo>
                    <a:cubicBezTo>
                      <a:pt x="0" y="1264"/>
                      <a:pt x="1264" y="0"/>
                      <a:pt x="2822" y="0"/>
                    </a:cubicBezTo>
                    <a:cubicBezTo>
                      <a:pt x="4380" y="0"/>
                      <a:pt x="5644" y="1264"/>
                      <a:pt x="5644" y="2822"/>
                    </a:cubicBezTo>
                    <a:lnTo>
                      <a:pt x="5644" y="23131"/>
                    </a:lnTo>
                    <a:cubicBezTo>
                      <a:pt x="5644" y="24689"/>
                      <a:pt x="4380" y="25953"/>
                      <a:pt x="2822" y="25953"/>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4" name="Freeform: Shape 193">
                <a:extLst>
                  <a:ext uri="{FF2B5EF4-FFF2-40B4-BE49-F238E27FC236}">
                    <a16:creationId xmlns:a16="http://schemas.microsoft.com/office/drawing/2014/main" id="{EB50F4A8-E7B7-2AEA-B361-6926F7752AEA}"/>
                  </a:ext>
                </a:extLst>
              </p:cNvPr>
              <p:cNvSpPr/>
              <p:nvPr/>
            </p:nvSpPr>
            <p:spPr>
              <a:xfrm>
                <a:off x="962685" y="1819317"/>
                <a:ext cx="89306" cy="116760"/>
              </a:xfrm>
              <a:custGeom>
                <a:avLst/>
                <a:gdLst>
                  <a:gd name="csX0" fmla="*/ 59588 w 89306"/>
                  <a:gd name="csY0" fmla="*/ 116761 h 116760"/>
                  <a:gd name="csX1" fmla="*/ 56766 w 89306"/>
                  <a:gd name="csY1" fmla="*/ 113939 h 116760"/>
                  <a:gd name="csX2" fmla="*/ 74095 w 89306"/>
                  <a:gd name="csY2" fmla="*/ 65255 h 116760"/>
                  <a:gd name="csX3" fmla="*/ 83662 w 89306"/>
                  <a:gd name="csY3" fmla="*/ 44653 h 116760"/>
                  <a:gd name="csX4" fmla="*/ 44653 w 89306"/>
                  <a:gd name="csY4" fmla="*/ 5644 h 116760"/>
                  <a:gd name="csX5" fmla="*/ 5644 w 89306"/>
                  <a:gd name="csY5" fmla="*/ 44653 h 116760"/>
                  <a:gd name="csX6" fmla="*/ 15212 w 89306"/>
                  <a:gd name="csY6" fmla="*/ 65255 h 116760"/>
                  <a:gd name="csX7" fmla="*/ 32540 w 89306"/>
                  <a:gd name="csY7" fmla="*/ 113939 h 116760"/>
                  <a:gd name="csX8" fmla="*/ 29718 w 89306"/>
                  <a:gd name="csY8" fmla="*/ 116761 h 116760"/>
                  <a:gd name="csX9" fmla="*/ 26896 w 89306"/>
                  <a:gd name="csY9" fmla="*/ 113939 h 116760"/>
                  <a:gd name="csX10" fmla="*/ 10866 w 89306"/>
                  <a:gd name="csY10" fmla="*/ 68851 h 116760"/>
                  <a:gd name="csX11" fmla="*/ 0 w 89306"/>
                  <a:gd name="csY11" fmla="*/ 44653 h 116760"/>
                  <a:gd name="csX12" fmla="*/ 44653 w 89306"/>
                  <a:gd name="csY12" fmla="*/ 0 h 116760"/>
                  <a:gd name="csX13" fmla="*/ 89306 w 89306"/>
                  <a:gd name="csY13" fmla="*/ 44653 h 116760"/>
                  <a:gd name="csX14" fmla="*/ 78441 w 89306"/>
                  <a:gd name="csY14" fmla="*/ 68851 h 116760"/>
                  <a:gd name="csX15" fmla="*/ 62411 w 89306"/>
                  <a:gd name="csY15" fmla="*/ 113939 h 116760"/>
                  <a:gd name="csX16" fmla="*/ 59588 w 89306"/>
                  <a:gd name="csY16" fmla="*/ 116761 h 11676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89306" h="116760">
                    <a:moveTo>
                      <a:pt x="59588" y="116761"/>
                    </a:moveTo>
                    <a:cubicBezTo>
                      <a:pt x="58031" y="116761"/>
                      <a:pt x="56766" y="115497"/>
                      <a:pt x="56766" y="113939"/>
                    </a:cubicBezTo>
                    <a:cubicBezTo>
                      <a:pt x="56766" y="86213"/>
                      <a:pt x="66373" y="74597"/>
                      <a:pt x="74095" y="65255"/>
                    </a:cubicBezTo>
                    <a:cubicBezTo>
                      <a:pt x="79440" y="58787"/>
                      <a:pt x="83662" y="53679"/>
                      <a:pt x="83662" y="44653"/>
                    </a:cubicBezTo>
                    <a:cubicBezTo>
                      <a:pt x="83662" y="23142"/>
                      <a:pt x="66164" y="5644"/>
                      <a:pt x="44653" y="5644"/>
                    </a:cubicBezTo>
                    <a:cubicBezTo>
                      <a:pt x="23142" y="5644"/>
                      <a:pt x="5644" y="23142"/>
                      <a:pt x="5644" y="44653"/>
                    </a:cubicBezTo>
                    <a:cubicBezTo>
                      <a:pt x="5644" y="53679"/>
                      <a:pt x="9866" y="58787"/>
                      <a:pt x="15212" y="65255"/>
                    </a:cubicBezTo>
                    <a:cubicBezTo>
                      <a:pt x="22933" y="74591"/>
                      <a:pt x="32540" y="86213"/>
                      <a:pt x="32540" y="113939"/>
                    </a:cubicBezTo>
                    <a:cubicBezTo>
                      <a:pt x="32540" y="115497"/>
                      <a:pt x="31276" y="116761"/>
                      <a:pt x="29718" y="116761"/>
                    </a:cubicBezTo>
                    <a:cubicBezTo>
                      <a:pt x="28160" y="116761"/>
                      <a:pt x="26896" y="115497"/>
                      <a:pt x="26896" y="113939"/>
                    </a:cubicBezTo>
                    <a:cubicBezTo>
                      <a:pt x="26896" y="88245"/>
                      <a:pt x="18378" y="77944"/>
                      <a:pt x="10866" y="68851"/>
                    </a:cubicBezTo>
                    <a:cubicBezTo>
                      <a:pt x="5278" y="62095"/>
                      <a:pt x="0" y="55711"/>
                      <a:pt x="0" y="44653"/>
                    </a:cubicBezTo>
                    <a:cubicBezTo>
                      <a:pt x="0" y="20032"/>
                      <a:pt x="20032" y="0"/>
                      <a:pt x="44653" y="0"/>
                    </a:cubicBezTo>
                    <a:cubicBezTo>
                      <a:pt x="69274" y="0"/>
                      <a:pt x="89306" y="20032"/>
                      <a:pt x="89306" y="44653"/>
                    </a:cubicBezTo>
                    <a:cubicBezTo>
                      <a:pt x="89306" y="55711"/>
                      <a:pt x="84029" y="62095"/>
                      <a:pt x="78441" y="68851"/>
                    </a:cubicBezTo>
                    <a:cubicBezTo>
                      <a:pt x="70928" y="77938"/>
                      <a:pt x="62411" y="88245"/>
                      <a:pt x="62411" y="113939"/>
                    </a:cubicBezTo>
                    <a:cubicBezTo>
                      <a:pt x="62411" y="115497"/>
                      <a:pt x="61146" y="116761"/>
                      <a:pt x="59588" y="116761"/>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5" name="Freeform: Shape 194">
                <a:extLst>
                  <a:ext uri="{FF2B5EF4-FFF2-40B4-BE49-F238E27FC236}">
                    <a16:creationId xmlns:a16="http://schemas.microsoft.com/office/drawing/2014/main" id="{C54C7C82-7B4F-B2B2-C350-0E200A9B863B}"/>
                  </a:ext>
                </a:extLst>
              </p:cNvPr>
              <p:cNvSpPr/>
              <p:nvPr/>
            </p:nvSpPr>
            <p:spPr>
              <a:xfrm>
                <a:off x="978343" y="1930433"/>
                <a:ext cx="57996" cy="32105"/>
              </a:xfrm>
              <a:custGeom>
                <a:avLst/>
                <a:gdLst>
                  <a:gd name="csX0" fmla="*/ 49846 w 57996"/>
                  <a:gd name="csY0" fmla="*/ 32106 h 32105"/>
                  <a:gd name="csX1" fmla="*/ 8151 w 57996"/>
                  <a:gd name="csY1" fmla="*/ 32106 h 32105"/>
                  <a:gd name="csX2" fmla="*/ 0 w 57996"/>
                  <a:gd name="csY2" fmla="*/ 23955 h 32105"/>
                  <a:gd name="csX3" fmla="*/ 0 w 57996"/>
                  <a:gd name="csY3" fmla="*/ 8151 h 32105"/>
                  <a:gd name="csX4" fmla="*/ 8151 w 57996"/>
                  <a:gd name="csY4" fmla="*/ 0 h 32105"/>
                  <a:gd name="csX5" fmla="*/ 49846 w 57996"/>
                  <a:gd name="csY5" fmla="*/ 0 h 32105"/>
                  <a:gd name="csX6" fmla="*/ 57997 w 57996"/>
                  <a:gd name="csY6" fmla="*/ 8151 h 32105"/>
                  <a:gd name="csX7" fmla="*/ 57997 w 57996"/>
                  <a:gd name="csY7" fmla="*/ 23955 h 32105"/>
                  <a:gd name="csX8" fmla="*/ 49846 w 57996"/>
                  <a:gd name="csY8" fmla="*/ 32106 h 32105"/>
                  <a:gd name="csX9" fmla="*/ 8151 w 57996"/>
                  <a:gd name="csY9" fmla="*/ 5644 h 32105"/>
                  <a:gd name="csX10" fmla="*/ 5644 w 57996"/>
                  <a:gd name="csY10" fmla="*/ 8151 h 32105"/>
                  <a:gd name="csX11" fmla="*/ 5644 w 57996"/>
                  <a:gd name="csY11" fmla="*/ 23955 h 32105"/>
                  <a:gd name="csX12" fmla="*/ 8151 w 57996"/>
                  <a:gd name="csY12" fmla="*/ 26461 h 32105"/>
                  <a:gd name="csX13" fmla="*/ 49846 w 57996"/>
                  <a:gd name="csY13" fmla="*/ 26461 h 32105"/>
                  <a:gd name="csX14" fmla="*/ 52352 w 57996"/>
                  <a:gd name="csY14" fmla="*/ 23955 h 32105"/>
                  <a:gd name="csX15" fmla="*/ 52352 w 57996"/>
                  <a:gd name="csY15" fmla="*/ 8151 h 32105"/>
                  <a:gd name="csX16" fmla="*/ 49846 w 57996"/>
                  <a:gd name="csY16" fmla="*/ 5644 h 3210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57996" h="32105">
                    <a:moveTo>
                      <a:pt x="49846" y="32106"/>
                    </a:moveTo>
                    <a:lnTo>
                      <a:pt x="8151" y="32106"/>
                    </a:lnTo>
                    <a:cubicBezTo>
                      <a:pt x="3658" y="32106"/>
                      <a:pt x="0" y="28448"/>
                      <a:pt x="0" y="23955"/>
                    </a:cubicBezTo>
                    <a:lnTo>
                      <a:pt x="0" y="8151"/>
                    </a:lnTo>
                    <a:cubicBezTo>
                      <a:pt x="0" y="3658"/>
                      <a:pt x="3658" y="0"/>
                      <a:pt x="8151" y="0"/>
                    </a:cubicBezTo>
                    <a:lnTo>
                      <a:pt x="49846" y="0"/>
                    </a:lnTo>
                    <a:cubicBezTo>
                      <a:pt x="54339" y="0"/>
                      <a:pt x="57997" y="3658"/>
                      <a:pt x="57997" y="8151"/>
                    </a:cubicBezTo>
                    <a:lnTo>
                      <a:pt x="57997" y="23955"/>
                    </a:lnTo>
                    <a:cubicBezTo>
                      <a:pt x="57997" y="28448"/>
                      <a:pt x="54339" y="32106"/>
                      <a:pt x="49846" y="32106"/>
                    </a:cubicBezTo>
                    <a:close/>
                    <a:moveTo>
                      <a:pt x="8151" y="5644"/>
                    </a:moveTo>
                    <a:cubicBezTo>
                      <a:pt x="6768" y="5644"/>
                      <a:pt x="5644" y="6768"/>
                      <a:pt x="5644" y="8151"/>
                    </a:cubicBezTo>
                    <a:lnTo>
                      <a:pt x="5644" y="23955"/>
                    </a:lnTo>
                    <a:cubicBezTo>
                      <a:pt x="5644" y="25338"/>
                      <a:pt x="6768" y="26461"/>
                      <a:pt x="8151" y="26461"/>
                    </a:cubicBezTo>
                    <a:lnTo>
                      <a:pt x="49846" y="26461"/>
                    </a:lnTo>
                    <a:cubicBezTo>
                      <a:pt x="51229" y="26461"/>
                      <a:pt x="52352" y="25338"/>
                      <a:pt x="52352" y="23955"/>
                    </a:cubicBezTo>
                    <a:lnTo>
                      <a:pt x="52352" y="8151"/>
                    </a:lnTo>
                    <a:cubicBezTo>
                      <a:pt x="52352" y="6768"/>
                      <a:pt x="51229" y="5644"/>
                      <a:pt x="49846" y="5644"/>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6" name="Freeform: Shape 195">
                <a:extLst>
                  <a:ext uri="{FF2B5EF4-FFF2-40B4-BE49-F238E27FC236}">
                    <a16:creationId xmlns:a16="http://schemas.microsoft.com/office/drawing/2014/main" id="{84E888CF-1466-EC3D-7FA4-477ED7855E22}"/>
                  </a:ext>
                </a:extLst>
              </p:cNvPr>
              <p:cNvSpPr/>
              <p:nvPr/>
            </p:nvSpPr>
            <p:spPr>
              <a:xfrm>
                <a:off x="989682" y="1956895"/>
                <a:ext cx="35311" cy="20478"/>
              </a:xfrm>
              <a:custGeom>
                <a:avLst/>
                <a:gdLst>
                  <a:gd name="csX0" fmla="*/ 17656 w 35311"/>
                  <a:gd name="csY0" fmla="*/ 20478 h 20478"/>
                  <a:gd name="csX1" fmla="*/ 0 w 35311"/>
                  <a:gd name="csY1" fmla="*/ 2822 h 20478"/>
                  <a:gd name="csX2" fmla="*/ 2822 w 35311"/>
                  <a:gd name="csY2" fmla="*/ 0 h 20478"/>
                  <a:gd name="csX3" fmla="*/ 5644 w 35311"/>
                  <a:gd name="csY3" fmla="*/ 2822 h 20478"/>
                  <a:gd name="csX4" fmla="*/ 17656 w 35311"/>
                  <a:gd name="csY4" fmla="*/ 14834 h 20478"/>
                  <a:gd name="csX5" fmla="*/ 29667 w 35311"/>
                  <a:gd name="csY5" fmla="*/ 2822 h 20478"/>
                  <a:gd name="csX6" fmla="*/ 32489 w 35311"/>
                  <a:gd name="csY6" fmla="*/ 0 h 20478"/>
                  <a:gd name="csX7" fmla="*/ 35312 w 35311"/>
                  <a:gd name="csY7" fmla="*/ 2822 h 20478"/>
                  <a:gd name="csX8" fmla="*/ 17656 w 35311"/>
                  <a:gd name="csY8" fmla="*/ 20478 h 204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35311" h="20478">
                    <a:moveTo>
                      <a:pt x="17656" y="20478"/>
                    </a:moveTo>
                    <a:cubicBezTo>
                      <a:pt x="7919" y="20478"/>
                      <a:pt x="0" y="12559"/>
                      <a:pt x="0" y="2822"/>
                    </a:cubicBezTo>
                    <a:cubicBezTo>
                      <a:pt x="0" y="1264"/>
                      <a:pt x="1264" y="0"/>
                      <a:pt x="2822" y="0"/>
                    </a:cubicBezTo>
                    <a:cubicBezTo>
                      <a:pt x="4380" y="0"/>
                      <a:pt x="5644" y="1264"/>
                      <a:pt x="5644" y="2822"/>
                    </a:cubicBezTo>
                    <a:cubicBezTo>
                      <a:pt x="5644" y="9449"/>
                      <a:pt x="11035" y="14834"/>
                      <a:pt x="17656" y="14834"/>
                    </a:cubicBezTo>
                    <a:cubicBezTo>
                      <a:pt x="24277" y="14834"/>
                      <a:pt x="29667" y="9443"/>
                      <a:pt x="29667" y="2822"/>
                    </a:cubicBezTo>
                    <a:cubicBezTo>
                      <a:pt x="29667" y="1264"/>
                      <a:pt x="30932" y="0"/>
                      <a:pt x="32489" y="0"/>
                    </a:cubicBezTo>
                    <a:cubicBezTo>
                      <a:pt x="34047" y="0"/>
                      <a:pt x="35312" y="1264"/>
                      <a:pt x="35312" y="2822"/>
                    </a:cubicBezTo>
                    <a:cubicBezTo>
                      <a:pt x="35317" y="12559"/>
                      <a:pt x="27392" y="20478"/>
                      <a:pt x="17656" y="20478"/>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7" name="Freeform: Shape 196">
                <a:extLst>
                  <a:ext uri="{FF2B5EF4-FFF2-40B4-BE49-F238E27FC236}">
                    <a16:creationId xmlns:a16="http://schemas.microsoft.com/office/drawing/2014/main" id="{85030B4E-7EF0-1834-909F-351E4064E285}"/>
                  </a:ext>
                </a:extLst>
              </p:cNvPr>
              <p:cNvSpPr/>
              <p:nvPr/>
            </p:nvSpPr>
            <p:spPr>
              <a:xfrm>
                <a:off x="988678" y="1943664"/>
                <a:ext cx="37321" cy="5644"/>
              </a:xfrm>
              <a:custGeom>
                <a:avLst/>
                <a:gdLst>
                  <a:gd name="csX0" fmla="*/ 34499 w 37321"/>
                  <a:gd name="csY0" fmla="*/ 5644 h 5644"/>
                  <a:gd name="csX1" fmla="*/ 2822 w 37321"/>
                  <a:gd name="csY1" fmla="*/ 5644 h 5644"/>
                  <a:gd name="csX2" fmla="*/ 0 w 37321"/>
                  <a:gd name="csY2" fmla="*/ 2822 h 5644"/>
                  <a:gd name="csX3" fmla="*/ 2822 w 37321"/>
                  <a:gd name="csY3" fmla="*/ 0 h 5644"/>
                  <a:gd name="csX4" fmla="*/ 34499 w 37321"/>
                  <a:gd name="csY4" fmla="*/ 0 h 5644"/>
                  <a:gd name="csX5" fmla="*/ 37321 w 37321"/>
                  <a:gd name="csY5" fmla="*/ 2822 h 5644"/>
                  <a:gd name="csX6" fmla="*/ 34499 w 37321"/>
                  <a:gd name="csY6" fmla="*/ 5644 h 564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7321" h="5644">
                    <a:moveTo>
                      <a:pt x="34499" y="5644"/>
                    </a:moveTo>
                    <a:lnTo>
                      <a:pt x="2822" y="5644"/>
                    </a:lnTo>
                    <a:cubicBezTo>
                      <a:pt x="1264" y="5644"/>
                      <a:pt x="0" y="4380"/>
                      <a:pt x="0" y="2822"/>
                    </a:cubicBezTo>
                    <a:cubicBezTo>
                      <a:pt x="0" y="1264"/>
                      <a:pt x="1264" y="0"/>
                      <a:pt x="2822" y="0"/>
                    </a:cubicBezTo>
                    <a:lnTo>
                      <a:pt x="34499" y="0"/>
                    </a:lnTo>
                    <a:cubicBezTo>
                      <a:pt x="36057" y="0"/>
                      <a:pt x="37321" y="1264"/>
                      <a:pt x="37321" y="2822"/>
                    </a:cubicBezTo>
                    <a:cubicBezTo>
                      <a:pt x="37321" y="4380"/>
                      <a:pt x="36057" y="5644"/>
                      <a:pt x="34499" y="5644"/>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8" name="Freeform: Shape 197">
                <a:extLst>
                  <a:ext uri="{FF2B5EF4-FFF2-40B4-BE49-F238E27FC236}">
                    <a16:creationId xmlns:a16="http://schemas.microsoft.com/office/drawing/2014/main" id="{5C87E4C5-167F-892C-6CB5-14C26E5279FF}"/>
                  </a:ext>
                </a:extLst>
              </p:cNvPr>
              <p:cNvSpPr/>
              <p:nvPr/>
            </p:nvSpPr>
            <p:spPr>
              <a:xfrm>
                <a:off x="981858" y="1852797"/>
                <a:ext cx="23376" cy="83280"/>
              </a:xfrm>
              <a:custGeom>
                <a:avLst/>
                <a:gdLst>
                  <a:gd name="csX0" fmla="*/ 20552 w 23376"/>
                  <a:gd name="csY0" fmla="*/ 83281 h 83280"/>
                  <a:gd name="csX1" fmla="*/ 17741 w 23376"/>
                  <a:gd name="csY1" fmla="*/ 80668 h 83280"/>
                  <a:gd name="csX2" fmla="*/ 12605 w 23376"/>
                  <a:gd name="csY2" fmla="*/ 11218 h 83280"/>
                  <a:gd name="csX3" fmla="*/ 12165 w 23376"/>
                  <a:gd name="csY3" fmla="*/ 11168 h 83280"/>
                  <a:gd name="csX4" fmla="*/ 11442 w 23376"/>
                  <a:gd name="csY4" fmla="*/ 17331 h 83280"/>
                  <a:gd name="csX5" fmla="*/ 6238 w 23376"/>
                  <a:gd name="csY5" fmla="*/ 21356 h 83280"/>
                  <a:gd name="csX6" fmla="*/ 503 w 23376"/>
                  <a:gd name="csY6" fmla="*/ 15401 h 83280"/>
                  <a:gd name="csX7" fmla="*/ 1632 w 23376"/>
                  <a:gd name="csY7" fmla="*/ 8057 h 83280"/>
                  <a:gd name="csX8" fmla="*/ 4138 w 23376"/>
                  <a:gd name="csY8" fmla="*/ 6342 h 83280"/>
                  <a:gd name="csX9" fmla="*/ 2772 w 23376"/>
                  <a:gd name="csY9" fmla="*/ 4925 h 83280"/>
                  <a:gd name="csX10" fmla="*/ 2552 w 23376"/>
                  <a:gd name="csY10" fmla="*/ 940 h 83280"/>
                  <a:gd name="csX11" fmla="*/ 6537 w 23376"/>
                  <a:gd name="csY11" fmla="*/ 720 h 83280"/>
                  <a:gd name="csX12" fmla="*/ 10285 w 23376"/>
                  <a:gd name="csY12" fmla="*/ 5382 h 83280"/>
                  <a:gd name="csX13" fmla="*/ 15873 w 23376"/>
                  <a:gd name="csY13" fmla="*/ 6065 h 83280"/>
                  <a:gd name="csX14" fmla="*/ 18069 w 23376"/>
                  <a:gd name="csY14" fmla="*/ 8611 h 83280"/>
                  <a:gd name="csX15" fmla="*/ 23369 w 23376"/>
                  <a:gd name="csY15" fmla="*/ 80256 h 83280"/>
                  <a:gd name="csX16" fmla="*/ 20761 w 23376"/>
                  <a:gd name="csY16" fmla="*/ 83281 h 83280"/>
                  <a:gd name="csX17" fmla="*/ 20552 w 23376"/>
                  <a:gd name="csY17" fmla="*/ 83281 h 83280"/>
                  <a:gd name="csX18" fmla="*/ 6498 w 23376"/>
                  <a:gd name="csY18" fmla="*/ 11438 h 83280"/>
                  <a:gd name="csX19" fmla="*/ 5792 w 23376"/>
                  <a:gd name="csY19" fmla="*/ 11867 h 83280"/>
                  <a:gd name="csX20" fmla="*/ 5882 w 23376"/>
                  <a:gd name="csY20" fmla="*/ 13685 h 83280"/>
                  <a:gd name="csX21" fmla="*/ 6334 w 23376"/>
                  <a:gd name="csY21" fmla="*/ 14870 h 83280"/>
                  <a:gd name="csX22" fmla="*/ 6616 w 23376"/>
                  <a:gd name="csY22" fmla="*/ 12895 h 83280"/>
                  <a:gd name="csX23" fmla="*/ 6498 w 23376"/>
                  <a:gd name="csY23" fmla="*/ 11438 h 8328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Lst>
                <a:rect l="l" t="t" r="r" b="b"/>
                <a:pathLst>
                  <a:path w="23376" h="83280">
                    <a:moveTo>
                      <a:pt x="20552" y="83281"/>
                    </a:moveTo>
                    <a:cubicBezTo>
                      <a:pt x="19090" y="83281"/>
                      <a:pt x="17849" y="82152"/>
                      <a:pt x="17741" y="80668"/>
                    </a:cubicBezTo>
                    <a:lnTo>
                      <a:pt x="12605" y="11218"/>
                    </a:lnTo>
                    <a:cubicBezTo>
                      <a:pt x="12458" y="11201"/>
                      <a:pt x="12311" y="11184"/>
                      <a:pt x="12165" y="11168"/>
                    </a:cubicBezTo>
                    <a:cubicBezTo>
                      <a:pt x="12430" y="13459"/>
                      <a:pt x="12136" y="15610"/>
                      <a:pt x="11442" y="17331"/>
                    </a:cubicBezTo>
                    <a:cubicBezTo>
                      <a:pt x="10392" y="19933"/>
                      <a:pt x="8445" y="21435"/>
                      <a:pt x="6238" y="21356"/>
                    </a:cubicBezTo>
                    <a:cubicBezTo>
                      <a:pt x="4466" y="21288"/>
                      <a:pt x="2027" y="20199"/>
                      <a:pt x="503" y="15401"/>
                    </a:cubicBezTo>
                    <a:cubicBezTo>
                      <a:pt x="-688" y="11647"/>
                      <a:pt x="458" y="9333"/>
                      <a:pt x="1632" y="8057"/>
                    </a:cubicBezTo>
                    <a:cubicBezTo>
                      <a:pt x="2321" y="7301"/>
                      <a:pt x="3184" y="6748"/>
                      <a:pt x="4138" y="6342"/>
                    </a:cubicBezTo>
                    <a:cubicBezTo>
                      <a:pt x="3749" y="5867"/>
                      <a:pt x="3297" y="5393"/>
                      <a:pt x="2772" y="4925"/>
                    </a:cubicBezTo>
                    <a:cubicBezTo>
                      <a:pt x="1610" y="3886"/>
                      <a:pt x="1514" y="2103"/>
                      <a:pt x="2552" y="940"/>
                    </a:cubicBezTo>
                    <a:cubicBezTo>
                      <a:pt x="3591" y="-223"/>
                      <a:pt x="5374" y="-319"/>
                      <a:pt x="6537" y="720"/>
                    </a:cubicBezTo>
                    <a:cubicBezTo>
                      <a:pt x="8157" y="2170"/>
                      <a:pt x="9388" y="3751"/>
                      <a:pt x="10285" y="5382"/>
                    </a:cubicBezTo>
                    <a:cubicBezTo>
                      <a:pt x="12848" y="5438"/>
                      <a:pt x="15094" y="5890"/>
                      <a:pt x="15873" y="6065"/>
                    </a:cubicBezTo>
                    <a:cubicBezTo>
                      <a:pt x="17087" y="6336"/>
                      <a:pt x="17978" y="7369"/>
                      <a:pt x="18069" y="8611"/>
                    </a:cubicBezTo>
                    <a:lnTo>
                      <a:pt x="23369" y="80256"/>
                    </a:lnTo>
                    <a:cubicBezTo>
                      <a:pt x="23482" y="81808"/>
                      <a:pt x="22319" y="83162"/>
                      <a:pt x="20761" y="83281"/>
                    </a:cubicBezTo>
                    <a:cubicBezTo>
                      <a:pt x="20693" y="83275"/>
                      <a:pt x="20620" y="83281"/>
                      <a:pt x="20552" y="83281"/>
                    </a:cubicBezTo>
                    <a:close/>
                    <a:moveTo>
                      <a:pt x="6498" y="11438"/>
                    </a:moveTo>
                    <a:cubicBezTo>
                      <a:pt x="6187" y="11557"/>
                      <a:pt x="5945" y="11698"/>
                      <a:pt x="5792" y="11867"/>
                    </a:cubicBezTo>
                    <a:cubicBezTo>
                      <a:pt x="5527" y="12161"/>
                      <a:pt x="5662" y="12996"/>
                      <a:pt x="5882" y="13685"/>
                    </a:cubicBezTo>
                    <a:cubicBezTo>
                      <a:pt x="6040" y="14182"/>
                      <a:pt x="6193" y="14571"/>
                      <a:pt x="6334" y="14870"/>
                    </a:cubicBezTo>
                    <a:cubicBezTo>
                      <a:pt x="6486" y="14374"/>
                      <a:pt x="6611" y="13713"/>
                      <a:pt x="6616" y="12895"/>
                    </a:cubicBezTo>
                    <a:cubicBezTo>
                      <a:pt x="6616" y="12545"/>
                      <a:pt x="6594" y="12042"/>
                      <a:pt x="6498" y="11438"/>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99" name="Freeform: Shape 198">
                <a:extLst>
                  <a:ext uri="{FF2B5EF4-FFF2-40B4-BE49-F238E27FC236}">
                    <a16:creationId xmlns:a16="http://schemas.microsoft.com/office/drawing/2014/main" id="{8D1600CB-C0C5-DA6C-3CEB-F7450DE8FFC9}"/>
                  </a:ext>
                </a:extLst>
              </p:cNvPr>
              <p:cNvSpPr/>
              <p:nvPr/>
            </p:nvSpPr>
            <p:spPr>
              <a:xfrm>
                <a:off x="1009447" y="1852791"/>
                <a:ext cx="23376" cy="83286"/>
              </a:xfrm>
              <a:custGeom>
                <a:avLst/>
                <a:gdLst>
                  <a:gd name="csX0" fmla="*/ 2824 w 23376"/>
                  <a:gd name="csY0" fmla="*/ 83287 h 83286"/>
                  <a:gd name="csX1" fmla="*/ 2615 w 23376"/>
                  <a:gd name="csY1" fmla="*/ 83281 h 83286"/>
                  <a:gd name="csX2" fmla="*/ 8 w 23376"/>
                  <a:gd name="csY2" fmla="*/ 80256 h 83286"/>
                  <a:gd name="csX3" fmla="*/ 5308 w 23376"/>
                  <a:gd name="csY3" fmla="*/ 8611 h 83286"/>
                  <a:gd name="csX4" fmla="*/ 7503 w 23376"/>
                  <a:gd name="csY4" fmla="*/ 6065 h 83286"/>
                  <a:gd name="csX5" fmla="*/ 13091 w 23376"/>
                  <a:gd name="csY5" fmla="*/ 5382 h 83286"/>
                  <a:gd name="csX6" fmla="*/ 16839 w 23376"/>
                  <a:gd name="csY6" fmla="*/ 720 h 83286"/>
                  <a:gd name="csX7" fmla="*/ 20824 w 23376"/>
                  <a:gd name="csY7" fmla="*/ 940 h 83286"/>
                  <a:gd name="csX8" fmla="*/ 20604 w 23376"/>
                  <a:gd name="csY8" fmla="*/ 4925 h 83286"/>
                  <a:gd name="csX9" fmla="*/ 19238 w 23376"/>
                  <a:gd name="csY9" fmla="*/ 6342 h 83286"/>
                  <a:gd name="csX10" fmla="*/ 21744 w 23376"/>
                  <a:gd name="csY10" fmla="*/ 8057 h 83286"/>
                  <a:gd name="csX11" fmla="*/ 22873 w 23376"/>
                  <a:gd name="csY11" fmla="*/ 15401 h 83286"/>
                  <a:gd name="csX12" fmla="*/ 17138 w 23376"/>
                  <a:gd name="csY12" fmla="*/ 21356 h 83286"/>
                  <a:gd name="csX13" fmla="*/ 11934 w 23376"/>
                  <a:gd name="csY13" fmla="*/ 17331 h 83286"/>
                  <a:gd name="csX14" fmla="*/ 11217 w 23376"/>
                  <a:gd name="csY14" fmla="*/ 11168 h 83286"/>
                  <a:gd name="csX15" fmla="*/ 10777 w 23376"/>
                  <a:gd name="csY15" fmla="*/ 11218 h 83286"/>
                  <a:gd name="csX16" fmla="*/ 5641 w 23376"/>
                  <a:gd name="csY16" fmla="*/ 80673 h 83286"/>
                  <a:gd name="csX17" fmla="*/ 2824 w 23376"/>
                  <a:gd name="csY17" fmla="*/ 83287 h 83286"/>
                  <a:gd name="csX18" fmla="*/ 16879 w 23376"/>
                  <a:gd name="csY18" fmla="*/ 11444 h 83286"/>
                  <a:gd name="csX19" fmla="*/ 16760 w 23376"/>
                  <a:gd name="csY19" fmla="*/ 12906 h 83286"/>
                  <a:gd name="csX20" fmla="*/ 17042 w 23376"/>
                  <a:gd name="csY20" fmla="*/ 14882 h 83286"/>
                  <a:gd name="csX21" fmla="*/ 17494 w 23376"/>
                  <a:gd name="csY21" fmla="*/ 13696 h 83286"/>
                  <a:gd name="csX22" fmla="*/ 17584 w 23376"/>
                  <a:gd name="csY22" fmla="*/ 11879 h 83286"/>
                  <a:gd name="csX23" fmla="*/ 16879 w 23376"/>
                  <a:gd name="csY23" fmla="*/ 11444 h 8328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Lst>
                <a:rect l="l" t="t" r="r" b="b"/>
                <a:pathLst>
                  <a:path w="23376" h="83286">
                    <a:moveTo>
                      <a:pt x="2824" y="83287"/>
                    </a:moveTo>
                    <a:cubicBezTo>
                      <a:pt x="2756" y="83287"/>
                      <a:pt x="2683" y="83287"/>
                      <a:pt x="2615" y="83281"/>
                    </a:cubicBezTo>
                    <a:cubicBezTo>
                      <a:pt x="1063" y="83168"/>
                      <a:pt x="-105" y="81813"/>
                      <a:pt x="8" y="80256"/>
                    </a:cubicBezTo>
                    <a:lnTo>
                      <a:pt x="5308" y="8611"/>
                    </a:lnTo>
                    <a:cubicBezTo>
                      <a:pt x="5398" y="7369"/>
                      <a:pt x="6290" y="6336"/>
                      <a:pt x="7503" y="6065"/>
                    </a:cubicBezTo>
                    <a:cubicBezTo>
                      <a:pt x="8288" y="5890"/>
                      <a:pt x="10529" y="5438"/>
                      <a:pt x="13091" y="5382"/>
                    </a:cubicBezTo>
                    <a:cubicBezTo>
                      <a:pt x="13989" y="3756"/>
                      <a:pt x="15219" y="2170"/>
                      <a:pt x="16839" y="720"/>
                    </a:cubicBezTo>
                    <a:cubicBezTo>
                      <a:pt x="18002" y="-319"/>
                      <a:pt x="19786" y="-223"/>
                      <a:pt x="20824" y="940"/>
                    </a:cubicBezTo>
                    <a:cubicBezTo>
                      <a:pt x="21863" y="2103"/>
                      <a:pt x="21767" y="3886"/>
                      <a:pt x="20604" y="4925"/>
                    </a:cubicBezTo>
                    <a:cubicBezTo>
                      <a:pt x="20085" y="5393"/>
                      <a:pt x="19633" y="5867"/>
                      <a:pt x="19238" y="6342"/>
                    </a:cubicBezTo>
                    <a:cubicBezTo>
                      <a:pt x="20192" y="6748"/>
                      <a:pt x="21050" y="7301"/>
                      <a:pt x="21744" y="8057"/>
                    </a:cubicBezTo>
                    <a:cubicBezTo>
                      <a:pt x="22918" y="9339"/>
                      <a:pt x="24064" y="11653"/>
                      <a:pt x="22873" y="15401"/>
                    </a:cubicBezTo>
                    <a:cubicBezTo>
                      <a:pt x="21349" y="20199"/>
                      <a:pt x="18911" y="21288"/>
                      <a:pt x="17138" y="21356"/>
                    </a:cubicBezTo>
                    <a:cubicBezTo>
                      <a:pt x="14937" y="21435"/>
                      <a:pt x="12984" y="19933"/>
                      <a:pt x="11934" y="17331"/>
                    </a:cubicBezTo>
                    <a:cubicBezTo>
                      <a:pt x="11240" y="15610"/>
                      <a:pt x="10946" y="13459"/>
                      <a:pt x="11217" y="11168"/>
                    </a:cubicBezTo>
                    <a:cubicBezTo>
                      <a:pt x="11071" y="11184"/>
                      <a:pt x="10924" y="11201"/>
                      <a:pt x="10777" y="11218"/>
                    </a:cubicBezTo>
                    <a:lnTo>
                      <a:pt x="5641" y="80673"/>
                    </a:lnTo>
                    <a:cubicBezTo>
                      <a:pt x="5522" y="82158"/>
                      <a:pt x="4286" y="83287"/>
                      <a:pt x="2824" y="83287"/>
                    </a:cubicBezTo>
                    <a:close/>
                    <a:moveTo>
                      <a:pt x="16879" y="11444"/>
                    </a:moveTo>
                    <a:cubicBezTo>
                      <a:pt x="16783" y="12048"/>
                      <a:pt x="16760" y="12550"/>
                      <a:pt x="16760" y="12906"/>
                    </a:cubicBezTo>
                    <a:cubicBezTo>
                      <a:pt x="16766" y="13724"/>
                      <a:pt x="16890" y="14385"/>
                      <a:pt x="17042" y="14882"/>
                    </a:cubicBezTo>
                    <a:cubicBezTo>
                      <a:pt x="17184" y="14577"/>
                      <a:pt x="17336" y="14193"/>
                      <a:pt x="17494" y="13696"/>
                    </a:cubicBezTo>
                    <a:cubicBezTo>
                      <a:pt x="17601" y="13363"/>
                      <a:pt x="17923" y="12246"/>
                      <a:pt x="17584" y="11879"/>
                    </a:cubicBezTo>
                    <a:cubicBezTo>
                      <a:pt x="17426" y="11704"/>
                      <a:pt x="17189" y="11563"/>
                      <a:pt x="16879" y="11444"/>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00" name="Freeform: Shape 199">
                <a:extLst>
                  <a:ext uri="{FF2B5EF4-FFF2-40B4-BE49-F238E27FC236}">
                    <a16:creationId xmlns:a16="http://schemas.microsoft.com/office/drawing/2014/main" id="{9AA51ED3-D03D-B484-D225-B1EC3C6D170B}"/>
                  </a:ext>
                </a:extLst>
              </p:cNvPr>
              <p:cNvSpPr/>
              <p:nvPr/>
            </p:nvSpPr>
            <p:spPr>
              <a:xfrm>
                <a:off x="937097" y="1903757"/>
                <a:ext cx="27434" cy="76680"/>
              </a:xfrm>
              <a:custGeom>
                <a:avLst/>
                <a:gdLst>
                  <a:gd name="csX0" fmla="*/ 9936 w 27434"/>
                  <a:gd name="csY0" fmla="*/ 76681 h 76680"/>
                  <a:gd name="csX1" fmla="*/ 7345 w 27434"/>
                  <a:gd name="csY1" fmla="*/ 74976 h 76680"/>
                  <a:gd name="csX2" fmla="*/ 6459 w 27434"/>
                  <a:gd name="csY2" fmla="*/ 17567 h 76680"/>
                  <a:gd name="csX3" fmla="*/ 23302 w 27434"/>
                  <a:gd name="csY3" fmla="*/ 323 h 76680"/>
                  <a:gd name="csX4" fmla="*/ 27112 w 27434"/>
                  <a:gd name="csY4" fmla="*/ 1514 h 76680"/>
                  <a:gd name="csX5" fmla="*/ 25927 w 27434"/>
                  <a:gd name="csY5" fmla="*/ 5318 h 76680"/>
                  <a:gd name="csX6" fmla="*/ 11217 w 27434"/>
                  <a:gd name="csY6" fmla="*/ 20615 h 76680"/>
                  <a:gd name="csX7" fmla="*/ 12527 w 27434"/>
                  <a:gd name="csY7" fmla="*/ 72735 h 76680"/>
                  <a:gd name="csX8" fmla="*/ 11054 w 27434"/>
                  <a:gd name="csY8" fmla="*/ 76444 h 76680"/>
                  <a:gd name="csX9" fmla="*/ 9936 w 27434"/>
                  <a:gd name="csY9" fmla="*/ 76681 h 7668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27434" h="76680">
                    <a:moveTo>
                      <a:pt x="9936" y="76681"/>
                    </a:moveTo>
                    <a:cubicBezTo>
                      <a:pt x="8841" y="76681"/>
                      <a:pt x="7802" y="76043"/>
                      <a:pt x="7345" y="74976"/>
                    </a:cubicBezTo>
                    <a:cubicBezTo>
                      <a:pt x="-4638" y="47222"/>
                      <a:pt x="250" y="28438"/>
                      <a:pt x="6459" y="17567"/>
                    </a:cubicBezTo>
                    <a:cubicBezTo>
                      <a:pt x="13249" y="5685"/>
                      <a:pt x="22896" y="537"/>
                      <a:pt x="23302" y="323"/>
                    </a:cubicBezTo>
                    <a:cubicBezTo>
                      <a:pt x="24685" y="-400"/>
                      <a:pt x="26390" y="131"/>
                      <a:pt x="27112" y="1514"/>
                    </a:cubicBezTo>
                    <a:cubicBezTo>
                      <a:pt x="27835" y="2891"/>
                      <a:pt x="27304" y="4596"/>
                      <a:pt x="25927" y="5318"/>
                    </a:cubicBezTo>
                    <a:cubicBezTo>
                      <a:pt x="25803" y="5386"/>
                      <a:pt x="17144" y="10076"/>
                      <a:pt x="11217" y="20615"/>
                    </a:cubicBezTo>
                    <a:cubicBezTo>
                      <a:pt x="3259" y="34760"/>
                      <a:pt x="3699" y="52297"/>
                      <a:pt x="12527" y="72735"/>
                    </a:cubicBezTo>
                    <a:cubicBezTo>
                      <a:pt x="13142" y="74169"/>
                      <a:pt x="12487" y="75829"/>
                      <a:pt x="11054" y="76444"/>
                    </a:cubicBezTo>
                    <a:cubicBezTo>
                      <a:pt x="10692" y="76607"/>
                      <a:pt x="10309" y="76681"/>
                      <a:pt x="9936" y="76681"/>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201" name="Group 200">
            <a:extLst>
              <a:ext uri="{FF2B5EF4-FFF2-40B4-BE49-F238E27FC236}">
                <a16:creationId xmlns:a16="http://schemas.microsoft.com/office/drawing/2014/main" id="{7F96FAB6-583F-150C-074D-BA05CD84CB17}"/>
              </a:ext>
            </a:extLst>
          </p:cNvPr>
          <p:cNvGrpSpPr>
            <a:grpSpLocks noChangeAspect="1"/>
          </p:cNvGrpSpPr>
          <p:nvPr/>
        </p:nvGrpSpPr>
        <p:grpSpPr>
          <a:xfrm>
            <a:off x="7957391" y="4732741"/>
            <a:ext cx="415636" cy="415636"/>
            <a:chOff x="7936609" y="5368895"/>
            <a:chExt cx="457200" cy="457200"/>
          </a:xfrm>
        </p:grpSpPr>
        <p:sp>
          <p:nvSpPr>
            <p:cNvPr id="202" name="Oval 201">
              <a:extLst>
                <a:ext uri="{FF2B5EF4-FFF2-40B4-BE49-F238E27FC236}">
                  <a16:creationId xmlns:a16="http://schemas.microsoft.com/office/drawing/2014/main" id="{E07A3A44-E758-CDFA-0DF5-152510A00770}"/>
                </a:ext>
              </a:extLst>
            </p:cNvPr>
            <p:cNvSpPr>
              <a:spLocks noChangeAspect="1"/>
            </p:cNvSpPr>
            <p:nvPr/>
          </p:nvSpPr>
          <p:spPr>
            <a:xfrm>
              <a:off x="7936609" y="5368895"/>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grpSp>
          <p:nvGrpSpPr>
            <p:cNvPr id="203" name="Pic">
              <a:extLst>
                <a:ext uri="{FF2B5EF4-FFF2-40B4-BE49-F238E27FC236}">
                  <a16:creationId xmlns:a16="http://schemas.microsoft.com/office/drawing/2014/main" id="{1C728577-D5B7-91B9-8F2A-BA4BC1A5975E}"/>
                </a:ext>
              </a:extLst>
            </p:cNvPr>
            <p:cNvGrpSpPr>
              <a:grpSpLocks noChangeAspect="1"/>
            </p:cNvGrpSpPr>
            <p:nvPr/>
          </p:nvGrpSpPr>
          <p:grpSpPr>
            <a:xfrm>
              <a:off x="8060702" y="5470488"/>
              <a:ext cx="209015" cy="254014"/>
              <a:chOff x="946412" y="2258998"/>
              <a:chExt cx="209015" cy="254014"/>
            </a:xfrm>
            <a:solidFill>
              <a:schemeClr val="bg1"/>
            </a:solidFill>
          </p:grpSpPr>
          <p:sp>
            <p:nvSpPr>
              <p:cNvPr id="204" name="Freeform: Shape 203">
                <a:extLst>
                  <a:ext uri="{FF2B5EF4-FFF2-40B4-BE49-F238E27FC236}">
                    <a16:creationId xmlns:a16="http://schemas.microsoft.com/office/drawing/2014/main" id="{890F56D5-4EFE-45D7-7506-DC29D93B2FD3}"/>
                  </a:ext>
                </a:extLst>
              </p:cNvPr>
              <p:cNvSpPr/>
              <p:nvPr/>
            </p:nvSpPr>
            <p:spPr>
              <a:xfrm>
                <a:off x="946412" y="2258998"/>
                <a:ext cx="209015" cy="254014"/>
              </a:xfrm>
              <a:custGeom>
                <a:avLst/>
                <a:gdLst>
                  <a:gd name="csX0" fmla="*/ 208057 w 209015"/>
                  <a:gd name="csY0" fmla="*/ 138802 h 254014"/>
                  <a:gd name="csX1" fmla="*/ 187936 w 209015"/>
                  <a:gd name="csY1" fmla="*/ 95304 h 254014"/>
                  <a:gd name="csX2" fmla="*/ 188174 w 209015"/>
                  <a:gd name="csY2" fmla="*/ 91693 h 254014"/>
                  <a:gd name="csX3" fmla="*/ 188174 w 209015"/>
                  <a:gd name="csY3" fmla="*/ 91097 h 254014"/>
                  <a:gd name="csX4" fmla="*/ 162178 w 209015"/>
                  <a:gd name="csY4" fmla="*/ 22160 h 254014"/>
                  <a:gd name="csX5" fmla="*/ 90979 w 209015"/>
                  <a:gd name="csY5" fmla="*/ 530 h 254014"/>
                  <a:gd name="csX6" fmla="*/ 15 w 209015"/>
                  <a:gd name="csY6" fmla="*/ 92605 h 254014"/>
                  <a:gd name="csX7" fmla="*/ 26527 w 209015"/>
                  <a:gd name="csY7" fmla="*/ 167932 h 254014"/>
                  <a:gd name="csX8" fmla="*/ 44584 w 209015"/>
                  <a:gd name="csY8" fmla="*/ 222463 h 254014"/>
                  <a:gd name="csX9" fmla="*/ 45061 w 209015"/>
                  <a:gd name="csY9" fmla="*/ 250204 h 254014"/>
                  <a:gd name="csX10" fmla="*/ 46251 w 209015"/>
                  <a:gd name="csY10" fmla="*/ 252943 h 254014"/>
                  <a:gd name="csX11" fmla="*/ 48990 w 209015"/>
                  <a:gd name="csY11" fmla="*/ 254014 h 254014"/>
                  <a:gd name="csX12" fmla="*/ 150113 w 209015"/>
                  <a:gd name="csY12" fmla="*/ 253975 h 254014"/>
                  <a:gd name="csX13" fmla="*/ 153884 w 209015"/>
                  <a:gd name="csY13" fmla="*/ 250125 h 254014"/>
                  <a:gd name="csX14" fmla="*/ 153011 w 209015"/>
                  <a:gd name="csY14" fmla="*/ 200635 h 254014"/>
                  <a:gd name="csX15" fmla="*/ 154320 w 209015"/>
                  <a:gd name="csY15" fmla="*/ 197261 h 254014"/>
                  <a:gd name="csX16" fmla="*/ 157654 w 209015"/>
                  <a:gd name="csY16" fmla="*/ 195872 h 254014"/>
                  <a:gd name="csX17" fmla="*/ 174164 w 209015"/>
                  <a:gd name="csY17" fmla="*/ 195872 h 254014"/>
                  <a:gd name="csX18" fmla="*/ 192341 w 209015"/>
                  <a:gd name="csY18" fmla="*/ 177338 h 254014"/>
                  <a:gd name="csX19" fmla="*/ 191904 w 209015"/>
                  <a:gd name="csY19" fmla="*/ 151660 h 254014"/>
                  <a:gd name="csX20" fmla="*/ 201906 w 209015"/>
                  <a:gd name="csY20" fmla="*/ 150470 h 254014"/>
                  <a:gd name="csX21" fmla="*/ 208097 w 209015"/>
                  <a:gd name="csY21" fmla="*/ 146104 h 254014"/>
                  <a:gd name="csX22" fmla="*/ 208057 w 209015"/>
                  <a:gd name="csY22" fmla="*/ 138802 h 254014"/>
                  <a:gd name="csX23" fmla="*/ 201231 w 209015"/>
                  <a:gd name="csY23" fmla="*/ 142612 h 254014"/>
                  <a:gd name="csX24" fmla="*/ 200913 w 209015"/>
                  <a:gd name="csY24" fmla="*/ 142850 h 254014"/>
                  <a:gd name="csX25" fmla="*/ 187539 w 209015"/>
                  <a:gd name="csY25" fmla="*/ 144437 h 254014"/>
                  <a:gd name="csX26" fmla="*/ 184205 w 209015"/>
                  <a:gd name="csY26" fmla="*/ 148247 h 254014"/>
                  <a:gd name="csX27" fmla="*/ 184721 w 209015"/>
                  <a:gd name="csY27" fmla="*/ 177338 h 254014"/>
                  <a:gd name="csX28" fmla="*/ 174085 w 209015"/>
                  <a:gd name="csY28" fmla="*/ 188173 h 254014"/>
                  <a:gd name="csX29" fmla="*/ 157575 w 209015"/>
                  <a:gd name="csY29" fmla="*/ 188173 h 254014"/>
                  <a:gd name="csX30" fmla="*/ 148804 w 209015"/>
                  <a:gd name="csY30" fmla="*/ 191824 h 254014"/>
                  <a:gd name="csX31" fmla="*/ 145311 w 209015"/>
                  <a:gd name="csY31" fmla="*/ 200635 h 254014"/>
                  <a:gd name="csX32" fmla="*/ 146105 w 209015"/>
                  <a:gd name="csY32" fmla="*/ 246275 h 254014"/>
                  <a:gd name="csX33" fmla="*/ 52681 w 209015"/>
                  <a:gd name="csY33" fmla="*/ 246315 h 254014"/>
                  <a:gd name="csX34" fmla="*/ 52244 w 209015"/>
                  <a:gd name="csY34" fmla="*/ 222423 h 254014"/>
                  <a:gd name="csX35" fmla="*/ 32678 w 209015"/>
                  <a:gd name="csY35" fmla="*/ 163408 h 254014"/>
                  <a:gd name="csX36" fmla="*/ 7715 w 209015"/>
                  <a:gd name="csY36" fmla="*/ 92605 h 254014"/>
                  <a:gd name="csX37" fmla="*/ 91852 w 209015"/>
                  <a:gd name="csY37" fmla="*/ 8190 h 254014"/>
                  <a:gd name="csX38" fmla="*/ 102092 w 209015"/>
                  <a:gd name="csY38" fmla="*/ 7674 h 254014"/>
                  <a:gd name="csX39" fmla="*/ 156979 w 209015"/>
                  <a:gd name="csY39" fmla="*/ 27677 h 254014"/>
                  <a:gd name="csX40" fmla="*/ 180514 w 209015"/>
                  <a:gd name="csY40" fmla="*/ 90700 h 254014"/>
                  <a:gd name="csX41" fmla="*/ 180514 w 209015"/>
                  <a:gd name="csY41" fmla="*/ 91296 h 254014"/>
                  <a:gd name="csX42" fmla="*/ 180197 w 209015"/>
                  <a:gd name="csY42" fmla="*/ 95264 h 254014"/>
                  <a:gd name="csX43" fmla="*/ 180514 w 209015"/>
                  <a:gd name="csY43" fmla="*/ 97408 h 254014"/>
                  <a:gd name="csX44" fmla="*/ 201271 w 209015"/>
                  <a:gd name="csY44" fmla="*/ 142215 h 254014"/>
                  <a:gd name="csX45" fmla="*/ 201231 w 209015"/>
                  <a:gd name="csY45" fmla="*/ 142612 h 25401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Lst>
                <a:rect l="l" t="t" r="r" b="b"/>
                <a:pathLst>
                  <a:path w="209015" h="254014">
                    <a:moveTo>
                      <a:pt x="208057" y="138802"/>
                    </a:moveTo>
                    <a:lnTo>
                      <a:pt x="187936" y="95304"/>
                    </a:lnTo>
                    <a:cubicBezTo>
                      <a:pt x="188134" y="93717"/>
                      <a:pt x="188134" y="93042"/>
                      <a:pt x="188174" y="91693"/>
                    </a:cubicBezTo>
                    <a:lnTo>
                      <a:pt x="188174" y="91097"/>
                    </a:lnTo>
                    <a:cubicBezTo>
                      <a:pt x="189087" y="63237"/>
                      <a:pt x="179839" y="38749"/>
                      <a:pt x="162178" y="22160"/>
                    </a:cubicBezTo>
                    <a:cubicBezTo>
                      <a:pt x="144518" y="5491"/>
                      <a:pt x="119197" y="-2168"/>
                      <a:pt x="90979" y="530"/>
                    </a:cubicBezTo>
                    <a:cubicBezTo>
                      <a:pt x="35694" y="5888"/>
                      <a:pt x="-858" y="42917"/>
                      <a:pt x="15" y="92605"/>
                    </a:cubicBezTo>
                    <a:cubicBezTo>
                      <a:pt x="452" y="117886"/>
                      <a:pt x="10374" y="146025"/>
                      <a:pt x="26527" y="167932"/>
                    </a:cubicBezTo>
                    <a:cubicBezTo>
                      <a:pt x="37957" y="183450"/>
                      <a:pt x="44227" y="202302"/>
                      <a:pt x="44584" y="222463"/>
                    </a:cubicBezTo>
                    <a:lnTo>
                      <a:pt x="45061" y="250204"/>
                    </a:lnTo>
                    <a:cubicBezTo>
                      <a:pt x="45061" y="251236"/>
                      <a:pt x="45497" y="252189"/>
                      <a:pt x="46251" y="252943"/>
                    </a:cubicBezTo>
                    <a:cubicBezTo>
                      <a:pt x="46966" y="253618"/>
                      <a:pt x="47958" y="254014"/>
                      <a:pt x="48990" y="254014"/>
                    </a:cubicBezTo>
                    <a:lnTo>
                      <a:pt x="150113" y="253975"/>
                    </a:lnTo>
                    <a:cubicBezTo>
                      <a:pt x="152257" y="253975"/>
                      <a:pt x="153923" y="252268"/>
                      <a:pt x="153884" y="250125"/>
                    </a:cubicBezTo>
                    <a:lnTo>
                      <a:pt x="153011" y="200635"/>
                    </a:lnTo>
                    <a:cubicBezTo>
                      <a:pt x="152971" y="199365"/>
                      <a:pt x="153447" y="198174"/>
                      <a:pt x="154320" y="197261"/>
                    </a:cubicBezTo>
                    <a:cubicBezTo>
                      <a:pt x="155193" y="196349"/>
                      <a:pt x="156384" y="195872"/>
                      <a:pt x="157654" y="195872"/>
                    </a:cubicBezTo>
                    <a:lnTo>
                      <a:pt x="174164" y="195872"/>
                    </a:lnTo>
                    <a:cubicBezTo>
                      <a:pt x="184364" y="195872"/>
                      <a:pt x="192539" y="187578"/>
                      <a:pt x="192341" y="177338"/>
                    </a:cubicBezTo>
                    <a:lnTo>
                      <a:pt x="191904" y="151660"/>
                    </a:lnTo>
                    <a:lnTo>
                      <a:pt x="201906" y="150470"/>
                    </a:lnTo>
                    <a:cubicBezTo>
                      <a:pt x="204604" y="150152"/>
                      <a:pt x="206906" y="148525"/>
                      <a:pt x="208097" y="146104"/>
                    </a:cubicBezTo>
                    <a:cubicBezTo>
                      <a:pt x="209367" y="143763"/>
                      <a:pt x="209288" y="140905"/>
                      <a:pt x="208057" y="138802"/>
                    </a:cubicBezTo>
                    <a:close/>
                    <a:moveTo>
                      <a:pt x="201231" y="142612"/>
                    </a:moveTo>
                    <a:cubicBezTo>
                      <a:pt x="201112" y="142810"/>
                      <a:pt x="200953" y="142850"/>
                      <a:pt x="200913" y="142850"/>
                    </a:cubicBezTo>
                    <a:lnTo>
                      <a:pt x="187539" y="144437"/>
                    </a:lnTo>
                    <a:cubicBezTo>
                      <a:pt x="185594" y="144675"/>
                      <a:pt x="184165" y="146303"/>
                      <a:pt x="184205" y="148247"/>
                    </a:cubicBezTo>
                    <a:lnTo>
                      <a:pt x="184721" y="177338"/>
                    </a:lnTo>
                    <a:cubicBezTo>
                      <a:pt x="184840" y="183291"/>
                      <a:pt x="180038" y="188173"/>
                      <a:pt x="174085" y="188173"/>
                    </a:cubicBezTo>
                    <a:lnTo>
                      <a:pt x="157575" y="188173"/>
                    </a:lnTo>
                    <a:cubicBezTo>
                      <a:pt x="154241" y="188173"/>
                      <a:pt x="151145" y="189483"/>
                      <a:pt x="148804" y="191824"/>
                    </a:cubicBezTo>
                    <a:cubicBezTo>
                      <a:pt x="146502" y="194166"/>
                      <a:pt x="145272" y="197301"/>
                      <a:pt x="145311" y="200635"/>
                    </a:cubicBezTo>
                    <a:lnTo>
                      <a:pt x="146105" y="246275"/>
                    </a:lnTo>
                    <a:lnTo>
                      <a:pt x="52681" y="246315"/>
                    </a:lnTo>
                    <a:lnTo>
                      <a:pt x="52244" y="222423"/>
                    </a:lnTo>
                    <a:cubicBezTo>
                      <a:pt x="51847" y="200635"/>
                      <a:pt x="45100" y="180235"/>
                      <a:pt x="32678" y="163408"/>
                    </a:cubicBezTo>
                    <a:cubicBezTo>
                      <a:pt x="17438" y="142770"/>
                      <a:pt x="8112" y="116299"/>
                      <a:pt x="7715" y="92605"/>
                    </a:cubicBezTo>
                    <a:cubicBezTo>
                      <a:pt x="6921" y="47084"/>
                      <a:pt x="40735" y="13151"/>
                      <a:pt x="91852" y="8190"/>
                    </a:cubicBezTo>
                    <a:cubicBezTo>
                      <a:pt x="95305" y="7873"/>
                      <a:pt x="98758" y="7674"/>
                      <a:pt x="102092" y="7674"/>
                    </a:cubicBezTo>
                    <a:cubicBezTo>
                      <a:pt x="123880" y="7674"/>
                      <a:pt x="143089" y="14619"/>
                      <a:pt x="156979" y="27677"/>
                    </a:cubicBezTo>
                    <a:cubicBezTo>
                      <a:pt x="172973" y="42718"/>
                      <a:pt x="181348" y="65062"/>
                      <a:pt x="180514" y="90700"/>
                    </a:cubicBezTo>
                    <a:lnTo>
                      <a:pt x="180514" y="91296"/>
                    </a:lnTo>
                    <a:cubicBezTo>
                      <a:pt x="180474" y="92645"/>
                      <a:pt x="180474" y="93201"/>
                      <a:pt x="180197" y="95264"/>
                    </a:cubicBezTo>
                    <a:cubicBezTo>
                      <a:pt x="180078" y="95979"/>
                      <a:pt x="180197" y="96733"/>
                      <a:pt x="180514" y="97408"/>
                    </a:cubicBezTo>
                    <a:lnTo>
                      <a:pt x="201271" y="142215"/>
                    </a:lnTo>
                    <a:cubicBezTo>
                      <a:pt x="201271" y="142254"/>
                      <a:pt x="201350" y="142413"/>
                      <a:pt x="201231" y="142612"/>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05" name="Freeform: Shape 204">
                <a:extLst>
                  <a:ext uri="{FF2B5EF4-FFF2-40B4-BE49-F238E27FC236}">
                    <a16:creationId xmlns:a16="http://schemas.microsoft.com/office/drawing/2014/main" id="{204D191C-E138-1B58-17AD-C290561C5BEA}"/>
                  </a:ext>
                </a:extLst>
              </p:cNvPr>
              <p:cNvSpPr/>
              <p:nvPr/>
            </p:nvSpPr>
            <p:spPr>
              <a:xfrm>
                <a:off x="966824" y="2285802"/>
                <a:ext cx="150778" cy="138945"/>
              </a:xfrm>
              <a:custGeom>
                <a:avLst/>
                <a:gdLst>
                  <a:gd name="csX0" fmla="*/ 150776 w 150778"/>
                  <a:gd name="csY0" fmla="*/ 69493 h 138945"/>
                  <a:gd name="csX1" fmla="*/ 141052 w 150778"/>
                  <a:gd name="csY1" fmla="*/ 50879 h 138945"/>
                  <a:gd name="csX2" fmla="*/ 143076 w 150778"/>
                  <a:gd name="csY2" fmla="*/ 42148 h 138945"/>
                  <a:gd name="csX3" fmla="*/ 123153 w 150778"/>
                  <a:gd name="csY3" fmla="*/ 23138 h 138945"/>
                  <a:gd name="csX4" fmla="*/ 122955 w 150778"/>
                  <a:gd name="csY4" fmla="*/ 23138 h 138945"/>
                  <a:gd name="csX5" fmla="*/ 122955 w 150778"/>
                  <a:gd name="csY5" fmla="*/ 23098 h 138945"/>
                  <a:gd name="csX6" fmla="*/ 108112 w 150778"/>
                  <a:gd name="csY6" fmla="*/ 8533 h 138945"/>
                  <a:gd name="csX7" fmla="*/ 102913 w 150778"/>
                  <a:gd name="csY7" fmla="*/ 9485 h 138945"/>
                  <a:gd name="csX8" fmla="*/ 99579 w 150778"/>
                  <a:gd name="csY8" fmla="*/ 3532 h 138945"/>
                  <a:gd name="csX9" fmla="*/ 91046 w 150778"/>
                  <a:gd name="csY9" fmla="*/ 0 h 138945"/>
                  <a:gd name="csX10" fmla="*/ 79259 w 150778"/>
                  <a:gd name="csY10" fmla="*/ 11986 h 138945"/>
                  <a:gd name="csX11" fmla="*/ 79537 w 150778"/>
                  <a:gd name="csY11" fmla="*/ 27027 h 138945"/>
                  <a:gd name="csX12" fmla="*/ 74139 w 150778"/>
                  <a:gd name="csY12" fmla="*/ 26670 h 138945"/>
                  <a:gd name="csX13" fmla="*/ 69535 w 150778"/>
                  <a:gd name="csY13" fmla="*/ 26908 h 138945"/>
                  <a:gd name="csX14" fmla="*/ 69258 w 150778"/>
                  <a:gd name="csY14" fmla="*/ 11986 h 138945"/>
                  <a:gd name="csX15" fmla="*/ 65567 w 150778"/>
                  <a:gd name="csY15" fmla="*/ 3453 h 138945"/>
                  <a:gd name="csX16" fmla="*/ 57193 w 150778"/>
                  <a:gd name="csY16" fmla="*/ 40 h 138945"/>
                  <a:gd name="csX17" fmla="*/ 48779 w 150778"/>
                  <a:gd name="csY17" fmla="*/ 3453 h 138945"/>
                  <a:gd name="csX18" fmla="*/ 45525 w 150778"/>
                  <a:gd name="csY18" fmla="*/ 9485 h 138945"/>
                  <a:gd name="csX19" fmla="*/ 40484 w 150778"/>
                  <a:gd name="csY19" fmla="*/ 8533 h 138945"/>
                  <a:gd name="csX20" fmla="*/ 26157 w 150778"/>
                  <a:gd name="csY20" fmla="*/ 23098 h 138945"/>
                  <a:gd name="csX21" fmla="*/ 26157 w 150778"/>
                  <a:gd name="csY21" fmla="*/ 23178 h 138945"/>
                  <a:gd name="csX22" fmla="*/ 25959 w 150778"/>
                  <a:gd name="csY22" fmla="*/ 23178 h 138945"/>
                  <a:gd name="csX23" fmla="*/ 6710 w 150778"/>
                  <a:gd name="csY23" fmla="*/ 42188 h 138945"/>
                  <a:gd name="csX24" fmla="*/ 9052 w 150778"/>
                  <a:gd name="csY24" fmla="*/ 50879 h 138945"/>
                  <a:gd name="csX25" fmla="*/ 3 w 150778"/>
                  <a:gd name="csY25" fmla="*/ 69533 h 138945"/>
                  <a:gd name="csX26" fmla="*/ 9687 w 150778"/>
                  <a:gd name="csY26" fmla="*/ 88106 h 138945"/>
                  <a:gd name="csX27" fmla="*/ 7663 w 150778"/>
                  <a:gd name="csY27" fmla="*/ 96838 h 138945"/>
                  <a:gd name="csX28" fmla="*/ 27546 w 150778"/>
                  <a:gd name="csY28" fmla="*/ 115808 h 138945"/>
                  <a:gd name="csX29" fmla="*/ 27824 w 150778"/>
                  <a:gd name="csY29" fmla="*/ 115808 h 138945"/>
                  <a:gd name="csX30" fmla="*/ 27824 w 150778"/>
                  <a:gd name="csY30" fmla="*/ 115888 h 138945"/>
                  <a:gd name="csX31" fmla="*/ 42667 w 150778"/>
                  <a:gd name="csY31" fmla="*/ 130453 h 138945"/>
                  <a:gd name="csX32" fmla="*/ 47826 w 150778"/>
                  <a:gd name="csY32" fmla="*/ 129500 h 138945"/>
                  <a:gd name="csX33" fmla="*/ 59733 w 150778"/>
                  <a:gd name="csY33" fmla="*/ 138946 h 138945"/>
                  <a:gd name="csX34" fmla="*/ 71480 w 150778"/>
                  <a:gd name="csY34" fmla="*/ 127000 h 138945"/>
                  <a:gd name="csX35" fmla="*/ 71163 w 150778"/>
                  <a:gd name="csY35" fmla="*/ 112117 h 138945"/>
                  <a:gd name="csX36" fmla="*/ 75727 w 150778"/>
                  <a:gd name="csY36" fmla="*/ 112355 h 138945"/>
                  <a:gd name="csX37" fmla="*/ 81124 w 150778"/>
                  <a:gd name="csY37" fmla="*/ 111958 h 138945"/>
                  <a:gd name="csX38" fmla="*/ 81402 w 150778"/>
                  <a:gd name="csY38" fmla="*/ 127000 h 138945"/>
                  <a:gd name="csX39" fmla="*/ 93586 w 150778"/>
                  <a:gd name="csY39" fmla="*/ 138946 h 138945"/>
                  <a:gd name="csX40" fmla="*/ 105095 w 150778"/>
                  <a:gd name="csY40" fmla="*/ 129461 h 138945"/>
                  <a:gd name="csX41" fmla="*/ 110334 w 150778"/>
                  <a:gd name="csY41" fmla="*/ 130413 h 138945"/>
                  <a:gd name="csX42" fmla="*/ 124622 w 150778"/>
                  <a:gd name="csY42" fmla="*/ 115848 h 138945"/>
                  <a:gd name="csX43" fmla="*/ 124622 w 150778"/>
                  <a:gd name="csY43" fmla="*/ 115808 h 138945"/>
                  <a:gd name="csX44" fmla="*/ 124820 w 150778"/>
                  <a:gd name="csY44" fmla="*/ 115808 h 138945"/>
                  <a:gd name="csX45" fmla="*/ 144069 w 150778"/>
                  <a:gd name="csY45" fmla="*/ 96758 h 138945"/>
                  <a:gd name="csX46" fmla="*/ 141767 w 150778"/>
                  <a:gd name="csY46" fmla="*/ 88027 h 138945"/>
                  <a:gd name="csX47" fmla="*/ 150776 w 150778"/>
                  <a:gd name="csY47" fmla="*/ 69493 h 138945"/>
                  <a:gd name="csX48" fmla="*/ 96483 w 150778"/>
                  <a:gd name="csY48" fmla="*/ 42108 h 138945"/>
                  <a:gd name="csX49" fmla="*/ 47945 w 150778"/>
                  <a:gd name="csY49" fmla="*/ 91480 h 138945"/>
                  <a:gd name="csX50" fmla="*/ 49692 w 150778"/>
                  <a:gd name="csY50" fmla="*/ 44648 h 138945"/>
                  <a:gd name="csX51" fmla="*/ 74377 w 150778"/>
                  <a:gd name="csY51" fmla="*/ 34369 h 138945"/>
                  <a:gd name="csX52" fmla="*/ 96483 w 150778"/>
                  <a:gd name="csY52" fmla="*/ 42108 h 138945"/>
                  <a:gd name="csX53" fmla="*/ 63741 w 150778"/>
                  <a:gd name="csY53" fmla="*/ 127040 h 138945"/>
                  <a:gd name="csX54" fmla="*/ 59574 w 150778"/>
                  <a:gd name="csY54" fmla="*/ 131286 h 138945"/>
                  <a:gd name="csX55" fmla="*/ 55208 w 150778"/>
                  <a:gd name="csY55" fmla="*/ 127040 h 138945"/>
                  <a:gd name="csX56" fmla="*/ 55129 w 150778"/>
                  <a:gd name="csY56" fmla="*/ 122079 h 138945"/>
                  <a:gd name="csX57" fmla="*/ 52390 w 150778"/>
                  <a:gd name="csY57" fmla="*/ 118428 h 138945"/>
                  <a:gd name="csX58" fmla="*/ 48104 w 150778"/>
                  <a:gd name="csY58" fmla="*/ 119896 h 138945"/>
                  <a:gd name="csX59" fmla="*/ 42548 w 150778"/>
                  <a:gd name="csY59" fmla="*/ 122833 h 138945"/>
                  <a:gd name="csX60" fmla="*/ 35523 w 150778"/>
                  <a:gd name="csY60" fmla="*/ 115967 h 138945"/>
                  <a:gd name="csX61" fmla="*/ 36158 w 150778"/>
                  <a:gd name="csY61" fmla="*/ 112871 h 138945"/>
                  <a:gd name="csX62" fmla="*/ 35484 w 150778"/>
                  <a:gd name="csY62" fmla="*/ 108625 h 138945"/>
                  <a:gd name="csX63" fmla="*/ 31277 w 150778"/>
                  <a:gd name="csY63" fmla="*/ 107593 h 138945"/>
                  <a:gd name="csX64" fmla="*/ 27427 w 150778"/>
                  <a:gd name="csY64" fmla="*/ 108228 h 138945"/>
                  <a:gd name="csX65" fmla="*/ 15362 w 150778"/>
                  <a:gd name="csY65" fmla="*/ 96917 h 138945"/>
                  <a:gd name="csX66" fmla="*/ 18061 w 150778"/>
                  <a:gd name="csY66" fmla="*/ 89614 h 138945"/>
                  <a:gd name="csX67" fmla="*/ 18140 w 150778"/>
                  <a:gd name="csY67" fmla="*/ 89416 h 138945"/>
                  <a:gd name="csX68" fmla="*/ 18537 w 150778"/>
                  <a:gd name="csY68" fmla="*/ 88940 h 138945"/>
                  <a:gd name="csX69" fmla="*/ 26594 w 150778"/>
                  <a:gd name="csY69" fmla="*/ 81399 h 138945"/>
                  <a:gd name="csX70" fmla="*/ 27229 w 150778"/>
                  <a:gd name="csY70" fmla="*/ 76002 h 138945"/>
                  <a:gd name="csX71" fmla="*/ 21831 w 150778"/>
                  <a:gd name="csY71" fmla="*/ 75248 h 138945"/>
                  <a:gd name="csX72" fmla="*/ 14211 w 150778"/>
                  <a:gd name="csY72" fmla="*/ 81994 h 138945"/>
                  <a:gd name="csX73" fmla="*/ 7702 w 150778"/>
                  <a:gd name="csY73" fmla="*/ 69572 h 138945"/>
                  <a:gd name="csX74" fmla="*/ 14211 w 150778"/>
                  <a:gd name="csY74" fmla="*/ 56753 h 138945"/>
                  <a:gd name="csX75" fmla="*/ 20879 w 150778"/>
                  <a:gd name="csY75" fmla="*/ 60484 h 138945"/>
                  <a:gd name="csX76" fmla="*/ 22426 w 150778"/>
                  <a:gd name="csY76" fmla="*/ 60801 h 138945"/>
                  <a:gd name="csX77" fmla="*/ 25919 w 150778"/>
                  <a:gd name="csY77" fmla="*/ 58499 h 138945"/>
                  <a:gd name="csX78" fmla="*/ 23855 w 150778"/>
                  <a:gd name="csY78" fmla="*/ 53419 h 138945"/>
                  <a:gd name="csX79" fmla="*/ 17346 w 150778"/>
                  <a:gd name="csY79" fmla="*/ 49490 h 138945"/>
                  <a:gd name="csX80" fmla="*/ 14370 w 150778"/>
                  <a:gd name="csY80" fmla="*/ 42227 h 138945"/>
                  <a:gd name="csX81" fmla="*/ 26038 w 150778"/>
                  <a:gd name="csY81" fmla="*/ 30917 h 138945"/>
                  <a:gd name="csX82" fmla="*/ 29848 w 150778"/>
                  <a:gd name="csY82" fmla="*/ 31552 h 138945"/>
                  <a:gd name="csX83" fmla="*/ 33975 w 150778"/>
                  <a:gd name="csY83" fmla="*/ 30520 h 138945"/>
                  <a:gd name="csX84" fmla="*/ 34531 w 150778"/>
                  <a:gd name="csY84" fmla="*/ 26273 h 138945"/>
                  <a:gd name="csX85" fmla="*/ 33777 w 150778"/>
                  <a:gd name="csY85" fmla="*/ 23178 h 138945"/>
                  <a:gd name="csX86" fmla="*/ 40524 w 150778"/>
                  <a:gd name="csY86" fmla="*/ 16312 h 138945"/>
                  <a:gd name="csX87" fmla="*/ 46160 w 150778"/>
                  <a:gd name="csY87" fmla="*/ 19248 h 138945"/>
                  <a:gd name="csX88" fmla="*/ 50485 w 150778"/>
                  <a:gd name="csY88" fmla="*/ 20717 h 138945"/>
                  <a:gd name="csX89" fmla="*/ 53105 w 150778"/>
                  <a:gd name="csY89" fmla="*/ 17026 h 138945"/>
                  <a:gd name="csX90" fmla="*/ 53145 w 150778"/>
                  <a:gd name="csY90" fmla="*/ 11986 h 138945"/>
                  <a:gd name="csX91" fmla="*/ 54375 w 150778"/>
                  <a:gd name="csY91" fmla="*/ 8969 h 138945"/>
                  <a:gd name="csX92" fmla="*/ 57391 w 150778"/>
                  <a:gd name="csY92" fmla="*/ 7739 h 138945"/>
                  <a:gd name="csX93" fmla="*/ 60368 w 150778"/>
                  <a:gd name="csY93" fmla="*/ 8930 h 138945"/>
                  <a:gd name="csX94" fmla="*/ 61677 w 150778"/>
                  <a:gd name="csY94" fmla="*/ 11986 h 138945"/>
                  <a:gd name="csX95" fmla="*/ 61955 w 150778"/>
                  <a:gd name="csY95" fmla="*/ 28456 h 138945"/>
                  <a:gd name="csX96" fmla="*/ 44135 w 150778"/>
                  <a:gd name="csY96" fmla="*/ 39211 h 138945"/>
                  <a:gd name="csX97" fmla="*/ 45207 w 150778"/>
                  <a:gd name="csY97" fmla="*/ 99814 h 138945"/>
                  <a:gd name="csX98" fmla="*/ 63424 w 150778"/>
                  <a:gd name="csY98" fmla="*/ 110569 h 138945"/>
                  <a:gd name="csX99" fmla="*/ 53502 w 150778"/>
                  <a:gd name="csY99" fmla="*/ 96917 h 138945"/>
                  <a:gd name="csX100" fmla="*/ 102040 w 150778"/>
                  <a:gd name="csY100" fmla="*/ 47546 h 138945"/>
                  <a:gd name="csX101" fmla="*/ 110136 w 150778"/>
                  <a:gd name="csY101" fmla="*/ 69533 h 138945"/>
                  <a:gd name="csX102" fmla="*/ 100293 w 150778"/>
                  <a:gd name="csY102" fmla="*/ 94377 h 138945"/>
                  <a:gd name="csX103" fmla="*/ 75608 w 150778"/>
                  <a:gd name="csY103" fmla="*/ 104656 h 138945"/>
                  <a:gd name="csX104" fmla="*/ 53502 w 150778"/>
                  <a:gd name="csY104" fmla="*/ 96917 h 138945"/>
                  <a:gd name="csX105" fmla="*/ 137004 w 150778"/>
                  <a:gd name="csY105" fmla="*/ 81915 h 138945"/>
                  <a:gd name="csX106" fmla="*/ 129146 w 150778"/>
                  <a:gd name="csY106" fmla="*/ 75168 h 138945"/>
                  <a:gd name="csX107" fmla="*/ 123788 w 150778"/>
                  <a:gd name="csY107" fmla="*/ 75922 h 138945"/>
                  <a:gd name="csX108" fmla="*/ 124622 w 150778"/>
                  <a:gd name="csY108" fmla="*/ 81320 h 138945"/>
                  <a:gd name="csX109" fmla="*/ 132916 w 150778"/>
                  <a:gd name="csY109" fmla="*/ 88860 h 138945"/>
                  <a:gd name="csX110" fmla="*/ 133432 w 150778"/>
                  <a:gd name="csY110" fmla="*/ 89495 h 138945"/>
                  <a:gd name="csX111" fmla="*/ 136369 w 150778"/>
                  <a:gd name="csY111" fmla="*/ 96798 h 138945"/>
                  <a:gd name="csX112" fmla="*/ 124701 w 150778"/>
                  <a:gd name="csY112" fmla="*/ 108148 h 138945"/>
                  <a:gd name="csX113" fmla="*/ 120812 w 150778"/>
                  <a:gd name="csY113" fmla="*/ 107513 h 138945"/>
                  <a:gd name="csX114" fmla="*/ 116684 w 150778"/>
                  <a:gd name="csY114" fmla="*/ 108625 h 138945"/>
                  <a:gd name="csX115" fmla="*/ 116208 w 150778"/>
                  <a:gd name="csY115" fmla="*/ 112871 h 138945"/>
                  <a:gd name="csX116" fmla="*/ 116922 w 150778"/>
                  <a:gd name="csY116" fmla="*/ 115888 h 138945"/>
                  <a:gd name="csX117" fmla="*/ 110215 w 150778"/>
                  <a:gd name="csY117" fmla="*/ 122753 h 138945"/>
                  <a:gd name="csX118" fmla="*/ 104500 w 150778"/>
                  <a:gd name="csY118" fmla="*/ 119817 h 138945"/>
                  <a:gd name="csX119" fmla="*/ 100174 w 150778"/>
                  <a:gd name="csY119" fmla="*/ 118388 h 138945"/>
                  <a:gd name="csX120" fmla="*/ 97555 w 150778"/>
                  <a:gd name="csY120" fmla="*/ 122039 h 138945"/>
                  <a:gd name="csX121" fmla="*/ 97634 w 150778"/>
                  <a:gd name="csY121" fmla="*/ 126960 h 138945"/>
                  <a:gd name="csX122" fmla="*/ 93467 w 150778"/>
                  <a:gd name="csY122" fmla="*/ 131247 h 138945"/>
                  <a:gd name="csX123" fmla="*/ 89101 w 150778"/>
                  <a:gd name="csY123" fmla="*/ 127000 h 138945"/>
                  <a:gd name="csX124" fmla="*/ 88824 w 150778"/>
                  <a:gd name="csY124" fmla="*/ 110252 h 138945"/>
                  <a:gd name="csX125" fmla="*/ 105810 w 150778"/>
                  <a:gd name="csY125" fmla="*/ 99774 h 138945"/>
                  <a:gd name="csX126" fmla="*/ 117835 w 150778"/>
                  <a:gd name="csY126" fmla="*/ 69493 h 138945"/>
                  <a:gd name="csX127" fmla="*/ 104738 w 150778"/>
                  <a:gd name="csY127" fmla="*/ 39211 h 138945"/>
                  <a:gd name="csX128" fmla="*/ 87315 w 150778"/>
                  <a:gd name="csY128" fmla="*/ 28694 h 138945"/>
                  <a:gd name="csX129" fmla="*/ 87038 w 150778"/>
                  <a:gd name="csY129" fmla="*/ 11986 h 138945"/>
                  <a:gd name="csX130" fmla="*/ 91245 w 150778"/>
                  <a:gd name="csY130" fmla="*/ 7699 h 138945"/>
                  <a:gd name="csX131" fmla="*/ 94300 w 150778"/>
                  <a:gd name="csY131" fmla="*/ 9009 h 138945"/>
                  <a:gd name="csX132" fmla="*/ 95570 w 150778"/>
                  <a:gd name="csY132" fmla="*/ 11986 h 138945"/>
                  <a:gd name="csX133" fmla="*/ 95650 w 150778"/>
                  <a:gd name="csY133" fmla="*/ 16907 h 138945"/>
                  <a:gd name="csX134" fmla="*/ 98388 w 150778"/>
                  <a:gd name="csY134" fmla="*/ 20558 h 138945"/>
                  <a:gd name="csX135" fmla="*/ 102675 w 150778"/>
                  <a:gd name="csY135" fmla="*/ 19129 h 138945"/>
                  <a:gd name="csX136" fmla="*/ 108310 w 150778"/>
                  <a:gd name="csY136" fmla="*/ 16193 h 138945"/>
                  <a:gd name="csX137" fmla="*/ 115335 w 150778"/>
                  <a:gd name="csY137" fmla="*/ 23058 h 138945"/>
                  <a:gd name="csX138" fmla="*/ 114700 w 150778"/>
                  <a:gd name="csY138" fmla="*/ 26114 h 138945"/>
                  <a:gd name="csX139" fmla="*/ 115335 w 150778"/>
                  <a:gd name="csY139" fmla="*/ 30361 h 138945"/>
                  <a:gd name="csX140" fmla="*/ 119502 w 150778"/>
                  <a:gd name="csY140" fmla="*/ 31472 h 138945"/>
                  <a:gd name="csX141" fmla="*/ 123352 w 150778"/>
                  <a:gd name="csY141" fmla="*/ 30837 h 138945"/>
                  <a:gd name="csX142" fmla="*/ 135417 w 150778"/>
                  <a:gd name="csY142" fmla="*/ 42148 h 138945"/>
                  <a:gd name="csX143" fmla="*/ 132758 w 150778"/>
                  <a:gd name="csY143" fmla="*/ 49411 h 138945"/>
                  <a:gd name="csX144" fmla="*/ 126368 w 150778"/>
                  <a:gd name="csY144" fmla="*/ 53380 h 138945"/>
                  <a:gd name="csX145" fmla="*/ 124503 w 150778"/>
                  <a:gd name="csY145" fmla="*/ 58460 h 138945"/>
                  <a:gd name="csX146" fmla="*/ 128075 w 150778"/>
                  <a:gd name="csY146" fmla="*/ 60762 h 138945"/>
                  <a:gd name="csX147" fmla="*/ 129622 w 150778"/>
                  <a:gd name="csY147" fmla="*/ 60444 h 138945"/>
                  <a:gd name="csX148" fmla="*/ 136131 w 150778"/>
                  <a:gd name="csY148" fmla="*/ 56753 h 138945"/>
                  <a:gd name="csX149" fmla="*/ 143156 w 150778"/>
                  <a:gd name="csY149" fmla="*/ 69572 h 138945"/>
                  <a:gd name="csX150" fmla="*/ 137004 w 150778"/>
                  <a:gd name="csY150" fmla="*/ 81915 h 13894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Lst>
                <a:rect l="l" t="t" r="r" b="b"/>
                <a:pathLst>
                  <a:path w="150778" h="138945">
                    <a:moveTo>
                      <a:pt x="150776" y="69493"/>
                    </a:moveTo>
                    <a:cubicBezTo>
                      <a:pt x="150657" y="62111"/>
                      <a:pt x="146966" y="55205"/>
                      <a:pt x="141052" y="50879"/>
                    </a:cubicBezTo>
                    <a:cubicBezTo>
                      <a:pt x="142441" y="48220"/>
                      <a:pt x="143156" y="45244"/>
                      <a:pt x="143076" y="42148"/>
                    </a:cubicBezTo>
                    <a:cubicBezTo>
                      <a:pt x="142878" y="31671"/>
                      <a:pt x="133948" y="23138"/>
                      <a:pt x="123153" y="23138"/>
                    </a:cubicBezTo>
                    <a:cubicBezTo>
                      <a:pt x="123074" y="23138"/>
                      <a:pt x="123034" y="23138"/>
                      <a:pt x="122955" y="23138"/>
                    </a:cubicBezTo>
                    <a:cubicBezTo>
                      <a:pt x="122955" y="23138"/>
                      <a:pt x="122955" y="23138"/>
                      <a:pt x="122955" y="23098"/>
                    </a:cubicBezTo>
                    <a:cubicBezTo>
                      <a:pt x="122796" y="15042"/>
                      <a:pt x="116168" y="8533"/>
                      <a:pt x="108112" y="8533"/>
                    </a:cubicBezTo>
                    <a:cubicBezTo>
                      <a:pt x="106286" y="8533"/>
                      <a:pt x="104540" y="8850"/>
                      <a:pt x="102913" y="9485"/>
                    </a:cubicBezTo>
                    <a:cubicBezTo>
                      <a:pt x="102397" y="7223"/>
                      <a:pt x="101246" y="5120"/>
                      <a:pt x="99579" y="3532"/>
                    </a:cubicBezTo>
                    <a:cubicBezTo>
                      <a:pt x="97277" y="1270"/>
                      <a:pt x="94221" y="0"/>
                      <a:pt x="91046" y="0"/>
                    </a:cubicBezTo>
                    <a:cubicBezTo>
                      <a:pt x="84458" y="0"/>
                      <a:pt x="79140" y="5358"/>
                      <a:pt x="79259" y="11986"/>
                    </a:cubicBezTo>
                    <a:lnTo>
                      <a:pt x="79537" y="27027"/>
                    </a:lnTo>
                    <a:cubicBezTo>
                      <a:pt x="77751" y="26789"/>
                      <a:pt x="75965" y="26670"/>
                      <a:pt x="74139" y="26670"/>
                    </a:cubicBezTo>
                    <a:cubicBezTo>
                      <a:pt x="72591" y="26670"/>
                      <a:pt x="71044" y="26749"/>
                      <a:pt x="69535" y="26908"/>
                    </a:cubicBezTo>
                    <a:lnTo>
                      <a:pt x="69258" y="11986"/>
                    </a:lnTo>
                    <a:cubicBezTo>
                      <a:pt x="69218" y="8771"/>
                      <a:pt x="67908" y="5715"/>
                      <a:pt x="65567" y="3453"/>
                    </a:cubicBezTo>
                    <a:cubicBezTo>
                      <a:pt x="63305" y="1230"/>
                      <a:pt x="60328" y="40"/>
                      <a:pt x="57193" y="40"/>
                    </a:cubicBezTo>
                    <a:cubicBezTo>
                      <a:pt x="53938" y="40"/>
                      <a:pt x="50922" y="1270"/>
                      <a:pt x="48779" y="3453"/>
                    </a:cubicBezTo>
                    <a:cubicBezTo>
                      <a:pt x="47112" y="5040"/>
                      <a:pt x="46001" y="7183"/>
                      <a:pt x="45525" y="9485"/>
                    </a:cubicBezTo>
                    <a:cubicBezTo>
                      <a:pt x="44016" y="8850"/>
                      <a:pt x="42270" y="8533"/>
                      <a:pt x="40484" y="8533"/>
                    </a:cubicBezTo>
                    <a:cubicBezTo>
                      <a:pt x="32428" y="8533"/>
                      <a:pt x="25998" y="15081"/>
                      <a:pt x="26157" y="23098"/>
                    </a:cubicBezTo>
                    <a:lnTo>
                      <a:pt x="26157" y="23178"/>
                    </a:lnTo>
                    <a:cubicBezTo>
                      <a:pt x="26078" y="23178"/>
                      <a:pt x="26038" y="23178"/>
                      <a:pt x="25959" y="23178"/>
                    </a:cubicBezTo>
                    <a:cubicBezTo>
                      <a:pt x="15164" y="23178"/>
                      <a:pt x="6512" y="31710"/>
                      <a:pt x="6710" y="42188"/>
                    </a:cubicBezTo>
                    <a:cubicBezTo>
                      <a:pt x="6750" y="45244"/>
                      <a:pt x="7583" y="48220"/>
                      <a:pt x="9052" y="50879"/>
                    </a:cubicBezTo>
                    <a:cubicBezTo>
                      <a:pt x="3337" y="55205"/>
                      <a:pt x="-116" y="62151"/>
                      <a:pt x="3" y="69533"/>
                    </a:cubicBezTo>
                    <a:cubicBezTo>
                      <a:pt x="122" y="76914"/>
                      <a:pt x="3813" y="83820"/>
                      <a:pt x="9687" y="88106"/>
                    </a:cubicBezTo>
                    <a:cubicBezTo>
                      <a:pt x="8298" y="90765"/>
                      <a:pt x="7583" y="93782"/>
                      <a:pt x="7663" y="96838"/>
                    </a:cubicBezTo>
                    <a:cubicBezTo>
                      <a:pt x="7901" y="107315"/>
                      <a:pt x="16791" y="115808"/>
                      <a:pt x="27546" y="115808"/>
                    </a:cubicBezTo>
                    <a:lnTo>
                      <a:pt x="27824" y="115808"/>
                    </a:lnTo>
                    <a:lnTo>
                      <a:pt x="27824" y="115888"/>
                    </a:lnTo>
                    <a:cubicBezTo>
                      <a:pt x="27983" y="123944"/>
                      <a:pt x="34610" y="130453"/>
                      <a:pt x="42667" y="130453"/>
                    </a:cubicBezTo>
                    <a:cubicBezTo>
                      <a:pt x="44453" y="130453"/>
                      <a:pt x="46199" y="130135"/>
                      <a:pt x="47826" y="129500"/>
                    </a:cubicBezTo>
                    <a:cubicBezTo>
                      <a:pt x="49096" y="134898"/>
                      <a:pt x="53978" y="138946"/>
                      <a:pt x="59733" y="138946"/>
                    </a:cubicBezTo>
                    <a:cubicBezTo>
                      <a:pt x="66321" y="138946"/>
                      <a:pt x="71599" y="133588"/>
                      <a:pt x="71480" y="127000"/>
                    </a:cubicBezTo>
                    <a:lnTo>
                      <a:pt x="71163" y="112117"/>
                    </a:lnTo>
                    <a:cubicBezTo>
                      <a:pt x="72671" y="112276"/>
                      <a:pt x="74179" y="112355"/>
                      <a:pt x="75727" y="112355"/>
                    </a:cubicBezTo>
                    <a:cubicBezTo>
                      <a:pt x="77552" y="112355"/>
                      <a:pt x="79338" y="112197"/>
                      <a:pt x="81124" y="111958"/>
                    </a:cubicBezTo>
                    <a:lnTo>
                      <a:pt x="81402" y="127000"/>
                    </a:lnTo>
                    <a:cubicBezTo>
                      <a:pt x="81521" y="133588"/>
                      <a:pt x="86998" y="138946"/>
                      <a:pt x="93586" y="138946"/>
                    </a:cubicBezTo>
                    <a:cubicBezTo>
                      <a:pt x="99301" y="138946"/>
                      <a:pt x="104064" y="134858"/>
                      <a:pt x="105095" y="129461"/>
                    </a:cubicBezTo>
                    <a:cubicBezTo>
                      <a:pt x="106762" y="130096"/>
                      <a:pt x="108509" y="130413"/>
                      <a:pt x="110334" y="130413"/>
                    </a:cubicBezTo>
                    <a:cubicBezTo>
                      <a:pt x="118351" y="130413"/>
                      <a:pt x="124780" y="123865"/>
                      <a:pt x="124622" y="115848"/>
                    </a:cubicBezTo>
                    <a:cubicBezTo>
                      <a:pt x="124622" y="115848"/>
                      <a:pt x="124622" y="115848"/>
                      <a:pt x="124622" y="115808"/>
                    </a:cubicBezTo>
                    <a:lnTo>
                      <a:pt x="124820" y="115808"/>
                    </a:lnTo>
                    <a:cubicBezTo>
                      <a:pt x="135615" y="115808"/>
                      <a:pt x="144267" y="107275"/>
                      <a:pt x="144069" y="96758"/>
                    </a:cubicBezTo>
                    <a:cubicBezTo>
                      <a:pt x="144029" y="93663"/>
                      <a:pt x="143235" y="90686"/>
                      <a:pt x="141767" y="88027"/>
                    </a:cubicBezTo>
                    <a:cubicBezTo>
                      <a:pt x="147482" y="83780"/>
                      <a:pt x="150895" y="76875"/>
                      <a:pt x="150776" y="69493"/>
                    </a:cubicBezTo>
                    <a:close/>
                    <a:moveTo>
                      <a:pt x="96483" y="42108"/>
                    </a:moveTo>
                    <a:lnTo>
                      <a:pt x="47945" y="91480"/>
                    </a:lnTo>
                    <a:cubicBezTo>
                      <a:pt x="36635" y="77708"/>
                      <a:pt x="37150" y="57428"/>
                      <a:pt x="49692" y="44648"/>
                    </a:cubicBezTo>
                    <a:cubicBezTo>
                      <a:pt x="56200" y="38021"/>
                      <a:pt x="64971" y="34369"/>
                      <a:pt x="74377" y="34369"/>
                    </a:cubicBezTo>
                    <a:cubicBezTo>
                      <a:pt x="82474" y="34369"/>
                      <a:pt x="90173" y="37108"/>
                      <a:pt x="96483" y="42108"/>
                    </a:cubicBezTo>
                    <a:close/>
                    <a:moveTo>
                      <a:pt x="63741" y="127040"/>
                    </a:moveTo>
                    <a:cubicBezTo>
                      <a:pt x="63781" y="129381"/>
                      <a:pt x="61915" y="131286"/>
                      <a:pt x="59574" y="131286"/>
                    </a:cubicBezTo>
                    <a:cubicBezTo>
                      <a:pt x="57193" y="131286"/>
                      <a:pt x="55248" y="129381"/>
                      <a:pt x="55208" y="127040"/>
                    </a:cubicBezTo>
                    <a:lnTo>
                      <a:pt x="55129" y="122079"/>
                    </a:lnTo>
                    <a:cubicBezTo>
                      <a:pt x="55089" y="120412"/>
                      <a:pt x="53978" y="118904"/>
                      <a:pt x="52390" y="118428"/>
                    </a:cubicBezTo>
                    <a:cubicBezTo>
                      <a:pt x="50763" y="117912"/>
                      <a:pt x="49057" y="118507"/>
                      <a:pt x="48104" y="119896"/>
                    </a:cubicBezTo>
                    <a:cubicBezTo>
                      <a:pt x="46834" y="121722"/>
                      <a:pt x="44770" y="122833"/>
                      <a:pt x="42548" y="122833"/>
                    </a:cubicBezTo>
                    <a:cubicBezTo>
                      <a:pt x="38738" y="122833"/>
                      <a:pt x="35603" y="119737"/>
                      <a:pt x="35523" y="115967"/>
                    </a:cubicBezTo>
                    <a:cubicBezTo>
                      <a:pt x="35523" y="114895"/>
                      <a:pt x="35722" y="113824"/>
                      <a:pt x="36158" y="112871"/>
                    </a:cubicBezTo>
                    <a:cubicBezTo>
                      <a:pt x="36833" y="111443"/>
                      <a:pt x="36555" y="109776"/>
                      <a:pt x="35484" y="108625"/>
                    </a:cubicBezTo>
                    <a:cubicBezTo>
                      <a:pt x="34412" y="107474"/>
                      <a:pt x="32745" y="107037"/>
                      <a:pt x="31277" y="107593"/>
                    </a:cubicBezTo>
                    <a:cubicBezTo>
                      <a:pt x="30126" y="108029"/>
                      <a:pt x="28856" y="108148"/>
                      <a:pt x="27427" y="108228"/>
                    </a:cubicBezTo>
                    <a:cubicBezTo>
                      <a:pt x="20918" y="108228"/>
                      <a:pt x="15521" y="103148"/>
                      <a:pt x="15362" y="96917"/>
                    </a:cubicBezTo>
                    <a:cubicBezTo>
                      <a:pt x="15322" y="94218"/>
                      <a:pt x="16275" y="91638"/>
                      <a:pt x="18061" y="89614"/>
                    </a:cubicBezTo>
                    <a:cubicBezTo>
                      <a:pt x="18100" y="89575"/>
                      <a:pt x="18100" y="89495"/>
                      <a:pt x="18140" y="89416"/>
                    </a:cubicBezTo>
                    <a:cubicBezTo>
                      <a:pt x="18259" y="89257"/>
                      <a:pt x="18418" y="89098"/>
                      <a:pt x="18537" y="88940"/>
                    </a:cubicBezTo>
                    <a:cubicBezTo>
                      <a:pt x="18537" y="88900"/>
                      <a:pt x="20125" y="86320"/>
                      <a:pt x="26594" y="81399"/>
                    </a:cubicBezTo>
                    <a:cubicBezTo>
                      <a:pt x="28260" y="80129"/>
                      <a:pt x="28578" y="77708"/>
                      <a:pt x="27229" y="76002"/>
                    </a:cubicBezTo>
                    <a:cubicBezTo>
                      <a:pt x="25919" y="74295"/>
                      <a:pt x="23498" y="73978"/>
                      <a:pt x="21831" y="75248"/>
                    </a:cubicBezTo>
                    <a:cubicBezTo>
                      <a:pt x="18100" y="78105"/>
                      <a:pt x="15719" y="80367"/>
                      <a:pt x="14211" y="81994"/>
                    </a:cubicBezTo>
                    <a:cubicBezTo>
                      <a:pt x="10242" y="79137"/>
                      <a:pt x="7782" y="74613"/>
                      <a:pt x="7702" y="69572"/>
                    </a:cubicBezTo>
                    <a:cubicBezTo>
                      <a:pt x="7623" y="64413"/>
                      <a:pt x="10123" y="59611"/>
                      <a:pt x="14211" y="56753"/>
                    </a:cubicBezTo>
                    <a:cubicBezTo>
                      <a:pt x="15680" y="57825"/>
                      <a:pt x="17862" y="59134"/>
                      <a:pt x="20879" y="60484"/>
                    </a:cubicBezTo>
                    <a:cubicBezTo>
                      <a:pt x="21395" y="60722"/>
                      <a:pt x="21910" y="60801"/>
                      <a:pt x="22426" y="60801"/>
                    </a:cubicBezTo>
                    <a:cubicBezTo>
                      <a:pt x="23895" y="60801"/>
                      <a:pt x="25284" y="59928"/>
                      <a:pt x="25919" y="58499"/>
                    </a:cubicBezTo>
                    <a:cubicBezTo>
                      <a:pt x="26752" y="56555"/>
                      <a:pt x="25800" y="54293"/>
                      <a:pt x="23855" y="53419"/>
                    </a:cubicBezTo>
                    <a:cubicBezTo>
                      <a:pt x="19609" y="51554"/>
                      <a:pt x="17624" y="49768"/>
                      <a:pt x="17346" y="49490"/>
                    </a:cubicBezTo>
                    <a:cubicBezTo>
                      <a:pt x="15481" y="47506"/>
                      <a:pt x="14449" y="44926"/>
                      <a:pt x="14370" y="42227"/>
                    </a:cubicBezTo>
                    <a:cubicBezTo>
                      <a:pt x="14251" y="35997"/>
                      <a:pt x="19490" y="30917"/>
                      <a:pt x="26038" y="30917"/>
                    </a:cubicBezTo>
                    <a:cubicBezTo>
                      <a:pt x="27427" y="30917"/>
                      <a:pt x="28697" y="31115"/>
                      <a:pt x="29848" y="31552"/>
                    </a:cubicBezTo>
                    <a:cubicBezTo>
                      <a:pt x="31316" y="32068"/>
                      <a:pt x="32944" y="31671"/>
                      <a:pt x="33975" y="30520"/>
                    </a:cubicBezTo>
                    <a:cubicBezTo>
                      <a:pt x="35007" y="29369"/>
                      <a:pt x="35245" y="27702"/>
                      <a:pt x="34531" y="26273"/>
                    </a:cubicBezTo>
                    <a:cubicBezTo>
                      <a:pt x="34015" y="25281"/>
                      <a:pt x="33777" y="24249"/>
                      <a:pt x="33777" y="23178"/>
                    </a:cubicBezTo>
                    <a:cubicBezTo>
                      <a:pt x="33698" y="19368"/>
                      <a:pt x="36754" y="16312"/>
                      <a:pt x="40524" y="16312"/>
                    </a:cubicBezTo>
                    <a:cubicBezTo>
                      <a:pt x="42786" y="16312"/>
                      <a:pt x="44850" y="17383"/>
                      <a:pt x="46160" y="19248"/>
                    </a:cubicBezTo>
                    <a:cubicBezTo>
                      <a:pt x="47152" y="20638"/>
                      <a:pt x="48898" y="21233"/>
                      <a:pt x="50485" y="20717"/>
                    </a:cubicBezTo>
                    <a:cubicBezTo>
                      <a:pt x="52073" y="20201"/>
                      <a:pt x="53145" y="18733"/>
                      <a:pt x="53105" y="17026"/>
                    </a:cubicBezTo>
                    <a:lnTo>
                      <a:pt x="53145" y="11986"/>
                    </a:lnTo>
                    <a:cubicBezTo>
                      <a:pt x="53105" y="10835"/>
                      <a:pt x="53541" y="9763"/>
                      <a:pt x="54375" y="8969"/>
                    </a:cubicBezTo>
                    <a:cubicBezTo>
                      <a:pt x="55169" y="8176"/>
                      <a:pt x="56200" y="7739"/>
                      <a:pt x="57391" y="7739"/>
                    </a:cubicBezTo>
                    <a:cubicBezTo>
                      <a:pt x="58463" y="7818"/>
                      <a:pt x="59574" y="8176"/>
                      <a:pt x="60368" y="8930"/>
                    </a:cubicBezTo>
                    <a:cubicBezTo>
                      <a:pt x="61201" y="9723"/>
                      <a:pt x="61677" y="10835"/>
                      <a:pt x="61677" y="11986"/>
                    </a:cubicBezTo>
                    <a:lnTo>
                      <a:pt x="61955" y="28456"/>
                    </a:lnTo>
                    <a:cubicBezTo>
                      <a:pt x="55248" y="30480"/>
                      <a:pt x="49176" y="34092"/>
                      <a:pt x="44135" y="39211"/>
                    </a:cubicBezTo>
                    <a:cubicBezTo>
                      <a:pt x="27745" y="55920"/>
                      <a:pt x="28181" y="83106"/>
                      <a:pt x="45207" y="99814"/>
                    </a:cubicBezTo>
                    <a:cubicBezTo>
                      <a:pt x="50406" y="104934"/>
                      <a:pt x="56637" y="108585"/>
                      <a:pt x="63424" y="110569"/>
                    </a:cubicBezTo>
                    <a:close/>
                    <a:moveTo>
                      <a:pt x="53502" y="96917"/>
                    </a:moveTo>
                    <a:lnTo>
                      <a:pt x="102040" y="47546"/>
                    </a:lnTo>
                    <a:cubicBezTo>
                      <a:pt x="107159" y="53777"/>
                      <a:pt x="110017" y="61436"/>
                      <a:pt x="110136" y="69533"/>
                    </a:cubicBezTo>
                    <a:cubicBezTo>
                      <a:pt x="110295" y="78938"/>
                      <a:pt x="106802" y="87749"/>
                      <a:pt x="100293" y="94377"/>
                    </a:cubicBezTo>
                    <a:cubicBezTo>
                      <a:pt x="93785" y="101005"/>
                      <a:pt x="85014" y="104656"/>
                      <a:pt x="75608" y="104656"/>
                    </a:cubicBezTo>
                    <a:cubicBezTo>
                      <a:pt x="67511" y="104656"/>
                      <a:pt x="59812" y="101918"/>
                      <a:pt x="53502" y="96917"/>
                    </a:cubicBezTo>
                    <a:close/>
                    <a:moveTo>
                      <a:pt x="137004" y="81915"/>
                    </a:moveTo>
                    <a:cubicBezTo>
                      <a:pt x="135417" y="80248"/>
                      <a:pt x="132996" y="78026"/>
                      <a:pt x="129146" y="75168"/>
                    </a:cubicBezTo>
                    <a:cubicBezTo>
                      <a:pt x="127440" y="73898"/>
                      <a:pt x="125019" y="74216"/>
                      <a:pt x="123788" y="75922"/>
                    </a:cubicBezTo>
                    <a:cubicBezTo>
                      <a:pt x="122518" y="77629"/>
                      <a:pt x="122915" y="80050"/>
                      <a:pt x="124622" y="81320"/>
                    </a:cubicBezTo>
                    <a:cubicBezTo>
                      <a:pt x="131011" y="86082"/>
                      <a:pt x="132797" y="88662"/>
                      <a:pt x="132916" y="88860"/>
                    </a:cubicBezTo>
                    <a:cubicBezTo>
                      <a:pt x="133075" y="89098"/>
                      <a:pt x="133234" y="89297"/>
                      <a:pt x="133432" y="89495"/>
                    </a:cubicBezTo>
                    <a:cubicBezTo>
                      <a:pt x="135298" y="91559"/>
                      <a:pt x="136330" y="94059"/>
                      <a:pt x="136369" y="96798"/>
                    </a:cubicBezTo>
                    <a:cubicBezTo>
                      <a:pt x="136488" y="103068"/>
                      <a:pt x="131250" y="108148"/>
                      <a:pt x="124701" y="108148"/>
                    </a:cubicBezTo>
                    <a:cubicBezTo>
                      <a:pt x="123391" y="108148"/>
                      <a:pt x="122082" y="107910"/>
                      <a:pt x="120812" y="107513"/>
                    </a:cubicBezTo>
                    <a:cubicBezTo>
                      <a:pt x="119343" y="106998"/>
                      <a:pt x="117716" y="107434"/>
                      <a:pt x="116684" y="108625"/>
                    </a:cubicBezTo>
                    <a:cubicBezTo>
                      <a:pt x="115692" y="109815"/>
                      <a:pt x="115494" y="111482"/>
                      <a:pt x="116208" y="112871"/>
                    </a:cubicBezTo>
                    <a:cubicBezTo>
                      <a:pt x="116684" y="113744"/>
                      <a:pt x="116922" y="114776"/>
                      <a:pt x="116922" y="115888"/>
                    </a:cubicBezTo>
                    <a:cubicBezTo>
                      <a:pt x="117002" y="119698"/>
                      <a:pt x="113985" y="122753"/>
                      <a:pt x="110215" y="122753"/>
                    </a:cubicBezTo>
                    <a:cubicBezTo>
                      <a:pt x="107993" y="122753"/>
                      <a:pt x="105850" y="121642"/>
                      <a:pt x="104500" y="119817"/>
                    </a:cubicBezTo>
                    <a:cubicBezTo>
                      <a:pt x="103508" y="118467"/>
                      <a:pt x="101762" y="117872"/>
                      <a:pt x="100174" y="118388"/>
                    </a:cubicBezTo>
                    <a:cubicBezTo>
                      <a:pt x="98587" y="118904"/>
                      <a:pt x="97555" y="120372"/>
                      <a:pt x="97555" y="122039"/>
                    </a:cubicBezTo>
                    <a:lnTo>
                      <a:pt x="97634" y="126960"/>
                    </a:lnTo>
                    <a:cubicBezTo>
                      <a:pt x="97674" y="129342"/>
                      <a:pt x="95809" y="131247"/>
                      <a:pt x="93467" y="131247"/>
                    </a:cubicBezTo>
                    <a:cubicBezTo>
                      <a:pt x="91086" y="131247"/>
                      <a:pt x="89141" y="129342"/>
                      <a:pt x="89101" y="127000"/>
                    </a:cubicBezTo>
                    <a:lnTo>
                      <a:pt x="88824" y="110252"/>
                    </a:lnTo>
                    <a:cubicBezTo>
                      <a:pt x="95213" y="108188"/>
                      <a:pt x="101008" y="104656"/>
                      <a:pt x="105810" y="99774"/>
                    </a:cubicBezTo>
                    <a:cubicBezTo>
                      <a:pt x="113747" y="91678"/>
                      <a:pt x="118034" y="80923"/>
                      <a:pt x="117835" y="69493"/>
                    </a:cubicBezTo>
                    <a:cubicBezTo>
                      <a:pt x="117637" y="58063"/>
                      <a:pt x="112993" y="47308"/>
                      <a:pt x="104738" y="39211"/>
                    </a:cubicBezTo>
                    <a:cubicBezTo>
                      <a:pt x="99738" y="34290"/>
                      <a:pt x="93785" y="30758"/>
                      <a:pt x="87315" y="28694"/>
                    </a:cubicBezTo>
                    <a:lnTo>
                      <a:pt x="87038" y="11986"/>
                    </a:lnTo>
                    <a:cubicBezTo>
                      <a:pt x="86998" y="9604"/>
                      <a:pt x="88903" y="7699"/>
                      <a:pt x="91245" y="7699"/>
                    </a:cubicBezTo>
                    <a:cubicBezTo>
                      <a:pt x="92356" y="7699"/>
                      <a:pt x="93427" y="8136"/>
                      <a:pt x="94300" y="9009"/>
                    </a:cubicBezTo>
                    <a:cubicBezTo>
                      <a:pt x="95094" y="9763"/>
                      <a:pt x="95531" y="10835"/>
                      <a:pt x="95570" y="11986"/>
                    </a:cubicBezTo>
                    <a:lnTo>
                      <a:pt x="95650" y="16907"/>
                    </a:lnTo>
                    <a:cubicBezTo>
                      <a:pt x="95690" y="18574"/>
                      <a:pt x="96801" y="20042"/>
                      <a:pt x="98388" y="20558"/>
                    </a:cubicBezTo>
                    <a:cubicBezTo>
                      <a:pt x="99976" y="21074"/>
                      <a:pt x="101722" y="20518"/>
                      <a:pt x="102675" y="19129"/>
                    </a:cubicBezTo>
                    <a:cubicBezTo>
                      <a:pt x="103984" y="17264"/>
                      <a:pt x="106048" y="16193"/>
                      <a:pt x="108310" y="16193"/>
                    </a:cubicBezTo>
                    <a:cubicBezTo>
                      <a:pt x="112120" y="16193"/>
                      <a:pt x="115255" y="19288"/>
                      <a:pt x="115335" y="23058"/>
                    </a:cubicBezTo>
                    <a:cubicBezTo>
                      <a:pt x="115335" y="24130"/>
                      <a:pt x="115136" y="25162"/>
                      <a:pt x="114700" y="26114"/>
                    </a:cubicBezTo>
                    <a:cubicBezTo>
                      <a:pt x="114025" y="27503"/>
                      <a:pt x="114303" y="29170"/>
                      <a:pt x="115335" y="30361"/>
                    </a:cubicBezTo>
                    <a:cubicBezTo>
                      <a:pt x="116367" y="31552"/>
                      <a:pt x="118034" y="31948"/>
                      <a:pt x="119502" y="31472"/>
                    </a:cubicBezTo>
                    <a:cubicBezTo>
                      <a:pt x="120732" y="31036"/>
                      <a:pt x="122082" y="30837"/>
                      <a:pt x="123352" y="30837"/>
                    </a:cubicBezTo>
                    <a:cubicBezTo>
                      <a:pt x="129900" y="30837"/>
                      <a:pt x="135337" y="35917"/>
                      <a:pt x="135417" y="42148"/>
                    </a:cubicBezTo>
                    <a:cubicBezTo>
                      <a:pt x="135456" y="44887"/>
                      <a:pt x="134544" y="47387"/>
                      <a:pt x="132758" y="49411"/>
                    </a:cubicBezTo>
                    <a:cubicBezTo>
                      <a:pt x="132599" y="49570"/>
                      <a:pt x="130694" y="51435"/>
                      <a:pt x="126368" y="53380"/>
                    </a:cubicBezTo>
                    <a:cubicBezTo>
                      <a:pt x="124423" y="54253"/>
                      <a:pt x="123590" y="56515"/>
                      <a:pt x="124503" y="58460"/>
                    </a:cubicBezTo>
                    <a:cubicBezTo>
                      <a:pt x="125177" y="59888"/>
                      <a:pt x="126606" y="60762"/>
                      <a:pt x="128075" y="60762"/>
                    </a:cubicBezTo>
                    <a:cubicBezTo>
                      <a:pt x="128590" y="60762"/>
                      <a:pt x="129106" y="60643"/>
                      <a:pt x="129622" y="60444"/>
                    </a:cubicBezTo>
                    <a:cubicBezTo>
                      <a:pt x="132559" y="59134"/>
                      <a:pt x="134702" y="57785"/>
                      <a:pt x="136131" y="56753"/>
                    </a:cubicBezTo>
                    <a:cubicBezTo>
                      <a:pt x="140378" y="59611"/>
                      <a:pt x="143076" y="64413"/>
                      <a:pt x="143156" y="69572"/>
                    </a:cubicBezTo>
                    <a:cubicBezTo>
                      <a:pt x="143156" y="74414"/>
                      <a:pt x="140814" y="79018"/>
                      <a:pt x="137004" y="81915"/>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spTree>
    <p:extLst>
      <p:ext uri="{BB962C8B-B14F-4D97-AF65-F5344CB8AC3E}">
        <p14:creationId xmlns:p14="http://schemas.microsoft.com/office/powerpoint/2010/main" val="5532749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5FCBA71-635C-605B-7697-425E7C23425D}"/>
              </a:ext>
            </a:extLst>
          </p:cNvPr>
          <p:cNvGraphicFramePr>
            <a:graphicFrameLocks noChangeAspect="1"/>
          </p:cNvGraphicFramePr>
          <p:nvPr>
            <p:custDataLst>
              <p:tags r:id="rId1"/>
            </p:custDataLst>
            <p:extLst>
              <p:ext uri="{D42A27DB-BD31-4B8C-83A1-F6EECF244321}">
                <p14:modId xmlns:p14="http://schemas.microsoft.com/office/powerpoint/2010/main" val="1967164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think-cell data - do not delete" hidden="1">
                        <a:extLst>
                          <a:ext uri="{FF2B5EF4-FFF2-40B4-BE49-F238E27FC236}">
                            <a16:creationId xmlns:a16="http://schemas.microsoft.com/office/drawing/2014/main" id="{A5FCBA71-635C-605B-7697-425E7C2342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9" name="Picture 38" descr="An office with many computers&#10;&#10;AI-generated content may be incorrect.">
            <a:extLst>
              <a:ext uri="{FF2B5EF4-FFF2-40B4-BE49-F238E27FC236}">
                <a16:creationId xmlns:a16="http://schemas.microsoft.com/office/drawing/2014/main" id="{FC9DF870-36AB-D7FF-FB3D-5FA5B9D2B300}"/>
              </a:ext>
            </a:extLst>
          </p:cNvPr>
          <p:cNvPicPr>
            <a:picLocks noChangeAspect="1"/>
          </p:cNvPicPr>
          <p:nvPr/>
        </p:nvPicPr>
        <p:blipFill rotWithShape="1">
          <a:blip r:embed="rId5"/>
          <a:srcRect l="2" t="35657" r="25762" b="468"/>
          <a:stretch/>
        </p:blipFill>
        <p:spPr>
          <a:xfrm>
            <a:off x="2" y="3598343"/>
            <a:ext cx="3788228" cy="3259659"/>
          </a:xfrm>
          <a:custGeom>
            <a:avLst/>
            <a:gdLst>
              <a:gd name="connsiteX0" fmla="*/ 0 w 3788229"/>
              <a:gd name="connsiteY0" fmla="*/ 0 h 3259659"/>
              <a:gd name="connsiteX1" fmla="*/ 3788229 w 3788229"/>
              <a:gd name="connsiteY1" fmla="*/ 0 h 3259659"/>
              <a:gd name="connsiteX2" fmla="*/ 3788229 w 3788229"/>
              <a:gd name="connsiteY2" fmla="*/ 3259659 h 3259659"/>
              <a:gd name="connsiteX3" fmla="*/ 0 w 3788229"/>
              <a:gd name="connsiteY3" fmla="*/ 3259659 h 3259659"/>
            </a:gdLst>
            <a:ahLst/>
            <a:cxnLst>
              <a:cxn ang="0">
                <a:pos x="connsiteX0" y="connsiteY0"/>
              </a:cxn>
              <a:cxn ang="0">
                <a:pos x="connsiteX1" y="connsiteY1"/>
              </a:cxn>
              <a:cxn ang="0">
                <a:pos x="connsiteX2" y="connsiteY2"/>
              </a:cxn>
              <a:cxn ang="0">
                <a:pos x="connsiteX3" y="connsiteY3"/>
              </a:cxn>
            </a:cxnLst>
            <a:rect l="l" t="t" r="r" b="b"/>
            <a:pathLst>
              <a:path w="3788229" h="3259659">
                <a:moveTo>
                  <a:pt x="0" y="0"/>
                </a:moveTo>
                <a:lnTo>
                  <a:pt x="3788229" y="0"/>
                </a:lnTo>
                <a:lnTo>
                  <a:pt x="3788229" y="3259659"/>
                </a:lnTo>
                <a:lnTo>
                  <a:pt x="0" y="3259659"/>
                </a:lnTo>
                <a:close/>
              </a:path>
            </a:pathLst>
          </a:custGeom>
        </p:spPr>
      </p:pic>
      <p:pic>
        <p:nvPicPr>
          <p:cNvPr id="38" name="Picture 37" descr="A person shaking hands with another person&#10;&#10;AI-generated content may be incorrect.">
            <a:extLst>
              <a:ext uri="{FF2B5EF4-FFF2-40B4-BE49-F238E27FC236}">
                <a16:creationId xmlns:a16="http://schemas.microsoft.com/office/drawing/2014/main" id="{A10F267A-4911-80F6-CA91-2ED597C665D3}"/>
              </a:ext>
            </a:extLst>
          </p:cNvPr>
          <p:cNvPicPr>
            <a:picLocks noChangeAspect="1"/>
          </p:cNvPicPr>
          <p:nvPr/>
        </p:nvPicPr>
        <p:blipFill rotWithShape="1">
          <a:blip r:embed="rId6"/>
          <a:srcRect l="17451" t="-430" r="12899" b="33839"/>
          <a:stretch/>
        </p:blipFill>
        <p:spPr>
          <a:xfrm>
            <a:off x="1" y="-23391"/>
            <a:ext cx="3788229" cy="3621734"/>
          </a:xfrm>
          <a:custGeom>
            <a:avLst/>
            <a:gdLst>
              <a:gd name="connsiteX0" fmla="*/ 0 w 3788229"/>
              <a:gd name="connsiteY0" fmla="*/ 0 h 3621734"/>
              <a:gd name="connsiteX1" fmla="*/ 3788229 w 3788229"/>
              <a:gd name="connsiteY1" fmla="*/ 0 h 3621734"/>
              <a:gd name="connsiteX2" fmla="*/ 3788229 w 3788229"/>
              <a:gd name="connsiteY2" fmla="*/ 3621734 h 3621734"/>
              <a:gd name="connsiteX3" fmla="*/ 0 w 3788229"/>
              <a:gd name="connsiteY3" fmla="*/ 3621734 h 3621734"/>
            </a:gdLst>
            <a:ahLst/>
            <a:cxnLst>
              <a:cxn ang="0">
                <a:pos x="connsiteX0" y="connsiteY0"/>
              </a:cxn>
              <a:cxn ang="0">
                <a:pos x="connsiteX1" y="connsiteY1"/>
              </a:cxn>
              <a:cxn ang="0">
                <a:pos x="connsiteX2" y="connsiteY2"/>
              </a:cxn>
              <a:cxn ang="0">
                <a:pos x="connsiteX3" y="connsiteY3"/>
              </a:cxn>
            </a:cxnLst>
            <a:rect l="l" t="t" r="r" b="b"/>
            <a:pathLst>
              <a:path w="3788229" h="3621734">
                <a:moveTo>
                  <a:pt x="0" y="0"/>
                </a:moveTo>
                <a:lnTo>
                  <a:pt x="3788229" y="0"/>
                </a:lnTo>
                <a:lnTo>
                  <a:pt x="3788229" y="3621734"/>
                </a:lnTo>
                <a:lnTo>
                  <a:pt x="0" y="3621734"/>
                </a:lnTo>
                <a:close/>
              </a:path>
            </a:pathLst>
          </a:custGeom>
        </p:spPr>
      </p:pic>
      <p:sp>
        <p:nvSpPr>
          <p:cNvPr id="34" name="Rectangle 33">
            <a:extLst>
              <a:ext uri="{FF2B5EF4-FFF2-40B4-BE49-F238E27FC236}">
                <a16:creationId xmlns:a16="http://schemas.microsoft.com/office/drawing/2014/main" id="{FA02332C-03A9-51A6-E376-59557AAC6F1A}"/>
              </a:ext>
            </a:extLst>
          </p:cNvPr>
          <p:cNvSpPr/>
          <p:nvPr/>
        </p:nvSpPr>
        <p:spPr>
          <a:xfrm flipH="1">
            <a:off x="-4" y="0"/>
            <a:ext cx="3788234" cy="6858002"/>
          </a:xfrm>
          <a:prstGeom prst="rect">
            <a:avLst/>
          </a:prstGeom>
          <a:gradFill flip="none" rotWithShape="1">
            <a:gsLst>
              <a:gs pos="55000">
                <a:srgbClr val="88B3B4">
                  <a:alpha val="0"/>
                </a:srgbClr>
              </a:gs>
              <a:gs pos="21000">
                <a:srgbClr val="C6DBDB">
                  <a:alpha val="0"/>
                </a:srgbClr>
              </a:gs>
              <a:gs pos="0">
                <a:schemeClr val="bg1">
                  <a:alpha val="0"/>
                </a:schemeClr>
              </a:gs>
              <a:gs pos="89000">
                <a:schemeClr val="accent6"/>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304770"/>
            <a:endParaRPr lang="en-US" sz="1280">
              <a:solidFill>
                <a:srgbClr val="FFFFFF"/>
              </a:solidFill>
              <a:latin typeface="Moderat" pitchFamily="2" charset="77"/>
            </a:endParaRPr>
          </a:p>
        </p:txBody>
      </p:sp>
      <p:sp>
        <p:nvSpPr>
          <p:cNvPr id="35" name="Text 7">
            <a:extLst>
              <a:ext uri="{FF2B5EF4-FFF2-40B4-BE49-F238E27FC236}">
                <a16:creationId xmlns:a16="http://schemas.microsoft.com/office/drawing/2014/main" id="{154CD072-3F63-30BE-5366-9C600A51DDB4}"/>
              </a:ext>
            </a:extLst>
          </p:cNvPr>
          <p:cNvSpPr>
            <a:spLocks/>
          </p:cNvSpPr>
          <p:nvPr/>
        </p:nvSpPr>
        <p:spPr>
          <a:xfrm>
            <a:off x="515938" y="5753286"/>
            <a:ext cx="3054576" cy="743256"/>
          </a:xfrm>
          <a:prstGeom prst="roundRect">
            <a:avLst>
              <a:gd name="adj" fmla="val 1879"/>
            </a:avLst>
          </a:prstGeom>
          <a:solidFill>
            <a:schemeClr val="accent1">
              <a:alpha val="60000"/>
            </a:schemeClr>
          </a:solidFill>
          <a:ln/>
        </p:spPr>
        <p:txBody>
          <a:bodyPr wrap="square" lIns="144000" tIns="144000" rIns="144000" bIns="144000" rtlCol="0" anchor="ctr">
            <a:noAutofit/>
          </a:bodyPr>
          <a:lstStyle/>
          <a:p>
            <a:pPr algn="ctr">
              <a:lnSpc>
                <a:spcPts val="1916"/>
              </a:lnSpc>
              <a:spcAft>
                <a:spcPts val="600"/>
              </a:spcAft>
            </a:pPr>
            <a:r>
              <a:rPr lang="en-US" sz="1600" b="1">
                <a:solidFill>
                  <a:schemeClr val="bg1"/>
                </a:solidFill>
                <a:latin typeface="Moderat" pitchFamily="2" charset="77"/>
                <a:ea typeface="Lato Bold" pitchFamily="34" charset="-122"/>
                <a:cs typeface="Lato Bold" pitchFamily="34" charset="-120"/>
              </a:rPr>
              <a:t>We deliver Day 1 so your teams can focus on Day 2 and beyond</a:t>
            </a:r>
          </a:p>
        </p:txBody>
      </p:sp>
      <p:sp>
        <p:nvSpPr>
          <p:cNvPr id="2" name="Rectangle 1">
            <a:extLst>
              <a:ext uri="{FF2B5EF4-FFF2-40B4-BE49-F238E27FC236}">
                <a16:creationId xmlns:a16="http://schemas.microsoft.com/office/drawing/2014/main" id="{05791D46-46B2-851F-C88B-3C8B469E9926}"/>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latin typeface="Moderat" pitchFamily="2" charset="77"/>
              </a:rPr>
              <a:t>Day 1 Onboarding Delivery for GCCs</a:t>
            </a:r>
          </a:p>
        </p:txBody>
      </p:sp>
      <p:sp>
        <p:nvSpPr>
          <p:cNvPr id="41" name="Text 1">
            <a:extLst>
              <a:ext uri="{FF2B5EF4-FFF2-40B4-BE49-F238E27FC236}">
                <a16:creationId xmlns:a16="http://schemas.microsoft.com/office/drawing/2014/main" id="{BC3B09E7-98D5-66F9-D47C-78F78D67DD7B}"/>
              </a:ext>
            </a:extLst>
          </p:cNvPr>
          <p:cNvSpPr/>
          <p:nvPr/>
        </p:nvSpPr>
        <p:spPr>
          <a:xfrm>
            <a:off x="4065105" y="1222623"/>
            <a:ext cx="7591907" cy="205184"/>
          </a:xfrm>
          <a:prstGeom prst="rect">
            <a:avLst/>
          </a:prstGeom>
          <a:noFill/>
          <a:ln/>
        </p:spPr>
        <p:txBody>
          <a:bodyPr wrap="square" lIns="0" tIns="0" rIns="0" bIns="0" rtlCol="0" anchor="t">
            <a:spAutoFit/>
          </a:bodyPr>
          <a:lstStyle/>
          <a:p>
            <a:pPr defTabSz="571500">
              <a:lnSpc>
                <a:spcPts val="1563"/>
              </a:lnSpc>
            </a:pPr>
            <a:r>
              <a:rPr lang="en-US" sz="1400">
                <a:solidFill>
                  <a:srgbClr val="504C49"/>
                </a:solidFill>
                <a:latin typeface="Moderat" pitchFamily="2" charset="77"/>
                <a:ea typeface="Source Serif 4" pitchFamily="34" charset="-122"/>
                <a:cs typeface="Source Serif 4" pitchFamily="34" charset="-120"/>
              </a:rPr>
              <a:t>Consistent. Confident. Ready from Day One.</a:t>
            </a:r>
          </a:p>
        </p:txBody>
      </p:sp>
      <p:grpSp>
        <p:nvGrpSpPr>
          <p:cNvPr id="3" name="Group 2">
            <a:extLst>
              <a:ext uri="{FF2B5EF4-FFF2-40B4-BE49-F238E27FC236}">
                <a16:creationId xmlns:a16="http://schemas.microsoft.com/office/drawing/2014/main" id="{927422D4-ED31-7385-791D-68B9E8DD1154}"/>
              </a:ext>
            </a:extLst>
          </p:cNvPr>
          <p:cNvGrpSpPr/>
          <p:nvPr/>
        </p:nvGrpSpPr>
        <p:grpSpPr>
          <a:xfrm>
            <a:off x="8403772" y="1421527"/>
            <a:ext cx="3272291" cy="2176815"/>
            <a:chOff x="8403772" y="1421527"/>
            <a:chExt cx="3272291" cy="2176815"/>
          </a:xfrm>
        </p:grpSpPr>
        <p:sp>
          <p:nvSpPr>
            <p:cNvPr id="22" name="Shape 2">
              <a:extLst>
                <a:ext uri="{FF2B5EF4-FFF2-40B4-BE49-F238E27FC236}">
                  <a16:creationId xmlns:a16="http://schemas.microsoft.com/office/drawing/2014/main" id="{03CB02CB-9E03-944C-C6BF-1A8B825DD151}"/>
                </a:ext>
              </a:extLst>
            </p:cNvPr>
            <p:cNvSpPr/>
            <p:nvPr/>
          </p:nvSpPr>
          <p:spPr>
            <a:xfrm flipV="1">
              <a:off x="8403772" y="1421527"/>
              <a:ext cx="3272289" cy="2176815"/>
            </a:xfrm>
            <a:prstGeom prst="roundRect">
              <a:avLst>
                <a:gd name="adj" fmla="val 4325"/>
              </a:avLst>
            </a:prstGeom>
            <a:solidFill>
              <a:schemeClr val="bg1">
                <a:lumMod val="95000"/>
              </a:schemeClr>
            </a:solidFill>
            <a:ln w="7620">
              <a:noFill/>
              <a:prstDash val="solid"/>
            </a:ln>
          </p:spPr>
          <p:txBody>
            <a:bodyPr/>
            <a:lstStyle/>
            <a:p>
              <a:endParaRPr lang="en-IN" sz="1125">
                <a:latin typeface="Moderat" pitchFamily="2" charset="77"/>
              </a:endParaRPr>
            </a:p>
          </p:txBody>
        </p:sp>
        <p:sp>
          <p:nvSpPr>
            <p:cNvPr id="14" name="Text 7">
              <a:extLst>
                <a:ext uri="{FF2B5EF4-FFF2-40B4-BE49-F238E27FC236}">
                  <a16:creationId xmlns:a16="http://schemas.microsoft.com/office/drawing/2014/main" id="{2413F7E7-B083-2A39-300C-3AFB2B49225A}"/>
                </a:ext>
              </a:extLst>
            </p:cNvPr>
            <p:cNvSpPr/>
            <p:nvPr/>
          </p:nvSpPr>
          <p:spPr>
            <a:xfrm>
              <a:off x="8403774" y="1861901"/>
              <a:ext cx="3272289" cy="250453"/>
            </a:xfrm>
            <a:prstGeom prst="rect">
              <a:avLst/>
            </a:prstGeom>
            <a:noFill/>
            <a:ln/>
          </p:spPr>
          <p:txBody>
            <a:bodyPr wrap="square" lIns="0" tIns="0" rIns="0" bIns="0" rtlCol="0" anchor="t">
              <a:spAutoFit/>
            </a:bodyPr>
            <a:lstStyle/>
            <a:p>
              <a:pPr algn="ctr">
                <a:lnSpc>
                  <a:spcPts val="1916"/>
                </a:lnSpc>
              </a:pPr>
              <a:r>
                <a:rPr lang="en-US" sz="2000" b="1">
                  <a:solidFill>
                    <a:schemeClr val="accent6"/>
                  </a:solidFill>
                  <a:latin typeface="Moderat" pitchFamily="2" charset="77"/>
                  <a:ea typeface="Lato Bold" pitchFamily="34" charset="-122"/>
                  <a:cs typeface="Lato Bold" pitchFamily="34" charset="-120"/>
                </a:rPr>
                <a:t>Operational Readiness</a:t>
              </a:r>
            </a:p>
          </p:txBody>
        </p:sp>
        <p:pic>
          <p:nvPicPr>
            <p:cNvPr id="15" name="Graphic 14" descr="Internet with solid fill">
              <a:extLst>
                <a:ext uri="{FF2B5EF4-FFF2-40B4-BE49-F238E27FC236}">
                  <a16:creationId xmlns:a16="http://schemas.microsoft.com/office/drawing/2014/main" id="{519B2514-1D78-BD24-2527-0F180E817D97}"/>
                </a:ext>
              </a:extLst>
            </p:cNvPr>
            <p:cNvPicPr>
              <a:picLocks noChangeAspect="1"/>
            </p:cNvPicPr>
            <p:nvPr/>
          </p:nvPicPr>
          <p:blipFill>
            <a:blip r:embed="rId7">
              <a:extLst>
                <a:ext uri="{96DAC541-7B7A-43D3-8B79-37D633B846F1}">
                  <asvg:svgBlip xmlns:asvg="http://schemas.microsoft.com/office/drawing/2016/SVG/main" r:embed="rId8"/>
                </a:ext>
              </a:extLst>
            </a:blip>
            <a:srcRect t="16367" b="16315"/>
            <a:stretch>
              <a:fillRect/>
            </a:stretch>
          </p:blipFill>
          <p:spPr>
            <a:xfrm>
              <a:off x="8608993" y="2494649"/>
              <a:ext cx="927762" cy="624548"/>
            </a:xfrm>
            <a:prstGeom prst="rect">
              <a:avLst/>
            </a:prstGeom>
          </p:spPr>
        </p:pic>
        <p:pic>
          <p:nvPicPr>
            <p:cNvPr id="20" name="Graphic 19" descr="Employee badge outline">
              <a:extLst>
                <a:ext uri="{FF2B5EF4-FFF2-40B4-BE49-F238E27FC236}">
                  <a16:creationId xmlns:a16="http://schemas.microsoft.com/office/drawing/2014/main" id="{D912654A-AC26-205B-FC78-BEC3FD809BE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742751" y="2346176"/>
              <a:ext cx="811913" cy="811913"/>
            </a:xfrm>
            <a:prstGeom prst="rect">
              <a:avLst/>
            </a:prstGeom>
          </p:spPr>
        </p:pic>
        <p:pic>
          <p:nvPicPr>
            <p:cNvPr id="21" name="Graphic 20" descr="Badge Tick with solid fill">
              <a:extLst>
                <a:ext uri="{FF2B5EF4-FFF2-40B4-BE49-F238E27FC236}">
                  <a16:creationId xmlns:a16="http://schemas.microsoft.com/office/drawing/2014/main" id="{7FF9F032-0672-D7C7-F0AA-31C180518EC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760659" y="2400966"/>
              <a:ext cx="811913" cy="811913"/>
            </a:xfrm>
            <a:prstGeom prst="rect">
              <a:avLst/>
            </a:prstGeom>
          </p:spPr>
        </p:pic>
      </p:grpSp>
      <p:grpSp>
        <p:nvGrpSpPr>
          <p:cNvPr id="4" name="Group 3">
            <a:extLst>
              <a:ext uri="{FF2B5EF4-FFF2-40B4-BE49-F238E27FC236}">
                <a16:creationId xmlns:a16="http://schemas.microsoft.com/office/drawing/2014/main" id="{7BD340FB-D713-752A-39B4-6E5DB9A2282C}"/>
              </a:ext>
            </a:extLst>
          </p:cNvPr>
          <p:cNvGrpSpPr/>
          <p:nvPr/>
        </p:nvGrpSpPr>
        <p:grpSpPr>
          <a:xfrm>
            <a:off x="8403772" y="3799060"/>
            <a:ext cx="3272291" cy="2176815"/>
            <a:chOff x="8403772" y="3799060"/>
            <a:chExt cx="3272291" cy="2176815"/>
          </a:xfrm>
        </p:grpSpPr>
        <p:sp>
          <p:nvSpPr>
            <p:cNvPr id="25" name="Shape 2">
              <a:extLst>
                <a:ext uri="{FF2B5EF4-FFF2-40B4-BE49-F238E27FC236}">
                  <a16:creationId xmlns:a16="http://schemas.microsoft.com/office/drawing/2014/main" id="{73964D9D-048D-B03B-905B-394468233EE3}"/>
                </a:ext>
              </a:extLst>
            </p:cNvPr>
            <p:cNvSpPr/>
            <p:nvPr/>
          </p:nvSpPr>
          <p:spPr>
            <a:xfrm flipV="1">
              <a:off x="8403772" y="3799060"/>
              <a:ext cx="3272289" cy="2176815"/>
            </a:xfrm>
            <a:prstGeom prst="roundRect">
              <a:avLst>
                <a:gd name="adj" fmla="val 4325"/>
              </a:avLst>
            </a:prstGeom>
            <a:solidFill>
              <a:schemeClr val="bg1">
                <a:lumMod val="95000"/>
              </a:schemeClr>
            </a:solidFill>
            <a:ln w="7620">
              <a:noFill/>
              <a:prstDash val="solid"/>
            </a:ln>
          </p:spPr>
          <p:txBody>
            <a:bodyPr/>
            <a:lstStyle/>
            <a:p>
              <a:endParaRPr lang="en-IN" sz="1125">
                <a:latin typeface="Moderat" pitchFamily="2" charset="77"/>
              </a:endParaRPr>
            </a:p>
          </p:txBody>
        </p:sp>
        <p:sp>
          <p:nvSpPr>
            <p:cNvPr id="26" name="Text 7">
              <a:extLst>
                <a:ext uri="{FF2B5EF4-FFF2-40B4-BE49-F238E27FC236}">
                  <a16:creationId xmlns:a16="http://schemas.microsoft.com/office/drawing/2014/main" id="{A76DB96D-6382-8DF3-07FB-2316E8C4AB42}"/>
                </a:ext>
              </a:extLst>
            </p:cNvPr>
            <p:cNvSpPr/>
            <p:nvPr/>
          </p:nvSpPr>
          <p:spPr>
            <a:xfrm>
              <a:off x="8403774" y="4292911"/>
              <a:ext cx="3272289" cy="250453"/>
            </a:xfrm>
            <a:prstGeom prst="rect">
              <a:avLst/>
            </a:prstGeom>
            <a:noFill/>
            <a:ln/>
          </p:spPr>
          <p:txBody>
            <a:bodyPr wrap="square" lIns="0" tIns="0" rIns="0" bIns="0" rtlCol="0" anchor="t">
              <a:spAutoFit/>
            </a:bodyPr>
            <a:lstStyle/>
            <a:p>
              <a:pPr algn="ctr">
                <a:lnSpc>
                  <a:spcPts val="1916"/>
                </a:lnSpc>
              </a:pPr>
              <a:r>
                <a:rPr lang="en-US" sz="2000" b="1">
                  <a:solidFill>
                    <a:schemeClr val="accent6"/>
                  </a:solidFill>
                  <a:latin typeface="Moderat" pitchFamily="2" charset="77"/>
                  <a:ea typeface="Lato Bold" pitchFamily="34" charset="-122"/>
                  <a:cs typeface="Lato Bold" pitchFamily="34" charset="-120"/>
                </a:rPr>
                <a:t>Cultural Readiness</a:t>
              </a:r>
            </a:p>
          </p:txBody>
        </p:sp>
        <p:pic>
          <p:nvPicPr>
            <p:cNvPr id="27" name="Graphic 26" descr="Reflection outline">
              <a:extLst>
                <a:ext uri="{FF2B5EF4-FFF2-40B4-BE49-F238E27FC236}">
                  <a16:creationId xmlns:a16="http://schemas.microsoft.com/office/drawing/2014/main" id="{F0328065-377D-16BF-BEAE-5EAABF96BD0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270476" y="4744082"/>
              <a:ext cx="811913" cy="811913"/>
            </a:xfrm>
            <a:prstGeom prst="rect">
              <a:avLst/>
            </a:prstGeom>
          </p:spPr>
        </p:pic>
        <p:pic>
          <p:nvPicPr>
            <p:cNvPr id="28" name="Graphic 27" descr="Cheers outline">
              <a:extLst>
                <a:ext uri="{FF2B5EF4-FFF2-40B4-BE49-F238E27FC236}">
                  <a16:creationId xmlns:a16="http://schemas.microsoft.com/office/drawing/2014/main" id="{039CAD62-8FA9-5F5F-1A7F-2B68C557CE2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961526" y="4744082"/>
              <a:ext cx="811913" cy="811913"/>
            </a:xfrm>
            <a:prstGeom prst="rect">
              <a:avLst/>
            </a:prstGeom>
          </p:spPr>
        </p:pic>
      </p:grpSp>
      <p:grpSp>
        <p:nvGrpSpPr>
          <p:cNvPr id="168" name="Group 167">
            <a:extLst>
              <a:ext uri="{FF2B5EF4-FFF2-40B4-BE49-F238E27FC236}">
                <a16:creationId xmlns:a16="http://schemas.microsoft.com/office/drawing/2014/main" id="{CD5BA4C5-0470-1A42-3D46-7C7703083329}"/>
              </a:ext>
            </a:extLst>
          </p:cNvPr>
          <p:cNvGrpSpPr/>
          <p:nvPr/>
        </p:nvGrpSpPr>
        <p:grpSpPr>
          <a:xfrm>
            <a:off x="4065104" y="1610871"/>
            <a:ext cx="3934170" cy="4365004"/>
            <a:chOff x="4065104" y="1610871"/>
            <a:chExt cx="3934170" cy="4365004"/>
          </a:xfrm>
        </p:grpSpPr>
        <p:grpSp>
          <p:nvGrpSpPr>
            <p:cNvPr id="164" name="Group 163">
              <a:extLst>
                <a:ext uri="{FF2B5EF4-FFF2-40B4-BE49-F238E27FC236}">
                  <a16:creationId xmlns:a16="http://schemas.microsoft.com/office/drawing/2014/main" id="{2C616297-6B6F-D8C2-543F-D17C7F145878}"/>
                </a:ext>
              </a:extLst>
            </p:cNvPr>
            <p:cNvGrpSpPr/>
            <p:nvPr/>
          </p:nvGrpSpPr>
          <p:grpSpPr>
            <a:xfrm>
              <a:off x="5271003" y="5005812"/>
              <a:ext cx="254467" cy="628074"/>
              <a:chOff x="4164224" y="2242658"/>
              <a:chExt cx="222656" cy="652771"/>
            </a:xfrm>
          </p:grpSpPr>
          <p:sp>
            <p:nvSpPr>
              <p:cNvPr id="165" name="Rectangle 164">
                <a:extLst>
                  <a:ext uri="{FF2B5EF4-FFF2-40B4-BE49-F238E27FC236}">
                    <a16:creationId xmlns:a16="http://schemas.microsoft.com/office/drawing/2014/main" id="{4D076671-A8E1-7EE7-1B30-7157C30C98FB}"/>
                  </a:ext>
                </a:extLst>
              </p:cNvPr>
              <p:cNvSpPr/>
              <p:nvPr/>
            </p:nvSpPr>
            <p:spPr>
              <a:xfrm>
                <a:off x="4164224" y="2242658"/>
                <a:ext cx="69057" cy="52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166" name="Connector: Elbow 165">
                <a:extLst>
                  <a:ext uri="{FF2B5EF4-FFF2-40B4-BE49-F238E27FC236}">
                    <a16:creationId xmlns:a16="http://schemas.microsoft.com/office/drawing/2014/main" id="{DD608032-4A47-E61A-C443-6724CA90CA62}"/>
                  </a:ext>
                </a:extLst>
              </p:cNvPr>
              <p:cNvCxnSpPr>
                <a:cxnSpLocks/>
                <a:stCxn id="165" idx="2"/>
                <a:endCxn id="140" idx="1"/>
              </p:cNvCxnSpPr>
              <p:nvPr/>
            </p:nvCxnSpPr>
            <p:spPr>
              <a:xfrm rot="16200000" flipH="1">
                <a:off x="3992526" y="2501074"/>
                <a:ext cx="600580" cy="188129"/>
              </a:xfrm>
              <a:prstGeom prst="bentConnector2">
                <a:avLst/>
              </a:prstGeom>
              <a:ln>
                <a:prstDash val="lgDash"/>
                <a:tailEnd type="triangle"/>
              </a:ln>
            </p:spPr>
            <p:style>
              <a:lnRef idx="1">
                <a:schemeClr val="accent1"/>
              </a:lnRef>
              <a:fillRef idx="0">
                <a:schemeClr val="accent1"/>
              </a:fillRef>
              <a:effectRef idx="0">
                <a:schemeClr val="accent1"/>
              </a:effectRef>
              <a:fontRef idx="minor">
                <a:schemeClr val="tx1"/>
              </a:fontRef>
            </p:style>
          </p:cxnSp>
        </p:grpSp>
        <p:grpSp>
          <p:nvGrpSpPr>
            <p:cNvPr id="160" name="Group 159">
              <a:extLst>
                <a:ext uri="{FF2B5EF4-FFF2-40B4-BE49-F238E27FC236}">
                  <a16:creationId xmlns:a16="http://schemas.microsoft.com/office/drawing/2014/main" id="{06EB93AD-8622-F745-7C09-2844A4C15456}"/>
                </a:ext>
              </a:extLst>
            </p:cNvPr>
            <p:cNvGrpSpPr/>
            <p:nvPr/>
          </p:nvGrpSpPr>
          <p:grpSpPr>
            <a:xfrm>
              <a:off x="4896247" y="4085554"/>
              <a:ext cx="264133" cy="628074"/>
              <a:chOff x="4164224" y="2242658"/>
              <a:chExt cx="231113" cy="652771"/>
            </a:xfrm>
          </p:grpSpPr>
          <p:sp>
            <p:nvSpPr>
              <p:cNvPr id="161" name="Rectangle 160">
                <a:extLst>
                  <a:ext uri="{FF2B5EF4-FFF2-40B4-BE49-F238E27FC236}">
                    <a16:creationId xmlns:a16="http://schemas.microsoft.com/office/drawing/2014/main" id="{BDCF771D-F35E-AA55-6F1D-AB31B71C59C6}"/>
                  </a:ext>
                </a:extLst>
              </p:cNvPr>
              <p:cNvSpPr/>
              <p:nvPr/>
            </p:nvSpPr>
            <p:spPr>
              <a:xfrm>
                <a:off x="4164224" y="2242658"/>
                <a:ext cx="69057" cy="52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162" name="Connector: Elbow 161">
                <a:extLst>
                  <a:ext uri="{FF2B5EF4-FFF2-40B4-BE49-F238E27FC236}">
                    <a16:creationId xmlns:a16="http://schemas.microsoft.com/office/drawing/2014/main" id="{E3F669AB-F0D1-A88D-AC4A-7EA35CCD1279}"/>
                  </a:ext>
                </a:extLst>
              </p:cNvPr>
              <p:cNvCxnSpPr>
                <a:cxnSpLocks/>
                <a:stCxn id="161" idx="2"/>
                <a:endCxn id="137" idx="1"/>
              </p:cNvCxnSpPr>
              <p:nvPr/>
            </p:nvCxnSpPr>
            <p:spPr>
              <a:xfrm rot="16200000" flipH="1">
                <a:off x="3996755" y="2496846"/>
                <a:ext cx="600580" cy="196585"/>
              </a:xfrm>
              <a:prstGeom prst="bentConnector2">
                <a:avLst/>
              </a:prstGeom>
              <a:ln>
                <a:prstDash val="lgDash"/>
                <a:tailEnd type="triangle"/>
              </a:ln>
            </p:spPr>
            <p:style>
              <a:lnRef idx="1">
                <a:schemeClr val="accent1"/>
              </a:lnRef>
              <a:fillRef idx="0">
                <a:schemeClr val="accent1"/>
              </a:fillRef>
              <a:effectRef idx="0">
                <a:schemeClr val="accent1"/>
              </a:effectRef>
              <a:fontRef idx="minor">
                <a:schemeClr val="tx1"/>
              </a:fontRef>
            </p:style>
          </p:cxnSp>
        </p:grpSp>
        <p:grpSp>
          <p:nvGrpSpPr>
            <p:cNvPr id="156" name="Group 155">
              <a:extLst>
                <a:ext uri="{FF2B5EF4-FFF2-40B4-BE49-F238E27FC236}">
                  <a16:creationId xmlns:a16="http://schemas.microsoft.com/office/drawing/2014/main" id="{39B389E2-4D76-2730-03AE-25C3785FE9E9}"/>
                </a:ext>
              </a:extLst>
            </p:cNvPr>
            <p:cNvGrpSpPr/>
            <p:nvPr/>
          </p:nvGrpSpPr>
          <p:grpSpPr>
            <a:xfrm>
              <a:off x="4520450" y="3165298"/>
              <a:ext cx="274844" cy="628074"/>
              <a:chOff x="4164224" y="2242658"/>
              <a:chExt cx="240485" cy="652771"/>
            </a:xfrm>
          </p:grpSpPr>
          <p:sp>
            <p:nvSpPr>
              <p:cNvPr id="157" name="Rectangle 156">
                <a:extLst>
                  <a:ext uri="{FF2B5EF4-FFF2-40B4-BE49-F238E27FC236}">
                    <a16:creationId xmlns:a16="http://schemas.microsoft.com/office/drawing/2014/main" id="{8B1F58F6-AABE-E1F7-1236-1F92DCC68BF6}"/>
                  </a:ext>
                </a:extLst>
              </p:cNvPr>
              <p:cNvSpPr/>
              <p:nvPr/>
            </p:nvSpPr>
            <p:spPr>
              <a:xfrm>
                <a:off x="4164224" y="2242658"/>
                <a:ext cx="69057" cy="52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158" name="Connector: Elbow 157">
                <a:extLst>
                  <a:ext uri="{FF2B5EF4-FFF2-40B4-BE49-F238E27FC236}">
                    <a16:creationId xmlns:a16="http://schemas.microsoft.com/office/drawing/2014/main" id="{45E4BDF0-4624-EB2B-01B9-2FF84C377E6C}"/>
                  </a:ext>
                </a:extLst>
              </p:cNvPr>
              <p:cNvCxnSpPr>
                <a:cxnSpLocks/>
                <a:stCxn id="157" idx="2"/>
                <a:endCxn id="134" idx="1"/>
              </p:cNvCxnSpPr>
              <p:nvPr/>
            </p:nvCxnSpPr>
            <p:spPr>
              <a:xfrm rot="16200000" flipH="1">
                <a:off x="4001441" y="2492161"/>
                <a:ext cx="600580" cy="205956"/>
              </a:xfrm>
              <a:prstGeom prst="bentConnector2">
                <a:avLst/>
              </a:prstGeom>
              <a:ln>
                <a:prstDash val="lgDash"/>
                <a:tailEnd type="triangle"/>
              </a:ln>
            </p:spPr>
            <p:style>
              <a:lnRef idx="1">
                <a:schemeClr val="accent1"/>
              </a:lnRef>
              <a:fillRef idx="0">
                <a:schemeClr val="accent1"/>
              </a:fillRef>
              <a:effectRef idx="0">
                <a:schemeClr val="accent1"/>
              </a:effectRef>
              <a:fontRef idx="minor">
                <a:schemeClr val="tx1"/>
              </a:fontRef>
            </p:style>
          </p:cxnSp>
        </p:grpSp>
        <p:grpSp>
          <p:nvGrpSpPr>
            <p:cNvPr id="155" name="Group 154">
              <a:extLst>
                <a:ext uri="{FF2B5EF4-FFF2-40B4-BE49-F238E27FC236}">
                  <a16:creationId xmlns:a16="http://schemas.microsoft.com/office/drawing/2014/main" id="{21DDFDBA-387B-C423-9DBF-DD9FE9C6DFAF}"/>
                </a:ext>
              </a:extLst>
            </p:cNvPr>
            <p:cNvGrpSpPr/>
            <p:nvPr/>
          </p:nvGrpSpPr>
          <p:grpSpPr>
            <a:xfrm>
              <a:off x="4164224" y="2242658"/>
              <a:ext cx="265974" cy="630457"/>
              <a:chOff x="4164224" y="2242658"/>
              <a:chExt cx="265974" cy="630457"/>
            </a:xfrm>
          </p:grpSpPr>
          <p:sp>
            <p:nvSpPr>
              <p:cNvPr id="151" name="Rectangle 150">
                <a:extLst>
                  <a:ext uri="{FF2B5EF4-FFF2-40B4-BE49-F238E27FC236}">
                    <a16:creationId xmlns:a16="http://schemas.microsoft.com/office/drawing/2014/main" id="{8902C826-8DF0-1B30-CBC1-0E99F1895711}"/>
                  </a:ext>
                </a:extLst>
              </p:cNvPr>
              <p:cNvSpPr/>
              <p:nvPr/>
            </p:nvSpPr>
            <p:spPr>
              <a:xfrm>
                <a:off x="4164224" y="2242658"/>
                <a:ext cx="69057" cy="52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148" name="Connector: Elbow 147">
                <a:extLst>
                  <a:ext uri="{FF2B5EF4-FFF2-40B4-BE49-F238E27FC236}">
                    <a16:creationId xmlns:a16="http://schemas.microsoft.com/office/drawing/2014/main" id="{C13DF08A-CD75-2713-E067-DD6C8FBC14B3}"/>
                  </a:ext>
                </a:extLst>
              </p:cNvPr>
              <p:cNvCxnSpPr>
                <a:cxnSpLocks/>
                <a:stCxn id="151" idx="2"/>
                <a:endCxn id="131" idx="1"/>
              </p:cNvCxnSpPr>
              <p:nvPr/>
            </p:nvCxnSpPr>
            <p:spPr>
              <a:xfrm rot="16200000" flipH="1">
                <a:off x="4025342" y="2468259"/>
                <a:ext cx="578267" cy="231445"/>
              </a:xfrm>
              <a:prstGeom prst="bentConnector2">
                <a:avLst/>
              </a:prstGeom>
              <a:ln>
                <a:prstDash val="lgDash"/>
                <a:tailEnd type="triangle"/>
              </a:ln>
            </p:spPr>
            <p:style>
              <a:lnRef idx="1">
                <a:schemeClr val="accent1"/>
              </a:lnRef>
              <a:fillRef idx="0">
                <a:schemeClr val="accent1"/>
              </a:fillRef>
              <a:effectRef idx="0">
                <a:schemeClr val="accent1"/>
              </a:effectRef>
              <a:fontRef idx="minor">
                <a:schemeClr val="tx1"/>
              </a:fontRef>
            </p:style>
          </p:cxnSp>
        </p:grpSp>
        <p:grpSp>
          <p:nvGrpSpPr>
            <p:cNvPr id="142" name="Group 141">
              <a:extLst>
                <a:ext uri="{FF2B5EF4-FFF2-40B4-BE49-F238E27FC236}">
                  <a16:creationId xmlns:a16="http://schemas.microsoft.com/office/drawing/2014/main" id="{9CCEC294-33A8-597D-A3E1-7F9E36FBB786}"/>
                </a:ext>
              </a:extLst>
            </p:cNvPr>
            <p:cNvGrpSpPr/>
            <p:nvPr/>
          </p:nvGrpSpPr>
          <p:grpSpPr>
            <a:xfrm>
              <a:off x="4065104" y="1610871"/>
              <a:ext cx="2473794" cy="683978"/>
              <a:chOff x="4065104" y="1610871"/>
              <a:chExt cx="2473794" cy="683978"/>
            </a:xfrm>
          </p:grpSpPr>
          <p:sp>
            <p:nvSpPr>
              <p:cNvPr id="127" name="Shape 5">
                <a:extLst>
                  <a:ext uri="{FF2B5EF4-FFF2-40B4-BE49-F238E27FC236}">
                    <a16:creationId xmlns:a16="http://schemas.microsoft.com/office/drawing/2014/main" id="{4D41E46E-8F51-7B6C-9E37-3880B4C8960A}"/>
                  </a:ext>
                </a:extLst>
              </p:cNvPr>
              <p:cNvSpPr>
                <a:spLocks noChangeAspect="1"/>
              </p:cNvSpPr>
              <p:nvPr/>
            </p:nvSpPr>
            <p:spPr>
              <a:xfrm>
                <a:off x="4065104" y="1610871"/>
                <a:ext cx="1083725" cy="683978"/>
              </a:xfrm>
              <a:prstGeom prst="roundRect">
                <a:avLst/>
              </a:prstGeom>
              <a:solidFill>
                <a:schemeClr val="accent3"/>
              </a:solidFill>
              <a:ln/>
            </p:spPr>
            <p:txBody>
              <a:bodyPr anchor="ctr"/>
              <a:lstStyle/>
              <a:p>
                <a:pPr algn="ctr"/>
                <a:r>
                  <a:rPr lang="en-IN" sz="1400" b="1">
                    <a:solidFill>
                      <a:schemeClr val="bg1"/>
                    </a:solidFill>
                    <a:latin typeface="Moderat" pitchFamily="2" charset="77"/>
                  </a:rPr>
                  <a:t>Pre-Day 1 Prep</a:t>
                </a:r>
              </a:p>
            </p:txBody>
          </p:sp>
          <p:sp>
            <p:nvSpPr>
              <p:cNvPr id="32" name="Text 5">
                <a:extLst>
                  <a:ext uri="{FF2B5EF4-FFF2-40B4-BE49-F238E27FC236}">
                    <a16:creationId xmlns:a16="http://schemas.microsoft.com/office/drawing/2014/main" id="{274DE04E-99C6-A8CF-94C5-C44C14A259DF}"/>
                  </a:ext>
                </a:extLst>
              </p:cNvPr>
              <p:cNvSpPr/>
              <p:nvPr/>
            </p:nvSpPr>
            <p:spPr>
              <a:xfrm>
                <a:off x="5170480" y="1610871"/>
                <a:ext cx="1368418" cy="683978"/>
              </a:xfrm>
              <a:prstGeom prst="rect">
                <a:avLst/>
              </a:prstGeom>
              <a:noFill/>
              <a:ln/>
            </p:spPr>
            <p:txBody>
              <a:bodyPr wrap="square" lIns="72000" tIns="0" rIns="0" bIns="0" rtlCol="0" anchor="ctr"/>
              <a:lstStyle/>
              <a:p>
                <a:pPr defTabSz="571500">
                  <a:lnSpc>
                    <a:spcPts val="1440"/>
                  </a:lnSpc>
                  <a:spcAft>
                    <a:spcPts val="1200"/>
                  </a:spcAft>
                  <a:buClr>
                    <a:schemeClr val="accent5"/>
                  </a:buClr>
                  <a:buSzPct val="100000"/>
                </a:pPr>
                <a:r>
                  <a:rPr lang="en-US" sz="1400">
                    <a:solidFill>
                      <a:srgbClr val="4A4A45"/>
                    </a:solidFill>
                    <a:latin typeface="Moderat" pitchFamily="2" charset="77"/>
                  </a:rPr>
                  <a:t>Access, assets</a:t>
                </a:r>
              </a:p>
            </p:txBody>
          </p:sp>
        </p:grpSp>
        <p:grpSp>
          <p:nvGrpSpPr>
            <p:cNvPr id="143" name="Group 142">
              <a:extLst>
                <a:ext uri="{FF2B5EF4-FFF2-40B4-BE49-F238E27FC236}">
                  <a16:creationId xmlns:a16="http://schemas.microsoft.com/office/drawing/2014/main" id="{162AB4D9-4EED-A883-3A72-CAD7B07BF2DB}"/>
                </a:ext>
              </a:extLst>
            </p:cNvPr>
            <p:cNvGrpSpPr/>
            <p:nvPr/>
          </p:nvGrpSpPr>
          <p:grpSpPr>
            <a:xfrm>
              <a:off x="4430198" y="2531127"/>
              <a:ext cx="2473794" cy="683978"/>
              <a:chOff x="4430198" y="2552518"/>
              <a:chExt cx="2473794" cy="683978"/>
            </a:xfrm>
          </p:grpSpPr>
          <p:sp>
            <p:nvSpPr>
              <p:cNvPr id="131" name="Shape 5">
                <a:extLst>
                  <a:ext uri="{FF2B5EF4-FFF2-40B4-BE49-F238E27FC236}">
                    <a16:creationId xmlns:a16="http://schemas.microsoft.com/office/drawing/2014/main" id="{0530457C-055F-5072-9DFF-603331398BD5}"/>
                  </a:ext>
                </a:extLst>
              </p:cNvPr>
              <p:cNvSpPr>
                <a:spLocks noChangeAspect="1"/>
              </p:cNvSpPr>
              <p:nvPr/>
            </p:nvSpPr>
            <p:spPr>
              <a:xfrm>
                <a:off x="4430198" y="2552518"/>
                <a:ext cx="1083725" cy="683978"/>
              </a:xfrm>
              <a:prstGeom prst="roundRect">
                <a:avLst/>
              </a:prstGeom>
              <a:solidFill>
                <a:schemeClr val="accent3"/>
              </a:solidFill>
              <a:ln/>
            </p:spPr>
            <p:txBody>
              <a:bodyPr anchor="ctr"/>
              <a:lstStyle/>
              <a:p>
                <a:pPr algn="ctr"/>
                <a:r>
                  <a:rPr lang="en-IN" sz="1400" b="1">
                    <a:solidFill>
                      <a:schemeClr val="bg1"/>
                    </a:solidFill>
                    <a:latin typeface="Moderat" pitchFamily="2" charset="77"/>
                  </a:rPr>
                  <a:t>Day 1 Welcome</a:t>
                </a:r>
              </a:p>
            </p:txBody>
          </p:sp>
          <p:sp>
            <p:nvSpPr>
              <p:cNvPr id="132" name="Text 5">
                <a:extLst>
                  <a:ext uri="{FF2B5EF4-FFF2-40B4-BE49-F238E27FC236}">
                    <a16:creationId xmlns:a16="http://schemas.microsoft.com/office/drawing/2014/main" id="{3A2F5483-B0E3-A006-19B9-77929D0CCDD8}"/>
                  </a:ext>
                </a:extLst>
              </p:cNvPr>
              <p:cNvSpPr/>
              <p:nvPr/>
            </p:nvSpPr>
            <p:spPr>
              <a:xfrm>
                <a:off x="5535574" y="2552518"/>
                <a:ext cx="1368418" cy="683978"/>
              </a:xfrm>
              <a:prstGeom prst="rect">
                <a:avLst/>
              </a:prstGeom>
              <a:noFill/>
              <a:ln/>
            </p:spPr>
            <p:txBody>
              <a:bodyPr wrap="square" lIns="72000" tIns="0" rIns="0" bIns="0" rtlCol="0" anchor="ctr"/>
              <a:lstStyle/>
              <a:p>
                <a:pPr defTabSz="571500">
                  <a:lnSpc>
                    <a:spcPts val="1440"/>
                  </a:lnSpc>
                  <a:spcAft>
                    <a:spcPts val="1200"/>
                  </a:spcAft>
                  <a:buClr>
                    <a:schemeClr val="accent5"/>
                  </a:buClr>
                  <a:buSzPct val="100000"/>
                </a:pPr>
                <a:r>
                  <a:rPr lang="en-US" sz="1400">
                    <a:solidFill>
                      <a:srgbClr val="4A4A45"/>
                    </a:solidFill>
                    <a:latin typeface="Moderat" pitchFamily="2" charset="77"/>
                  </a:rPr>
                  <a:t>Greetings</a:t>
                </a:r>
              </a:p>
            </p:txBody>
          </p:sp>
        </p:grpSp>
        <p:grpSp>
          <p:nvGrpSpPr>
            <p:cNvPr id="144" name="Group 143">
              <a:extLst>
                <a:ext uri="{FF2B5EF4-FFF2-40B4-BE49-F238E27FC236}">
                  <a16:creationId xmlns:a16="http://schemas.microsoft.com/office/drawing/2014/main" id="{1772EB28-2D01-01F0-E3BE-977D7B6F34BE}"/>
                </a:ext>
              </a:extLst>
            </p:cNvPr>
            <p:cNvGrpSpPr/>
            <p:nvPr/>
          </p:nvGrpSpPr>
          <p:grpSpPr>
            <a:xfrm>
              <a:off x="4795292" y="3451383"/>
              <a:ext cx="2473794" cy="683978"/>
              <a:chOff x="4795292" y="3494165"/>
              <a:chExt cx="2473794" cy="683978"/>
            </a:xfrm>
          </p:grpSpPr>
          <p:sp>
            <p:nvSpPr>
              <p:cNvPr id="134" name="Shape 5">
                <a:extLst>
                  <a:ext uri="{FF2B5EF4-FFF2-40B4-BE49-F238E27FC236}">
                    <a16:creationId xmlns:a16="http://schemas.microsoft.com/office/drawing/2014/main" id="{851B25FA-EDCF-540A-8261-46E941BA9F2E}"/>
                  </a:ext>
                </a:extLst>
              </p:cNvPr>
              <p:cNvSpPr>
                <a:spLocks noChangeAspect="1"/>
              </p:cNvSpPr>
              <p:nvPr/>
            </p:nvSpPr>
            <p:spPr>
              <a:xfrm>
                <a:off x="4795292" y="3494165"/>
                <a:ext cx="1083725" cy="683978"/>
              </a:xfrm>
              <a:prstGeom prst="roundRect">
                <a:avLst/>
              </a:prstGeom>
              <a:solidFill>
                <a:schemeClr val="accent3"/>
              </a:solidFill>
              <a:ln/>
            </p:spPr>
            <p:txBody>
              <a:bodyPr anchor="ctr"/>
              <a:lstStyle/>
              <a:p>
                <a:pPr algn="ctr"/>
                <a:r>
                  <a:rPr lang="en-IN" sz="1400" b="1">
                    <a:solidFill>
                      <a:schemeClr val="bg1"/>
                    </a:solidFill>
                    <a:latin typeface="Moderat" pitchFamily="2" charset="77"/>
                  </a:rPr>
                  <a:t>Tech &amp; Access</a:t>
                </a:r>
              </a:p>
            </p:txBody>
          </p:sp>
          <p:sp>
            <p:nvSpPr>
              <p:cNvPr id="135" name="Text 5">
                <a:extLst>
                  <a:ext uri="{FF2B5EF4-FFF2-40B4-BE49-F238E27FC236}">
                    <a16:creationId xmlns:a16="http://schemas.microsoft.com/office/drawing/2014/main" id="{A40452B4-D29F-EB87-EC85-CB12BE6887FA}"/>
                  </a:ext>
                </a:extLst>
              </p:cNvPr>
              <p:cNvSpPr/>
              <p:nvPr/>
            </p:nvSpPr>
            <p:spPr>
              <a:xfrm>
                <a:off x="5900668" y="3494165"/>
                <a:ext cx="1368418" cy="683978"/>
              </a:xfrm>
              <a:prstGeom prst="rect">
                <a:avLst/>
              </a:prstGeom>
              <a:noFill/>
              <a:ln/>
            </p:spPr>
            <p:txBody>
              <a:bodyPr wrap="square" lIns="72000" tIns="0" rIns="0" bIns="0" rtlCol="0" anchor="ctr"/>
              <a:lstStyle/>
              <a:p>
                <a:pPr defTabSz="571500">
                  <a:lnSpc>
                    <a:spcPts val="1440"/>
                  </a:lnSpc>
                  <a:spcAft>
                    <a:spcPts val="1200"/>
                  </a:spcAft>
                  <a:buClr>
                    <a:schemeClr val="accent5"/>
                  </a:buClr>
                  <a:buSzPct val="100000"/>
                </a:pPr>
                <a:r>
                  <a:rPr lang="en-US" sz="1400">
                    <a:solidFill>
                      <a:srgbClr val="4A4A45"/>
                    </a:solidFill>
                    <a:latin typeface="Moderat" pitchFamily="2" charset="77"/>
                  </a:rPr>
                  <a:t>Laptop, login, badge</a:t>
                </a:r>
              </a:p>
            </p:txBody>
          </p:sp>
        </p:grpSp>
        <p:grpSp>
          <p:nvGrpSpPr>
            <p:cNvPr id="145" name="Group 144">
              <a:extLst>
                <a:ext uri="{FF2B5EF4-FFF2-40B4-BE49-F238E27FC236}">
                  <a16:creationId xmlns:a16="http://schemas.microsoft.com/office/drawing/2014/main" id="{AA699E52-C286-04B8-1401-A79D3C47F517}"/>
                </a:ext>
              </a:extLst>
            </p:cNvPr>
            <p:cNvGrpSpPr/>
            <p:nvPr/>
          </p:nvGrpSpPr>
          <p:grpSpPr>
            <a:xfrm>
              <a:off x="5160386" y="4371639"/>
              <a:ext cx="2649714" cy="683978"/>
              <a:chOff x="5160386" y="4435812"/>
              <a:chExt cx="2649714" cy="683978"/>
            </a:xfrm>
          </p:grpSpPr>
          <p:sp>
            <p:nvSpPr>
              <p:cNvPr id="137" name="Shape 5">
                <a:extLst>
                  <a:ext uri="{FF2B5EF4-FFF2-40B4-BE49-F238E27FC236}">
                    <a16:creationId xmlns:a16="http://schemas.microsoft.com/office/drawing/2014/main" id="{889DF969-9805-A4FA-D72E-0744CABB96E8}"/>
                  </a:ext>
                </a:extLst>
              </p:cNvPr>
              <p:cNvSpPr>
                <a:spLocks noChangeAspect="1"/>
              </p:cNvSpPr>
              <p:nvPr/>
            </p:nvSpPr>
            <p:spPr>
              <a:xfrm>
                <a:off x="5160386" y="4435812"/>
                <a:ext cx="1083725" cy="683978"/>
              </a:xfrm>
              <a:prstGeom prst="roundRect">
                <a:avLst/>
              </a:prstGeom>
              <a:solidFill>
                <a:schemeClr val="accent3"/>
              </a:solidFill>
              <a:ln/>
            </p:spPr>
            <p:txBody>
              <a:bodyPr anchor="ctr"/>
              <a:lstStyle/>
              <a:p>
                <a:pPr algn="ctr"/>
                <a:r>
                  <a:rPr lang="en-IN" sz="1400" b="1">
                    <a:solidFill>
                      <a:schemeClr val="bg1"/>
                    </a:solidFill>
                    <a:latin typeface="Moderat" pitchFamily="2" charset="77"/>
                  </a:rPr>
                  <a:t>Company Info</a:t>
                </a:r>
              </a:p>
            </p:txBody>
          </p:sp>
          <p:sp>
            <p:nvSpPr>
              <p:cNvPr id="138" name="Text 5">
                <a:extLst>
                  <a:ext uri="{FF2B5EF4-FFF2-40B4-BE49-F238E27FC236}">
                    <a16:creationId xmlns:a16="http://schemas.microsoft.com/office/drawing/2014/main" id="{D5E02931-59F8-2AE4-0907-264E5FB58C6A}"/>
                  </a:ext>
                </a:extLst>
              </p:cNvPr>
              <p:cNvSpPr/>
              <p:nvPr/>
            </p:nvSpPr>
            <p:spPr>
              <a:xfrm>
                <a:off x="6265762" y="4435812"/>
                <a:ext cx="1544338" cy="683978"/>
              </a:xfrm>
              <a:prstGeom prst="rect">
                <a:avLst/>
              </a:prstGeom>
              <a:noFill/>
              <a:ln/>
            </p:spPr>
            <p:txBody>
              <a:bodyPr wrap="square" lIns="72000" tIns="0" rIns="0" bIns="0" rtlCol="0" anchor="ctr"/>
              <a:lstStyle/>
              <a:p>
                <a:pPr defTabSz="571500">
                  <a:lnSpc>
                    <a:spcPts val="1440"/>
                  </a:lnSpc>
                  <a:spcAft>
                    <a:spcPts val="1200"/>
                  </a:spcAft>
                  <a:buClr>
                    <a:schemeClr val="accent5"/>
                  </a:buClr>
                  <a:buSzPct val="100000"/>
                </a:pPr>
                <a:r>
                  <a:rPr lang="en-US" sz="1400">
                    <a:solidFill>
                      <a:srgbClr val="4A4A45"/>
                    </a:solidFill>
                    <a:latin typeface="Moderat" pitchFamily="2" charset="77"/>
                  </a:rPr>
                  <a:t>Purpose, values, ways of working</a:t>
                </a:r>
              </a:p>
            </p:txBody>
          </p:sp>
        </p:grpSp>
        <p:grpSp>
          <p:nvGrpSpPr>
            <p:cNvPr id="146" name="Group 145">
              <a:extLst>
                <a:ext uri="{FF2B5EF4-FFF2-40B4-BE49-F238E27FC236}">
                  <a16:creationId xmlns:a16="http://schemas.microsoft.com/office/drawing/2014/main" id="{0D833CDC-246F-DCCE-581A-A98A10B98CD1}"/>
                </a:ext>
              </a:extLst>
            </p:cNvPr>
            <p:cNvGrpSpPr/>
            <p:nvPr/>
          </p:nvGrpSpPr>
          <p:grpSpPr>
            <a:xfrm>
              <a:off x="5525480" y="5291897"/>
              <a:ext cx="2473794" cy="683978"/>
              <a:chOff x="5525480" y="5377457"/>
              <a:chExt cx="2473794" cy="683978"/>
            </a:xfrm>
          </p:grpSpPr>
          <p:sp>
            <p:nvSpPr>
              <p:cNvPr id="140" name="Shape 5">
                <a:extLst>
                  <a:ext uri="{FF2B5EF4-FFF2-40B4-BE49-F238E27FC236}">
                    <a16:creationId xmlns:a16="http://schemas.microsoft.com/office/drawing/2014/main" id="{795EF1CC-AC2B-0C5D-61ED-7BFEF90E6DFF}"/>
                  </a:ext>
                </a:extLst>
              </p:cNvPr>
              <p:cNvSpPr>
                <a:spLocks noChangeAspect="1"/>
              </p:cNvSpPr>
              <p:nvPr/>
            </p:nvSpPr>
            <p:spPr>
              <a:xfrm>
                <a:off x="5525480" y="5377457"/>
                <a:ext cx="1083725" cy="683978"/>
              </a:xfrm>
              <a:prstGeom prst="roundRect">
                <a:avLst/>
              </a:prstGeom>
              <a:solidFill>
                <a:schemeClr val="accent3"/>
              </a:solidFill>
              <a:ln/>
            </p:spPr>
            <p:txBody>
              <a:bodyPr anchor="ctr"/>
              <a:lstStyle/>
              <a:p>
                <a:pPr algn="ctr"/>
                <a:r>
                  <a:rPr lang="en-IN" sz="1400" b="1">
                    <a:solidFill>
                      <a:schemeClr val="bg1"/>
                    </a:solidFill>
                    <a:latin typeface="Moderat" pitchFamily="2" charset="77"/>
                  </a:rPr>
                  <a:t>First Day Confidence Check</a:t>
                </a:r>
              </a:p>
            </p:txBody>
          </p:sp>
          <p:sp>
            <p:nvSpPr>
              <p:cNvPr id="141" name="Text 5">
                <a:extLst>
                  <a:ext uri="{FF2B5EF4-FFF2-40B4-BE49-F238E27FC236}">
                    <a16:creationId xmlns:a16="http://schemas.microsoft.com/office/drawing/2014/main" id="{C94D47BB-99E0-4D7F-7ED3-947ADCF451FD}"/>
                  </a:ext>
                </a:extLst>
              </p:cNvPr>
              <p:cNvSpPr/>
              <p:nvPr/>
            </p:nvSpPr>
            <p:spPr>
              <a:xfrm>
                <a:off x="6630856" y="5377457"/>
                <a:ext cx="1368418" cy="683978"/>
              </a:xfrm>
              <a:prstGeom prst="rect">
                <a:avLst/>
              </a:prstGeom>
              <a:noFill/>
              <a:ln/>
            </p:spPr>
            <p:txBody>
              <a:bodyPr wrap="square" lIns="72000" tIns="0" rIns="0" bIns="0" rtlCol="0" anchor="ctr"/>
              <a:lstStyle/>
              <a:p>
                <a:pPr defTabSz="571500">
                  <a:lnSpc>
                    <a:spcPts val="1440"/>
                  </a:lnSpc>
                  <a:spcAft>
                    <a:spcPts val="1200"/>
                  </a:spcAft>
                  <a:buClr>
                    <a:schemeClr val="accent5"/>
                  </a:buClr>
                  <a:buSzPct val="100000"/>
                </a:pPr>
                <a:r>
                  <a:rPr lang="en-US" sz="1400">
                    <a:solidFill>
                      <a:srgbClr val="4A4A45"/>
                    </a:solidFill>
                    <a:latin typeface="Moderat" pitchFamily="2" charset="77"/>
                  </a:rPr>
                  <a:t>Pulse check</a:t>
                </a:r>
              </a:p>
            </p:txBody>
          </p:sp>
        </p:grpSp>
      </p:grpSp>
    </p:spTree>
    <p:extLst>
      <p:ext uri="{BB962C8B-B14F-4D97-AF65-F5344CB8AC3E}">
        <p14:creationId xmlns:p14="http://schemas.microsoft.com/office/powerpoint/2010/main" val="33379420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74A36F-04D9-D371-B289-EA269D7C2838}"/>
              </a:ext>
            </a:extLst>
          </p:cNvPr>
          <p:cNvSpPr/>
          <p:nvPr/>
        </p:nvSpPr>
        <p:spPr>
          <a:xfrm>
            <a:off x="515938" y="123025"/>
            <a:ext cx="7494206" cy="597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b"/>
          <a:lstStyle/>
          <a:p>
            <a:r>
              <a:rPr lang="en-US" b="1" dirty="0">
                <a:solidFill>
                  <a:schemeClr val="tx1"/>
                </a:solidFill>
                <a:latin typeface="Moderat" pitchFamily="2" charset="77"/>
              </a:rPr>
              <a:t>Accelerating Time to Productivity </a:t>
            </a:r>
          </a:p>
        </p:txBody>
      </p:sp>
      <p:sp>
        <p:nvSpPr>
          <p:cNvPr id="4" name="Text 1">
            <a:extLst>
              <a:ext uri="{FF2B5EF4-FFF2-40B4-BE49-F238E27FC236}">
                <a16:creationId xmlns:a16="http://schemas.microsoft.com/office/drawing/2014/main" id="{9928747D-A291-F562-30AF-004D6223FB71}"/>
              </a:ext>
            </a:extLst>
          </p:cNvPr>
          <p:cNvSpPr/>
          <p:nvPr/>
        </p:nvSpPr>
        <p:spPr>
          <a:xfrm>
            <a:off x="515938" y="1068714"/>
            <a:ext cx="11223390" cy="208006"/>
          </a:xfrm>
          <a:prstGeom prst="rect">
            <a:avLst/>
          </a:prstGeom>
          <a:noFill/>
          <a:ln/>
        </p:spPr>
        <p:txBody>
          <a:bodyPr wrap="square" lIns="0" tIns="0" rIns="0" bIns="0" rtlCol="0" anchor="t">
            <a:spAutoFit/>
          </a:bodyPr>
          <a:lstStyle/>
          <a:p>
            <a:pPr defTabSz="571500">
              <a:lnSpc>
                <a:spcPts val="1563"/>
              </a:lnSpc>
            </a:pPr>
            <a:r>
              <a:rPr lang="en-US" sz="1600" b="1" dirty="0">
                <a:solidFill>
                  <a:schemeClr val="accent1"/>
                </a:solidFill>
                <a:latin typeface="Moderat" pitchFamily="2" charset="77"/>
                <a:ea typeface="Source Serif 4" pitchFamily="34" charset="-122"/>
                <a:cs typeface="Source Serif 4" pitchFamily="34" charset="-120"/>
              </a:rPr>
              <a:t>Scaling a GCC Through Structured Functional Onboarding</a:t>
            </a:r>
          </a:p>
        </p:txBody>
      </p:sp>
      <p:sp>
        <p:nvSpPr>
          <p:cNvPr id="3" name="Text 4">
            <a:extLst>
              <a:ext uri="{FF2B5EF4-FFF2-40B4-BE49-F238E27FC236}">
                <a16:creationId xmlns:a16="http://schemas.microsoft.com/office/drawing/2014/main" id="{EB3912BC-605A-5B21-33C4-19B65ECC79CF}"/>
              </a:ext>
            </a:extLst>
          </p:cNvPr>
          <p:cNvSpPr/>
          <p:nvPr/>
        </p:nvSpPr>
        <p:spPr>
          <a:xfrm>
            <a:off x="530181" y="1399089"/>
            <a:ext cx="2965494" cy="207694"/>
          </a:xfrm>
          <a:prstGeom prst="rect">
            <a:avLst/>
          </a:prstGeom>
          <a:noFill/>
          <a:ln/>
        </p:spPr>
        <p:txBody>
          <a:bodyPr wrap="square" lIns="0" tIns="0" rIns="0" bIns="0" rtlCol="0" anchor="t">
            <a:spAutoFit/>
          </a:bodyPr>
          <a:lstStyle/>
          <a:p>
            <a:r>
              <a:rPr lang="en-US" sz="1600" b="1" dirty="0">
                <a:solidFill>
                  <a:schemeClr val="accent6"/>
                </a:solidFill>
                <a:latin typeface="Moderat" pitchFamily="2" charset="77"/>
                <a:ea typeface="Raleway" pitchFamily="34" charset="-122"/>
                <a:cs typeface="Raleway" pitchFamily="34" charset="-120"/>
              </a:rPr>
              <a:t>Business challenge</a:t>
            </a:r>
          </a:p>
        </p:txBody>
      </p:sp>
      <p:sp>
        <p:nvSpPr>
          <p:cNvPr id="7" name="Text 4">
            <a:extLst>
              <a:ext uri="{FF2B5EF4-FFF2-40B4-BE49-F238E27FC236}">
                <a16:creationId xmlns:a16="http://schemas.microsoft.com/office/drawing/2014/main" id="{ABB60FF5-2969-FF1E-519E-2CBA18CCAC9B}"/>
              </a:ext>
            </a:extLst>
          </p:cNvPr>
          <p:cNvSpPr/>
          <p:nvPr/>
        </p:nvSpPr>
        <p:spPr>
          <a:xfrm>
            <a:off x="7852789" y="1399089"/>
            <a:ext cx="2965494" cy="207694"/>
          </a:xfrm>
          <a:prstGeom prst="rect">
            <a:avLst/>
          </a:prstGeom>
          <a:noFill/>
          <a:ln/>
        </p:spPr>
        <p:txBody>
          <a:bodyPr wrap="square" lIns="0" tIns="0" rIns="0" bIns="0" rtlCol="0" anchor="t">
            <a:spAutoFit/>
          </a:bodyPr>
          <a:lstStyle/>
          <a:p>
            <a:r>
              <a:rPr lang="en-US" sz="1600" b="1" dirty="0">
                <a:solidFill>
                  <a:schemeClr val="accent6"/>
                </a:solidFill>
                <a:latin typeface="Moderat" pitchFamily="2" charset="77"/>
                <a:ea typeface="Raleway" pitchFamily="34" charset="-122"/>
                <a:cs typeface="Raleway" pitchFamily="34" charset="-120"/>
              </a:rPr>
              <a:t>Business impact</a:t>
            </a:r>
          </a:p>
        </p:txBody>
      </p:sp>
      <p:sp>
        <p:nvSpPr>
          <p:cNvPr id="8" name="Rectangle 7">
            <a:extLst>
              <a:ext uri="{FF2B5EF4-FFF2-40B4-BE49-F238E27FC236}">
                <a16:creationId xmlns:a16="http://schemas.microsoft.com/office/drawing/2014/main" id="{12994B91-0F17-C71B-C41D-228B7D63E3FA}"/>
              </a:ext>
            </a:extLst>
          </p:cNvPr>
          <p:cNvSpPr/>
          <p:nvPr/>
        </p:nvSpPr>
        <p:spPr>
          <a:xfrm>
            <a:off x="533400" y="1654681"/>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Rectangle 19">
            <a:extLst>
              <a:ext uri="{FF2B5EF4-FFF2-40B4-BE49-F238E27FC236}">
                <a16:creationId xmlns:a16="http://schemas.microsoft.com/office/drawing/2014/main" id="{F1A6DFF5-CC91-98D5-DA5A-C01FA73DDD25}"/>
              </a:ext>
            </a:extLst>
          </p:cNvPr>
          <p:cNvSpPr/>
          <p:nvPr/>
        </p:nvSpPr>
        <p:spPr>
          <a:xfrm>
            <a:off x="533400" y="2887299"/>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Rectangle 24">
            <a:extLst>
              <a:ext uri="{FF2B5EF4-FFF2-40B4-BE49-F238E27FC236}">
                <a16:creationId xmlns:a16="http://schemas.microsoft.com/office/drawing/2014/main" id="{F70E4C99-A997-5437-6333-0543A2D4F727}"/>
              </a:ext>
            </a:extLst>
          </p:cNvPr>
          <p:cNvSpPr/>
          <p:nvPr/>
        </p:nvSpPr>
        <p:spPr>
          <a:xfrm>
            <a:off x="533400" y="4119916"/>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Rectangle: Rounded Corners 25">
            <a:extLst>
              <a:ext uri="{FF2B5EF4-FFF2-40B4-BE49-F238E27FC236}">
                <a16:creationId xmlns:a16="http://schemas.microsoft.com/office/drawing/2014/main" id="{A2543E7B-4D50-F119-F5EE-C637253EA33A}"/>
              </a:ext>
            </a:extLst>
          </p:cNvPr>
          <p:cNvSpPr/>
          <p:nvPr/>
        </p:nvSpPr>
        <p:spPr>
          <a:xfrm>
            <a:off x="3920004" y="1536593"/>
            <a:ext cx="3823272" cy="3730732"/>
          </a:xfrm>
          <a:prstGeom prst="roundRect">
            <a:avLst>
              <a:gd name="adj" fmla="val 2478"/>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7" name="Text 8">
            <a:extLst>
              <a:ext uri="{FF2B5EF4-FFF2-40B4-BE49-F238E27FC236}">
                <a16:creationId xmlns:a16="http://schemas.microsoft.com/office/drawing/2014/main" id="{9883B29A-7247-88B1-EA6E-F82FD29F846E}"/>
              </a:ext>
            </a:extLst>
          </p:cNvPr>
          <p:cNvSpPr/>
          <p:nvPr/>
        </p:nvSpPr>
        <p:spPr>
          <a:xfrm>
            <a:off x="723900" y="2012940"/>
            <a:ext cx="2914650" cy="430887"/>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Rapid GCC scale-out created </a:t>
            </a:r>
            <a:r>
              <a:rPr lang="en-US" sz="1400" b="1" dirty="0">
                <a:solidFill>
                  <a:schemeClr val="bg2">
                    <a:lumMod val="25000"/>
                  </a:schemeClr>
                </a:solidFill>
                <a:latin typeface="Moderat" panose="020B0604020202020204"/>
                <a:ea typeface="Lato" pitchFamily="34" charset="-122"/>
                <a:cs typeface="Lato" pitchFamily="34" charset="-120"/>
              </a:rPr>
              <a:t>long ramp-up times for mid-career hires</a:t>
            </a:r>
          </a:p>
        </p:txBody>
      </p:sp>
      <p:sp>
        <p:nvSpPr>
          <p:cNvPr id="28" name="Text 8">
            <a:extLst>
              <a:ext uri="{FF2B5EF4-FFF2-40B4-BE49-F238E27FC236}">
                <a16:creationId xmlns:a16="http://schemas.microsoft.com/office/drawing/2014/main" id="{60AD3EE9-45D4-7068-766E-A67AB069C91D}"/>
              </a:ext>
            </a:extLst>
          </p:cNvPr>
          <p:cNvSpPr/>
          <p:nvPr/>
        </p:nvSpPr>
        <p:spPr>
          <a:xfrm>
            <a:off x="723900" y="3137838"/>
            <a:ext cx="2914650" cy="646331"/>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New employees </a:t>
            </a:r>
            <a:r>
              <a:rPr lang="en-US" sz="1400" b="1" dirty="0">
                <a:solidFill>
                  <a:schemeClr val="bg2">
                    <a:lumMod val="25000"/>
                  </a:schemeClr>
                </a:solidFill>
                <a:latin typeface="Moderat" panose="020B0604020202020204"/>
                <a:ea typeface="Lato" pitchFamily="34" charset="-122"/>
                <a:cs typeface="Lato" pitchFamily="34" charset="-120"/>
              </a:rPr>
              <a:t>lacked clarity </a:t>
            </a:r>
            <a:r>
              <a:rPr lang="en-US" sz="1400" dirty="0">
                <a:solidFill>
                  <a:schemeClr val="bg2">
                    <a:lumMod val="25000"/>
                  </a:schemeClr>
                </a:solidFill>
                <a:latin typeface="Moderat" panose="020B0604020202020204"/>
                <a:ea typeface="Lato" pitchFamily="34" charset="-122"/>
                <a:cs typeface="Lato" pitchFamily="34" charset="-120"/>
              </a:rPr>
              <a:t>on products, processes, and </a:t>
            </a:r>
            <a:br>
              <a:rPr lang="en-US" sz="1400" dirty="0">
                <a:solidFill>
                  <a:schemeClr val="bg2">
                    <a:lumMod val="25000"/>
                  </a:schemeClr>
                </a:solidFill>
                <a:latin typeface="Moderat" panose="020B0604020202020204"/>
                <a:ea typeface="Lato" pitchFamily="34" charset="-122"/>
                <a:cs typeface="Lato" pitchFamily="34" charset="-120"/>
              </a:rPr>
            </a:br>
            <a:r>
              <a:rPr lang="en-US" sz="1400" dirty="0">
                <a:solidFill>
                  <a:schemeClr val="bg2">
                    <a:lumMod val="25000"/>
                  </a:schemeClr>
                </a:solidFill>
                <a:latin typeface="Moderat" panose="020B0604020202020204"/>
                <a:ea typeface="Lato" pitchFamily="34" charset="-122"/>
                <a:cs typeface="Lato" pitchFamily="34" charset="-120"/>
              </a:rPr>
              <a:t>escalation paths</a:t>
            </a:r>
          </a:p>
        </p:txBody>
      </p:sp>
      <p:sp>
        <p:nvSpPr>
          <p:cNvPr id="29" name="Text 8">
            <a:extLst>
              <a:ext uri="{FF2B5EF4-FFF2-40B4-BE49-F238E27FC236}">
                <a16:creationId xmlns:a16="http://schemas.microsoft.com/office/drawing/2014/main" id="{EBC76D7F-040B-E87E-936A-276982FBAD3D}"/>
              </a:ext>
            </a:extLst>
          </p:cNvPr>
          <p:cNvSpPr/>
          <p:nvPr/>
        </p:nvSpPr>
        <p:spPr>
          <a:xfrm>
            <a:off x="723899" y="4370454"/>
            <a:ext cx="2949003" cy="646331"/>
          </a:xfrm>
          <a:prstGeom prst="rect">
            <a:avLst/>
          </a:prstGeom>
          <a:noFill/>
          <a:ln/>
        </p:spPr>
        <p:txBody>
          <a:bodyPr wrap="square" lIns="0" tIns="0" rIns="0" bIns="0" rtlCol="0" anchor="ctr">
            <a:spAutoFit/>
          </a:bodyPr>
          <a:lstStyle/>
          <a:p>
            <a:pPr>
              <a:spcBef>
                <a:spcPts val="400"/>
              </a:spcBef>
              <a:spcAft>
                <a:spcPts val="400"/>
              </a:spcAft>
            </a:pPr>
            <a:r>
              <a:rPr lang="en-US" sz="1400" b="1" dirty="0">
                <a:solidFill>
                  <a:schemeClr val="bg2">
                    <a:lumMod val="25000"/>
                  </a:schemeClr>
                </a:solidFill>
                <a:latin typeface="Moderat" panose="020B0604020202020204"/>
                <a:ea typeface="Lato" pitchFamily="34" charset="-122"/>
                <a:cs typeface="Lato" pitchFamily="34" charset="-120"/>
              </a:rPr>
              <a:t>Delayed productivity </a:t>
            </a:r>
            <a:r>
              <a:rPr lang="en-US" sz="1400" dirty="0">
                <a:solidFill>
                  <a:schemeClr val="bg2">
                    <a:lumMod val="25000"/>
                  </a:schemeClr>
                </a:solidFill>
                <a:latin typeface="Moderat" panose="020B0604020202020204"/>
                <a:ea typeface="Lato" pitchFamily="34" charset="-122"/>
                <a:cs typeface="Lato" pitchFamily="34" charset="-120"/>
              </a:rPr>
              <a:t>threatened delivery timelines and margin targets</a:t>
            </a:r>
          </a:p>
        </p:txBody>
      </p:sp>
      <p:sp>
        <p:nvSpPr>
          <p:cNvPr id="37" name="Rectangle 36">
            <a:extLst>
              <a:ext uri="{FF2B5EF4-FFF2-40B4-BE49-F238E27FC236}">
                <a16:creationId xmlns:a16="http://schemas.microsoft.com/office/drawing/2014/main" id="{A1D42598-C745-98C2-2C34-73D6929BA9AB}"/>
              </a:ext>
            </a:extLst>
          </p:cNvPr>
          <p:cNvSpPr/>
          <p:nvPr/>
        </p:nvSpPr>
        <p:spPr>
          <a:xfrm>
            <a:off x="533400" y="1654681"/>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40" name="Rectangle 39">
            <a:extLst>
              <a:ext uri="{FF2B5EF4-FFF2-40B4-BE49-F238E27FC236}">
                <a16:creationId xmlns:a16="http://schemas.microsoft.com/office/drawing/2014/main" id="{318EA3BA-9231-17B4-C07F-6B76ED0EB74F}"/>
              </a:ext>
            </a:extLst>
          </p:cNvPr>
          <p:cNvSpPr/>
          <p:nvPr/>
        </p:nvSpPr>
        <p:spPr>
          <a:xfrm rot="10800000">
            <a:off x="533400" y="2887299"/>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42" name="Rectangle 41">
            <a:extLst>
              <a:ext uri="{FF2B5EF4-FFF2-40B4-BE49-F238E27FC236}">
                <a16:creationId xmlns:a16="http://schemas.microsoft.com/office/drawing/2014/main" id="{0A01DF37-102A-7862-5953-E4BC391E773D}"/>
              </a:ext>
            </a:extLst>
          </p:cNvPr>
          <p:cNvSpPr/>
          <p:nvPr/>
        </p:nvSpPr>
        <p:spPr>
          <a:xfrm>
            <a:off x="533400" y="4119916"/>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43" name="Text 5">
            <a:extLst>
              <a:ext uri="{FF2B5EF4-FFF2-40B4-BE49-F238E27FC236}">
                <a16:creationId xmlns:a16="http://schemas.microsoft.com/office/drawing/2014/main" id="{CFC78488-8A1B-38A9-6E66-C6938822FB0D}"/>
              </a:ext>
            </a:extLst>
          </p:cNvPr>
          <p:cNvSpPr/>
          <p:nvPr/>
        </p:nvSpPr>
        <p:spPr>
          <a:xfrm>
            <a:off x="4083049" y="1766489"/>
            <a:ext cx="3413126" cy="1673141"/>
          </a:xfrm>
          <a:prstGeom prst="rect">
            <a:avLst/>
          </a:prstGeom>
          <a:noFill/>
          <a:ln/>
        </p:spPr>
        <p:txBody>
          <a:bodyPr wrap="square" lIns="0" tIns="36000" rIns="90000" bIns="36000" rtlCol="0" anchor="t">
            <a:spAutoFit/>
          </a:bodyPr>
          <a:lstStyle/>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Structured, </a:t>
            </a:r>
            <a:r>
              <a:rPr lang="en-US" sz="1400" b="1" dirty="0">
                <a:solidFill>
                  <a:srgbClr val="4A4A45"/>
                </a:solidFill>
                <a:latin typeface="Moderat" pitchFamily="2" charset="77"/>
              </a:rPr>
              <a:t>role-specific onboarding journeys </a:t>
            </a:r>
            <a:r>
              <a:rPr lang="en-US" sz="1400" dirty="0">
                <a:solidFill>
                  <a:srgbClr val="4A4A45"/>
                </a:solidFill>
                <a:latin typeface="Moderat" pitchFamily="2" charset="77"/>
              </a:rPr>
              <a:t>tied to real work</a:t>
            </a:r>
          </a:p>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Clear product, process, and support-pathway visibility</a:t>
            </a:r>
          </a:p>
          <a:p>
            <a:pPr marL="171450" indent="-171450" defTabSz="571500">
              <a:spcBef>
                <a:spcPts val="600"/>
              </a:spcBef>
              <a:spcAft>
                <a:spcPts val="600"/>
              </a:spcAft>
              <a:buClr>
                <a:schemeClr val="accent5"/>
              </a:buClr>
              <a:buSzPct val="100000"/>
              <a:buFont typeface="Arial" panose="020B0604020202020204" pitchFamily="34" charset="0"/>
              <a:buChar char="•"/>
            </a:pPr>
            <a:r>
              <a:rPr lang="en-US" sz="1400" b="1" dirty="0">
                <a:solidFill>
                  <a:srgbClr val="4A4A45"/>
                </a:solidFill>
                <a:latin typeface="Moderat" pitchFamily="2" charset="77"/>
              </a:rPr>
              <a:t>Standardized onboarding experience </a:t>
            </a:r>
            <a:r>
              <a:rPr lang="en-US" sz="1400" dirty="0">
                <a:solidFill>
                  <a:srgbClr val="4A4A45"/>
                </a:solidFill>
                <a:latin typeface="Moderat" pitchFamily="2" charset="77"/>
              </a:rPr>
              <a:t>across teams and managers</a:t>
            </a:r>
          </a:p>
        </p:txBody>
      </p:sp>
      <p:sp>
        <p:nvSpPr>
          <p:cNvPr id="79" name="Rectangle: Rounded Corners 78">
            <a:extLst>
              <a:ext uri="{FF2B5EF4-FFF2-40B4-BE49-F238E27FC236}">
                <a16:creationId xmlns:a16="http://schemas.microsoft.com/office/drawing/2014/main" id="{26B6BA3B-3BBF-07A5-EBDD-CB040A257060}"/>
              </a:ext>
            </a:extLst>
          </p:cNvPr>
          <p:cNvSpPr/>
          <p:nvPr/>
        </p:nvSpPr>
        <p:spPr>
          <a:xfrm>
            <a:off x="4083049" y="1414467"/>
            <a:ext cx="1955801" cy="253358"/>
          </a:xfrm>
          <a:prstGeom prst="roundRect">
            <a:avLst>
              <a:gd name="adj" fmla="val 2618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36000" bIns="36000" rtlCol="0" anchor="ctr"/>
          <a:lstStyle/>
          <a:p>
            <a:r>
              <a:rPr lang="en-US" sz="1600" b="1" dirty="0">
                <a:latin typeface="Moderat" pitchFamily="2" charset="77"/>
              </a:rPr>
              <a:t>Intervention</a:t>
            </a:r>
          </a:p>
        </p:txBody>
      </p:sp>
      <p:sp>
        <p:nvSpPr>
          <p:cNvPr id="80" name="Rectangle: Rounded Corners 79">
            <a:extLst>
              <a:ext uri="{FF2B5EF4-FFF2-40B4-BE49-F238E27FC236}">
                <a16:creationId xmlns:a16="http://schemas.microsoft.com/office/drawing/2014/main" id="{E4CEB29F-1D62-219F-B83E-B88702171C84}"/>
              </a:ext>
            </a:extLst>
          </p:cNvPr>
          <p:cNvSpPr/>
          <p:nvPr/>
        </p:nvSpPr>
        <p:spPr>
          <a:xfrm>
            <a:off x="533400" y="5391150"/>
            <a:ext cx="11131831" cy="594362"/>
          </a:xfrm>
          <a:prstGeom prst="roundRect">
            <a:avLst>
              <a:gd name="adj" fmla="val 181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36000" bIns="36000" rtlCol="0" anchor="ctr"/>
          <a:lstStyle/>
          <a:p>
            <a:r>
              <a:rPr lang="en-US" sz="1400" dirty="0">
                <a:latin typeface="Moderat" pitchFamily="2" charset="77"/>
              </a:rPr>
              <a:t>When onboarding is treated as a </a:t>
            </a:r>
            <a:r>
              <a:rPr lang="en-US" sz="1400" b="1" dirty="0">
                <a:latin typeface="Moderat" pitchFamily="2" charset="77"/>
              </a:rPr>
              <a:t>business acceleration lever</a:t>
            </a:r>
            <a:r>
              <a:rPr lang="en-US" sz="1400" dirty="0">
                <a:latin typeface="Moderat" pitchFamily="2" charset="77"/>
              </a:rPr>
              <a:t>, GCCs </a:t>
            </a:r>
            <a:r>
              <a:rPr lang="en-US" sz="1400" b="1" dirty="0">
                <a:latin typeface="Moderat" pitchFamily="2" charset="77"/>
              </a:rPr>
              <a:t>scale faster, reduce delivery risk, and protect profitability.</a:t>
            </a:r>
          </a:p>
        </p:txBody>
      </p:sp>
      <p:sp>
        <p:nvSpPr>
          <p:cNvPr id="132" name="Rectangle: Rounded Corners 131">
            <a:extLst>
              <a:ext uri="{FF2B5EF4-FFF2-40B4-BE49-F238E27FC236}">
                <a16:creationId xmlns:a16="http://schemas.microsoft.com/office/drawing/2014/main" id="{69195C73-24EC-1DBC-439D-A70887FFAE32}"/>
              </a:ext>
            </a:extLst>
          </p:cNvPr>
          <p:cNvSpPr/>
          <p:nvPr/>
        </p:nvSpPr>
        <p:spPr>
          <a:xfrm>
            <a:off x="7852789" y="1841960"/>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b="1" dirty="0">
                <a:solidFill>
                  <a:srgbClr val="4A4A45"/>
                </a:solidFill>
                <a:latin typeface="Moderat" panose="020B0604020202020204"/>
              </a:rPr>
              <a:t>Time to productivity reduced by 35%</a:t>
            </a:r>
          </a:p>
        </p:txBody>
      </p:sp>
      <p:sp>
        <p:nvSpPr>
          <p:cNvPr id="133" name="Rectangle: Rounded Corners 132">
            <a:extLst>
              <a:ext uri="{FF2B5EF4-FFF2-40B4-BE49-F238E27FC236}">
                <a16:creationId xmlns:a16="http://schemas.microsoft.com/office/drawing/2014/main" id="{54E59840-3CFD-43D4-2E2E-E076A09C3D81}"/>
              </a:ext>
            </a:extLst>
          </p:cNvPr>
          <p:cNvSpPr/>
          <p:nvPr/>
        </p:nvSpPr>
        <p:spPr>
          <a:xfrm>
            <a:off x="7852789" y="2715755"/>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b="1" dirty="0">
                <a:solidFill>
                  <a:srgbClr val="4A4A45"/>
                </a:solidFill>
                <a:latin typeface="Moderat" panose="020B0604020202020204"/>
              </a:rPr>
              <a:t>New hires reached benchmarks in </a:t>
            </a:r>
            <a:br>
              <a:rPr lang="en-US" sz="1400" b="1" dirty="0">
                <a:solidFill>
                  <a:srgbClr val="4A4A45"/>
                </a:solidFill>
                <a:latin typeface="Moderat" panose="020B0604020202020204"/>
              </a:rPr>
            </a:br>
            <a:r>
              <a:rPr lang="en-US" sz="1400" b="1" dirty="0">
                <a:solidFill>
                  <a:srgbClr val="4A4A45"/>
                </a:solidFill>
                <a:latin typeface="Moderat" panose="020B0604020202020204"/>
              </a:rPr>
              <a:t>45 – 60 days</a:t>
            </a:r>
          </a:p>
        </p:txBody>
      </p:sp>
      <p:sp>
        <p:nvSpPr>
          <p:cNvPr id="134" name="Rectangle: Rounded Corners 133">
            <a:extLst>
              <a:ext uri="{FF2B5EF4-FFF2-40B4-BE49-F238E27FC236}">
                <a16:creationId xmlns:a16="http://schemas.microsoft.com/office/drawing/2014/main" id="{4673877F-135F-D973-B4DC-8D59380C70CF}"/>
              </a:ext>
            </a:extLst>
          </p:cNvPr>
          <p:cNvSpPr/>
          <p:nvPr/>
        </p:nvSpPr>
        <p:spPr>
          <a:xfrm>
            <a:off x="7852789" y="3589551"/>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b="1" dirty="0">
                <a:solidFill>
                  <a:srgbClr val="4A4A45"/>
                </a:solidFill>
                <a:latin typeface="Moderat" panose="020B0604020202020204"/>
              </a:rPr>
              <a:t>Early project cycle rework reduced </a:t>
            </a:r>
            <a:br>
              <a:rPr lang="en-US" sz="1400" b="1" dirty="0">
                <a:solidFill>
                  <a:srgbClr val="4A4A45"/>
                </a:solidFill>
                <a:latin typeface="Moderat" panose="020B0604020202020204"/>
              </a:rPr>
            </a:br>
            <a:r>
              <a:rPr lang="en-US" sz="1400" b="1" dirty="0">
                <a:solidFill>
                  <a:srgbClr val="4A4A45"/>
                </a:solidFill>
                <a:latin typeface="Moderat" panose="020B0604020202020204"/>
              </a:rPr>
              <a:t>by 40%</a:t>
            </a:r>
          </a:p>
        </p:txBody>
      </p:sp>
      <p:sp>
        <p:nvSpPr>
          <p:cNvPr id="135" name="Rectangle: Rounded Corners 134">
            <a:extLst>
              <a:ext uri="{FF2B5EF4-FFF2-40B4-BE49-F238E27FC236}">
                <a16:creationId xmlns:a16="http://schemas.microsoft.com/office/drawing/2014/main" id="{C4F4FB8C-664C-0387-867E-DB49FA678775}"/>
              </a:ext>
            </a:extLst>
          </p:cNvPr>
          <p:cNvSpPr/>
          <p:nvPr/>
        </p:nvSpPr>
        <p:spPr>
          <a:xfrm>
            <a:off x="7852789" y="4463347"/>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dirty="0">
                <a:solidFill>
                  <a:srgbClr val="4A4A45"/>
                </a:solidFill>
                <a:latin typeface="Moderat" panose="020B0604020202020204"/>
              </a:rPr>
              <a:t>Employee and manager satisfaction improved measurably</a:t>
            </a:r>
          </a:p>
        </p:txBody>
      </p:sp>
      <p:grpSp>
        <p:nvGrpSpPr>
          <p:cNvPr id="156" name="Group 155">
            <a:extLst>
              <a:ext uri="{FF2B5EF4-FFF2-40B4-BE49-F238E27FC236}">
                <a16:creationId xmlns:a16="http://schemas.microsoft.com/office/drawing/2014/main" id="{0B1597FF-AEAB-4BB6-40FD-EEBF0E300E14}"/>
              </a:ext>
            </a:extLst>
          </p:cNvPr>
          <p:cNvGrpSpPr/>
          <p:nvPr/>
        </p:nvGrpSpPr>
        <p:grpSpPr>
          <a:xfrm>
            <a:off x="7936609" y="2889144"/>
            <a:ext cx="457200" cy="457200"/>
            <a:chOff x="7936609" y="3156397"/>
            <a:chExt cx="457200" cy="457200"/>
          </a:xfrm>
        </p:grpSpPr>
        <p:sp>
          <p:nvSpPr>
            <p:cNvPr id="157" name="Oval 156">
              <a:extLst>
                <a:ext uri="{FF2B5EF4-FFF2-40B4-BE49-F238E27FC236}">
                  <a16:creationId xmlns:a16="http://schemas.microsoft.com/office/drawing/2014/main" id="{95F02476-6E38-9858-8FBF-C7CB4F1DEA57}"/>
                </a:ext>
              </a:extLst>
            </p:cNvPr>
            <p:cNvSpPr>
              <a:spLocks noChangeAspect="1"/>
            </p:cNvSpPr>
            <p:nvPr/>
          </p:nvSpPr>
          <p:spPr>
            <a:xfrm>
              <a:off x="7936609" y="3156397"/>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sp>
          <p:nvSpPr>
            <p:cNvPr id="158" name="Pic">
              <a:extLst>
                <a:ext uri="{FF2B5EF4-FFF2-40B4-BE49-F238E27FC236}">
                  <a16:creationId xmlns:a16="http://schemas.microsoft.com/office/drawing/2014/main" id="{157F0FF5-4D54-AE28-E0F0-04ECB00AE00A}"/>
                </a:ext>
              </a:extLst>
            </p:cNvPr>
            <p:cNvSpPr>
              <a:spLocks noChangeAspect="1"/>
            </p:cNvSpPr>
            <p:nvPr/>
          </p:nvSpPr>
          <p:spPr>
            <a:xfrm>
              <a:off x="8045691" y="3274373"/>
              <a:ext cx="239036" cy="221248"/>
            </a:xfrm>
            <a:custGeom>
              <a:avLst/>
              <a:gdLst>
                <a:gd name="csX0" fmla="*/ 34765 w 239036"/>
                <a:gd name="csY0" fmla="*/ 34473 h 221248"/>
                <a:gd name="csX1" fmla="*/ 26594 w 239036"/>
                <a:gd name="csY1" fmla="*/ 34474 h 221248"/>
                <a:gd name="csX2" fmla="*/ 26595 w 239036"/>
                <a:gd name="csY2" fmla="*/ 42645 h 221248"/>
                <a:gd name="csX3" fmla="*/ 34765 w 239036"/>
                <a:gd name="csY3" fmla="*/ 42645 h 221248"/>
                <a:gd name="csX4" fmla="*/ 34765 w 239036"/>
                <a:gd name="csY4" fmla="*/ 34473 h 221248"/>
                <a:gd name="csX5" fmla="*/ 16797 w 239036"/>
                <a:gd name="csY5" fmla="*/ 61552 h 221248"/>
                <a:gd name="csX6" fmla="*/ 44561 w 239036"/>
                <a:gd name="csY6" fmla="*/ 61552 h 221248"/>
                <a:gd name="csX7" fmla="*/ 16797 w 239036"/>
                <a:gd name="csY7" fmla="*/ 61552 h 221248"/>
                <a:gd name="csX8" fmla="*/ 47872 w 239036"/>
                <a:gd name="csY8" fmla="*/ 24395 h 221248"/>
                <a:gd name="csX9" fmla="*/ 48751 w 239036"/>
                <a:gd name="csY9" fmla="*/ 57853 h 221248"/>
                <a:gd name="csX10" fmla="*/ 36398 w 239036"/>
                <a:gd name="csY10" fmla="*/ 48225 h 221248"/>
                <a:gd name="csX11" fmla="*/ 41908 w 239036"/>
                <a:gd name="csY11" fmla="*/ 38559 h 221248"/>
                <a:gd name="csX12" fmla="*/ 22736 w 239036"/>
                <a:gd name="csY12" fmla="*/ 30618 h 221248"/>
                <a:gd name="csX13" fmla="*/ 22744 w 239036"/>
                <a:gd name="csY13" fmla="*/ 46508 h 221248"/>
                <a:gd name="csX14" fmla="*/ 24957 w 239036"/>
                <a:gd name="csY14" fmla="*/ 48226 h 221248"/>
                <a:gd name="csX15" fmla="*/ 12605 w 239036"/>
                <a:gd name="csY15" fmla="*/ 57854 h 221248"/>
                <a:gd name="csX16" fmla="*/ 14376 w 239036"/>
                <a:gd name="csY16" fmla="*/ 23514 h 221248"/>
                <a:gd name="csX17" fmla="*/ 47872 w 239036"/>
                <a:gd name="csY17" fmla="*/ 24396 h 221248"/>
                <a:gd name="csX18" fmla="*/ 30679 w 239036"/>
                <a:gd name="csY18" fmla="*/ 11821 h 221248"/>
                <a:gd name="csX19" fmla="*/ 60445 w 239036"/>
                <a:gd name="csY19" fmla="*/ 41587 h 221248"/>
                <a:gd name="csX20" fmla="*/ 30679 w 239036"/>
                <a:gd name="csY20" fmla="*/ 71353 h 221248"/>
                <a:gd name="csX21" fmla="*/ 913 w 239036"/>
                <a:gd name="csY21" fmla="*/ 41587 h 221248"/>
                <a:gd name="csX22" fmla="*/ 30679 w 239036"/>
                <a:gd name="csY22" fmla="*/ 11821 h 221248"/>
                <a:gd name="csX23" fmla="*/ 99123 w 239036"/>
                <a:gd name="csY23" fmla="*/ 84301 h 221248"/>
                <a:gd name="csX24" fmla="*/ 90952 w 239036"/>
                <a:gd name="csY24" fmla="*/ 84301 h 221248"/>
                <a:gd name="csX25" fmla="*/ 90953 w 239036"/>
                <a:gd name="csY25" fmla="*/ 92472 h 221248"/>
                <a:gd name="csX26" fmla="*/ 99123 w 239036"/>
                <a:gd name="csY26" fmla="*/ 92472 h 221248"/>
                <a:gd name="csX27" fmla="*/ 99123 w 239036"/>
                <a:gd name="csY27" fmla="*/ 84301 h 221248"/>
                <a:gd name="csX28" fmla="*/ 81155 w 239036"/>
                <a:gd name="csY28" fmla="*/ 111379 h 221248"/>
                <a:gd name="csX29" fmla="*/ 108919 w 239036"/>
                <a:gd name="csY29" fmla="*/ 111379 h 221248"/>
                <a:gd name="csX30" fmla="*/ 81155 w 239036"/>
                <a:gd name="csY30" fmla="*/ 111379 h 221248"/>
                <a:gd name="csX31" fmla="*/ 112230 w 239036"/>
                <a:gd name="csY31" fmla="*/ 74221 h 221248"/>
                <a:gd name="csX32" fmla="*/ 113109 w 239036"/>
                <a:gd name="csY32" fmla="*/ 107679 h 221248"/>
                <a:gd name="csX33" fmla="*/ 100756 w 239036"/>
                <a:gd name="csY33" fmla="*/ 98051 h 221248"/>
                <a:gd name="csX34" fmla="*/ 106267 w 239036"/>
                <a:gd name="csY34" fmla="*/ 88385 h 221248"/>
                <a:gd name="csX35" fmla="*/ 87095 w 239036"/>
                <a:gd name="csY35" fmla="*/ 80444 h 221248"/>
                <a:gd name="csX36" fmla="*/ 87102 w 239036"/>
                <a:gd name="csY36" fmla="*/ 96334 h 221248"/>
                <a:gd name="csX37" fmla="*/ 89315 w 239036"/>
                <a:gd name="csY37" fmla="*/ 98051 h 221248"/>
                <a:gd name="csX38" fmla="*/ 76962 w 239036"/>
                <a:gd name="csY38" fmla="*/ 107679 h 221248"/>
                <a:gd name="csX39" fmla="*/ 78772 w 239036"/>
                <a:gd name="csY39" fmla="*/ 73342 h 221248"/>
                <a:gd name="csX40" fmla="*/ 112227 w 239036"/>
                <a:gd name="csY40" fmla="*/ 74221 h 221248"/>
                <a:gd name="csX41" fmla="*/ 95037 w 239036"/>
                <a:gd name="csY41" fmla="*/ 61647 h 221248"/>
                <a:gd name="csX42" fmla="*/ 124803 w 239036"/>
                <a:gd name="csY42" fmla="*/ 91413 h 221248"/>
                <a:gd name="csX43" fmla="*/ 95037 w 239036"/>
                <a:gd name="csY43" fmla="*/ 121178 h 221248"/>
                <a:gd name="csX44" fmla="*/ 65272 w 239036"/>
                <a:gd name="csY44" fmla="*/ 91413 h 221248"/>
                <a:gd name="csX45" fmla="*/ 95037 w 239036"/>
                <a:gd name="csY45" fmla="*/ 61647 h 221248"/>
                <a:gd name="csX46" fmla="*/ 163481 w 239036"/>
                <a:gd name="csY46" fmla="*/ 34453 h 221248"/>
                <a:gd name="csX47" fmla="*/ 155310 w 239036"/>
                <a:gd name="csY47" fmla="*/ 34453 h 221248"/>
                <a:gd name="csX48" fmla="*/ 155310 w 239036"/>
                <a:gd name="csY48" fmla="*/ 42624 h 221248"/>
                <a:gd name="csX49" fmla="*/ 163481 w 239036"/>
                <a:gd name="csY49" fmla="*/ 42624 h 221248"/>
                <a:gd name="csX50" fmla="*/ 163481 w 239036"/>
                <a:gd name="csY50" fmla="*/ 42624 h 221248"/>
                <a:gd name="csX51" fmla="*/ 163481 w 239036"/>
                <a:gd name="csY51" fmla="*/ 34453 h 221248"/>
                <a:gd name="csX52" fmla="*/ 145514 w 239036"/>
                <a:gd name="csY52" fmla="*/ 61531 h 221248"/>
                <a:gd name="csX53" fmla="*/ 173277 w 239036"/>
                <a:gd name="csY53" fmla="*/ 61531 h 221248"/>
                <a:gd name="csX54" fmla="*/ 145514 w 239036"/>
                <a:gd name="csY54" fmla="*/ 61531 h 221248"/>
                <a:gd name="csX55" fmla="*/ 176588 w 239036"/>
                <a:gd name="csY55" fmla="*/ 24374 h 221248"/>
                <a:gd name="csX56" fmla="*/ 177468 w 239036"/>
                <a:gd name="csY56" fmla="*/ 57832 h 221248"/>
                <a:gd name="csX57" fmla="*/ 165115 w 239036"/>
                <a:gd name="csY57" fmla="*/ 48204 h 221248"/>
                <a:gd name="csX58" fmla="*/ 170625 w 239036"/>
                <a:gd name="csY58" fmla="*/ 38537 h 221248"/>
                <a:gd name="csX59" fmla="*/ 151453 w 239036"/>
                <a:gd name="csY59" fmla="*/ 30596 h 221248"/>
                <a:gd name="csX60" fmla="*/ 151461 w 239036"/>
                <a:gd name="csY60" fmla="*/ 46487 h 221248"/>
                <a:gd name="csX61" fmla="*/ 153674 w 239036"/>
                <a:gd name="csY61" fmla="*/ 48204 h 221248"/>
                <a:gd name="csX62" fmla="*/ 141326 w 239036"/>
                <a:gd name="csY62" fmla="*/ 57833 h 221248"/>
                <a:gd name="csX63" fmla="*/ 143181 w 239036"/>
                <a:gd name="csY63" fmla="*/ 23498 h 221248"/>
                <a:gd name="csX64" fmla="*/ 176588 w 239036"/>
                <a:gd name="csY64" fmla="*/ 24375 h 221248"/>
                <a:gd name="csX65" fmla="*/ 159395 w 239036"/>
                <a:gd name="csY65" fmla="*/ 11802 h 221248"/>
                <a:gd name="csX66" fmla="*/ 189161 w 239036"/>
                <a:gd name="csY66" fmla="*/ 41568 h 221248"/>
                <a:gd name="csX67" fmla="*/ 159395 w 239036"/>
                <a:gd name="csY67" fmla="*/ 71333 h 221248"/>
                <a:gd name="csX68" fmla="*/ 129630 w 239036"/>
                <a:gd name="csY68" fmla="*/ 41568 h 221248"/>
                <a:gd name="csX69" fmla="*/ 159395 w 239036"/>
                <a:gd name="csY69" fmla="*/ 11802 h 221248"/>
                <a:gd name="csX70" fmla="*/ 141874 w 239036"/>
                <a:gd name="csY70" fmla="*/ 214888 h 221248"/>
                <a:gd name="csX71" fmla="*/ 172820 w 239036"/>
                <a:gd name="csY71" fmla="*/ 214888 h 221248"/>
                <a:gd name="csX72" fmla="*/ 172820 w 239036"/>
                <a:gd name="csY72" fmla="*/ 95699 h 221248"/>
                <a:gd name="csX73" fmla="*/ 141874 w 239036"/>
                <a:gd name="csY73" fmla="*/ 95699 h 221248"/>
                <a:gd name="csX74" fmla="*/ 141874 w 239036"/>
                <a:gd name="csY74" fmla="*/ 214886 h 221248"/>
                <a:gd name="csX75" fmla="*/ 79564 w 239036"/>
                <a:gd name="csY75" fmla="*/ 214888 h 221248"/>
                <a:gd name="csX76" fmla="*/ 110510 w 239036"/>
                <a:gd name="csY76" fmla="*/ 214888 h 221248"/>
                <a:gd name="csX77" fmla="*/ 110510 w 239036"/>
                <a:gd name="csY77" fmla="*/ 144641 h 221248"/>
                <a:gd name="csX78" fmla="*/ 79564 w 239036"/>
                <a:gd name="csY78" fmla="*/ 144641 h 221248"/>
                <a:gd name="csX79" fmla="*/ 17255 w 239036"/>
                <a:gd name="csY79" fmla="*/ 214888 h 221248"/>
                <a:gd name="csX80" fmla="*/ 48201 w 239036"/>
                <a:gd name="csY80" fmla="*/ 214888 h 221248"/>
                <a:gd name="csX81" fmla="*/ 48201 w 239036"/>
                <a:gd name="csY81" fmla="*/ 106357 h 221248"/>
                <a:gd name="csX82" fmla="*/ 17253 w 239036"/>
                <a:gd name="csY82" fmla="*/ 106357 h 221248"/>
                <a:gd name="csX83" fmla="*/ 17253 w 239036"/>
                <a:gd name="csY83" fmla="*/ 214888 h 221248"/>
                <a:gd name="csX84" fmla="*/ 3142 w 239036"/>
                <a:gd name="csY84" fmla="*/ 221249 h 221248"/>
                <a:gd name="csX85" fmla="*/ 0 w 239036"/>
                <a:gd name="csY85" fmla="*/ 218028 h 221248"/>
                <a:gd name="csX86" fmla="*/ 3142 w 239036"/>
                <a:gd name="csY86" fmla="*/ 214886 h 221248"/>
                <a:gd name="csX87" fmla="*/ 10893 w 239036"/>
                <a:gd name="csY87" fmla="*/ 214886 h 221248"/>
                <a:gd name="csX88" fmla="*/ 10893 w 239036"/>
                <a:gd name="csY88" fmla="*/ 103174 h 221248"/>
                <a:gd name="csX89" fmla="*/ 14074 w 239036"/>
                <a:gd name="csY89" fmla="*/ 99993 h 221248"/>
                <a:gd name="csX90" fmla="*/ 51380 w 239036"/>
                <a:gd name="csY90" fmla="*/ 99993 h 221248"/>
                <a:gd name="csX91" fmla="*/ 54561 w 239036"/>
                <a:gd name="csY91" fmla="*/ 103174 h 221248"/>
                <a:gd name="csX92" fmla="*/ 54561 w 239036"/>
                <a:gd name="csY92" fmla="*/ 214886 h 221248"/>
                <a:gd name="csX93" fmla="*/ 73202 w 239036"/>
                <a:gd name="csY93" fmla="*/ 214886 h 221248"/>
                <a:gd name="csX94" fmla="*/ 73202 w 239036"/>
                <a:gd name="csY94" fmla="*/ 141457 h 221248"/>
                <a:gd name="csX95" fmla="*/ 76383 w 239036"/>
                <a:gd name="csY95" fmla="*/ 138276 h 221248"/>
                <a:gd name="csX96" fmla="*/ 113689 w 239036"/>
                <a:gd name="csY96" fmla="*/ 138276 h 221248"/>
                <a:gd name="csX97" fmla="*/ 116870 w 239036"/>
                <a:gd name="csY97" fmla="*/ 141457 h 221248"/>
                <a:gd name="csX98" fmla="*/ 116870 w 239036"/>
                <a:gd name="csY98" fmla="*/ 214886 h 221248"/>
                <a:gd name="csX99" fmla="*/ 135511 w 239036"/>
                <a:gd name="csY99" fmla="*/ 214886 h 221248"/>
                <a:gd name="csX100" fmla="*/ 135511 w 239036"/>
                <a:gd name="csY100" fmla="*/ 92516 h 221248"/>
                <a:gd name="csX101" fmla="*/ 138693 w 239036"/>
                <a:gd name="csY101" fmla="*/ 89335 h 221248"/>
                <a:gd name="csX102" fmla="*/ 175999 w 239036"/>
                <a:gd name="csY102" fmla="*/ 89335 h 221248"/>
                <a:gd name="csX103" fmla="*/ 179180 w 239036"/>
                <a:gd name="csY103" fmla="*/ 92516 h 221248"/>
                <a:gd name="csX104" fmla="*/ 179180 w 239036"/>
                <a:gd name="csY104" fmla="*/ 214886 h 221248"/>
                <a:gd name="csX105" fmla="*/ 186931 w 239036"/>
                <a:gd name="csY105" fmla="*/ 214886 h 221248"/>
                <a:gd name="csX106" fmla="*/ 190152 w 239036"/>
                <a:gd name="csY106" fmla="*/ 218028 h 221248"/>
                <a:gd name="csX107" fmla="*/ 187010 w 239036"/>
                <a:gd name="csY107" fmla="*/ 221249 h 221248"/>
                <a:gd name="csX108" fmla="*/ 186931 w 239036"/>
                <a:gd name="csY108" fmla="*/ 221249 h 221248"/>
                <a:gd name="csX109" fmla="*/ 131438 w 239036"/>
                <a:gd name="csY109" fmla="*/ 18323 h 221248"/>
                <a:gd name="csX110" fmla="*/ 135845 w 239036"/>
                <a:gd name="csY110" fmla="*/ 69257 h 221248"/>
                <a:gd name="csX111" fmla="*/ 181240 w 239036"/>
                <a:gd name="csY111" fmla="*/ 70169 h 221248"/>
                <a:gd name="csX112" fmla="*/ 184774 w 239036"/>
                <a:gd name="csY112" fmla="*/ 70349 h 221248"/>
                <a:gd name="csX113" fmla="*/ 186334 w 239036"/>
                <a:gd name="csY113" fmla="*/ 71661 h 221248"/>
                <a:gd name="csX114" fmla="*/ 187200 w 239036"/>
                <a:gd name="csY114" fmla="*/ 71586 h 221248"/>
                <a:gd name="csX115" fmla="*/ 193477 w 239036"/>
                <a:gd name="csY115" fmla="*/ 64122 h 221248"/>
                <a:gd name="csX116" fmla="*/ 193223 w 239036"/>
                <a:gd name="csY116" fmla="*/ 63105 h 221248"/>
                <a:gd name="csX117" fmla="*/ 191718 w 239036"/>
                <a:gd name="csY117" fmla="*/ 61837 h 221248"/>
                <a:gd name="csX118" fmla="*/ 191063 w 239036"/>
                <a:gd name="csY118" fmla="*/ 58496 h 221248"/>
                <a:gd name="csX119" fmla="*/ 191058 w 239036"/>
                <a:gd name="csY119" fmla="*/ 58493 h 221248"/>
                <a:gd name="csX120" fmla="*/ 175988 w 239036"/>
                <a:gd name="csY120" fmla="*/ 9640 h 221248"/>
                <a:gd name="csX121" fmla="*/ 131438 w 239036"/>
                <a:gd name="csY121" fmla="*/ 18323 h 221248"/>
                <a:gd name="csX122" fmla="*/ 209403 w 239036"/>
                <a:gd name="csY122" fmla="*/ 72356 h 221248"/>
                <a:gd name="csX123" fmla="*/ 199057 w 239036"/>
                <a:gd name="csY123" fmla="*/ 63728 h 221248"/>
                <a:gd name="csX124" fmla="*/ 197072 w 239036"/>
                <a:gd name="csY124" fmla="*/ 59256 h 221248"/>
                <a:gd name="csX125" fmla="*/ 197077 w 239036"/>
                <a:gd name="csY125" fmla="*/ 59251 h 221248"/>
                <a:gd name="csX126" fmla="*/ 196853 w 239036"/>
                <a:gd name="csY126" fmla="*/ 59053 h 221248"/>
                <a:gd name="csX127" fmla="*/ 176575 w 239036"/>
                <a:gd name="csY127" fmla="*/ 3854 h 221248"/>
                <a:gd name="csX128" fmla="*/ 121376 w 239036"/>
                <a:gd name="csY128" fmla="*/ 24131 h 221248"/>
                <a:gd name="csX129" fmla="*/ 141654 w 239036"/>
                <a:gd name="csY129" fmla="*/ 79331 h 221248"/>
                <a:gd name="csX130" fmla="*/ 182791 w 239036"/>
                <a:gd name="csY130" fmla="*/ 75775 h 221248"/>
                <a:gd name="csX131" fmla="*/ 187693 w 239036"/>
                <a:gd name="csY131" fmla="*/ 77164 h 221248"/>
                <a:gd name="csX132" fmla="*/ 198029 w 239036"/>
                <a:gd name="csY132" fmla="*/ 85784 h 221248"/>
                <a:gd name="csX133" fmla="*/ 199964 w 239036"/>
                <a:gd name="csY133" fmla="*/ 92249 h 221248"/>
                <a:gd name="csX134" fmla="*/ 199959 w 239036"/>
                <a:gd name="csY134" fmla="*/ 92254 h 221248"/>
                <a:gd name="csX135" fmla="*/ 199974 w 239036"/>
                <a:gd name="csY135" fmla="*/ 92269 h 221248"/>
                <a:gd name="csX136" fmla="*/ 220196 w 239036"/>
                <a:gd name="csY136" fmla="*/ 109247 h 221248"/>
                <a:gd name="csX137" fmla="*/ 231248 w 239036"/>
                <a:gd name="csY137" fmla="*/ 108281 h 221248"/>
                <a:gd name="csX138" fmla="*/ 237186 w 239036"/>
                <a:gd name="csY138" fmla="*/ 101230 h 221248"/>
                <a:gd name="csX139" fmla="*/ 237191 w 239036"/>
                <a:gd name="csY139" fmla="*/ 101235 h 221248"/>
                <a:gd name="csX140" fmla="*/ 237207 w 239036"/>
                <a:gd name="csY140" fmla="*/ 101218 h 221248"/>
                <a:gd name="csX141" fmla="*/ 236249 w 239036"/>
                <a:gd name="csY141" fmla="*/ 90193 h 221248"/>
                <a:gd name="csX142" fmla="*/ 236254 w 239036"/>
                <a:gd name="csY142" fmla="*/ 90188 h 221248"/>
                <a:gd name="csX143" fmla="*/ 236237 w 239036"/>
                <a:gd name="csY143" fmla="*/ 90172 h 221248"/>
                <a:gd name="csX144" fmla="*/ 216016 w 239036"/>
                <a:gd name="csY144" fmla="*/ 73195 h 221248"/>
                <a:gd name="csX145" fmla="*/ 209405 w 239036"/>
                <a:gd name="csY145" fmla="*/ 72356 h 221248"/>
                <a:gd name="csX146" fmla="*/ 201145 w 239036"/>
                <a:gd name="csY146" fmla="*/ 81313 h 221248"/>
                <a:gd name="csX147" fmla="*/ 192309 w 239036"/>
                <a:gd name="csY147" fmla="*/ 73944 h 221248"/>
                <a:gd name="csX148" fmla="*/ 196645 w 239036"/>
                <a:gd name="csY148" fmla="*/ 68788 h 221248"/>
                <a:gd name="csX149" fmla="*/ 205485 w 239036"/>
                <a:gd name="csY149" fmla="*/ 76160 h 221248"/>
                <a:gd name="csX150" fmla="*/ 211496 w 239036"/>
                <a:gd name="csY150" fmla="*/ 77448 h 221248"/>
                <a:gd name="csX151" fmla="*/ 212520 w 239036"/>
                <a:gd name="csY151" fmla="*/ 77370 h 221248"/>
                <a:gd name="csX152" fmla="*/ 232741 w 239036"/>
                <a:gd name="csY152" fmla="*/ 94347 h 221248"/>
                <a:gd name="csX153" fmla="*/ 232747 w 239036"/>
                <a:gd name="csY153" fmla="*/ 94341 h 221248"/>
                <a:gd name="csX154" fmla="*/ 233029 w 239036"/>
                <a:gd name="csY154" fmla="*/ 97725 h 221248"/>
                <a:gd name="csX155" fmla="*/ 233035 w 239036"/>
                <a:gd name="csY155" fmla="*/ 97730 h 221248"/>
                <a:gd name="csX156" fmla="*/ 227091 w 239036"/>
                <a:gd name="csY156" fmla="*/ 104788 h 221248"/>
                <a:gd name="csX157" fmla="*/ 223687 w 239036"/>
                <a:gd name="csY157" fmla="*/ 105072 h 221248"/>
                <a:gd name="csX158" fmla="*/ 203465 w 239036"/>
                <a:gd name="csY158" fmla="*/ 88093 h 221248"/>
                <a:gd name="csX159" fmla="*/ 203460 w 239036"/>
                <a:gd name="csY159" fmla="*/ 88100 h 221248"/>
                <a:gd name="csX160" fmla="*/ 203385 w 239036"/>
                <a:gd name="csY160" fmla="*/ 87092 h 221248"/>
                <a:gd name="csX161" fmla="*/ 203378 w 239036"/>
                <a:gd name="csY161" fmla="*/ 87087 h 22124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Lst>
              <a:rect l="l" t="t" r="r" b="b"/>
              <a:pathLst>
                <a:path w="239036" h="221248">
                  <a:moveTo>
                    <a:pt x="34765" y="34473"/>
                  </a:moveTo>
                  <a:cubicBezTo>
                    <a:pt x="32508" y="32217"/>
                    <a:pt x="28850" y="32218"/>
                    <a:pt x="26594" y="34474"/>
                  </a:cubicBezTo>
                  <a:cubicBezTo>
                    <a:pt x="24338" y="36730"/>
                    <a:pt x="24338" y="40388"/>
                    <a:pt x="26595" y="42645"/>
                  </a:cubicBezTo>
                  <a:cubicBezTo>
                    <a:pt x="28851" y="44900"/>
                    <a:pt x="32509" y="44900"/>
                    <a:pt x="34765" y="42645"/>
                  </a:cubicBezTo>
                  <a:cubicBezTo>
                    <a:pt x="37018" y="40387"/>
                    <a:pt x="37018" y="36731"/>
                    <a:pt x="34765" y="34473"/>
                  </a:cubicBezTo>
                  <a:close/>
                  <a:moveTo>
                    <a:pt x="16797" y="61552"/>
                  </a:moveTo>
                  <a:cubicBezTo>
                    <a:pt x="25142" y="67354"/>
                    <a:pt x="36215" y="67354"/>
                    <a:pt x="44561" y="61552"/>
                  </a:cubicBezTo>
                  <a:cubicBezTo>
                    <a:pt x="38939" y="50023"/>
                    <a:pt x="22418" y="50023"/>
                    <a:pt x="16797" y="61552"/>
                  </a:cubicBezTo>
                  <a:close/>
                  <a:moveTo>
                    <a:pt x="47872" y="24395"/>
                  </a:moveTo>
                  <a:cubicBezTo>
                    <a:pt x="57018" y="33538"/>
                    <a:pt x="57405" y="48242"/>
                    <a:pt x="48751" y="57853"/>
                  </a:cubicBezTo>
                  <a:cubicBezTo>
                    <a:pt x="46031" y="53168"/>
                    <a:pt x="41604" y="49718"/>
                    <a:pt x="36398" y="48225"/>
                  </a:cubicBezTo>
                  <a:cubicBezTo>
                    <a:pt x="39815" y="46204"/>
                    <a:pt x="41910" y="42529"/>
                    <a:pt x="41908" y="38559"/>
                  </a:cubicBezTo>
                  <a:cubicBezTo>
                    <a:pt x="41908" y="28588"/>
                    <a:pt x="29796" y="23559"/>
                    <a:pt x="22736" y="30618"/>
                  </a:cubicBezTo>
                  <a:cubicBezTo>
                    <a:pt x="18351" y="35008"/>
                    <a:pt x="18354" y="42123"/>
                    <a:pt x="22744" y="46508"/>
                  </a:cubicBezTo>
                  <a:cubicBezTo>
                    <a:pt x="23408" y="47171"/>
                    <a:pt x="24151" y="47748"/>
                    <a:pt x="24957" y="48226"/>
                  </a:cubicBezTo>
                  <a:cubicBezTo>
                    <a:pt x="19751" y="49719"/>
                    <a:pt x="15324" y="53169"/>
                    <a:pt x="12605" y="57854"/>
                  </a:cubicBezTo>
                  <a:cubicBezTo>
                    <a:pt x="3611" y="47882"/>
                    <a:pt x="4404" y="32508"/>
                    <a:pt x="14376" y="23514"/>
                  </a:cubicBezTo>
                  <a:cubicBezTo>
                    <a:pt x="23994" y="14840"/>
                    <a:pt x="38723" y="15227"/>
                    <a:pt x="47872" y="24396"/>
                  </a:cubicBezTo>
                  <a:close/>
                  <a:moveTo>
                    <a:pt x="30679" y="11821"/>
                  </a:moveTo>
                  <a:cubicBezTo>
                    <a:pt x="47118" y="11821"/>
                    <a:pt x="60445" y="25148"/>
                    <a:pt x="60445" y="41587"/>
                  </a:cubicBezTo>
                  <a:cubicBezTo>
                    <a:pt x="60445" y="58026"/>
                    <a:pt x="47118" y="71353"/>
                    <a:pt x="30679" y="71353"/>
                  </a:cubicBezTo>
                  <a:cubicBezTo>
                    <a:pt x="14240" y="71353"/>
                    <a:pt x="913" y="58026"/>
                    <a:pt x="913" y="41587"/>
                  </a:cubicBezTo>
                  <a:cubicBezTo>
                    <a:pt x="915" y="25148"/>
                    <a:pt x="14240" y="11823"/>
                    <a:pt x="30679" y="11821"/>
                  </a:cubicBezTo>
                  <a:close/>
                  <a:moveTo>
                    <a:pt x="99123" y="84301"/>
                  </a:moveTo>
                  <a:cubicBezTo>
                    <a:pt x="96867" y="82044"/>
                    <a:pt x="93208" y="82045"/>
                    <a:pt x="90952" y="84301"/>
                  </a:cubicBezTo>
                  <a:cubicBezTo>
                    <a:pt x="88696" y="86557"/>
                    <a:pt x="88696" y="90216"/>
                    <a:pt x="90953" y="92472"/>
                  </a:cubicBezTo>
                  <a:cubicBezTo>
                    <a:pt x="93209" y="94728"/>
                    <a:pt x="96867" y="94728"/>
                    <a:pt x="99123" y="92472"/>
                  </a:cubicBezTo>
                  <a:cubicBezTo>
                    <a:pt x="101376" y="90214"/>
                    <a:pt x="101376" y="86558"/>
                    <a:pt x="99123" y="84301"/>
                  </a:cubicBezTo>
                  <a:close/>
                  <a:moveTo>
                    <a:pt x="81155" y="111379"/>
                  </a:moveTo>
                  <a:cubicBezTo>
                    <a:pt x="89501" y="117181"/>
                    <a:pt x="100574" y="117181"/>
                    <a:pt x="108919" y="111379"/>
                  </a:cubicBezTo>
                  <a:cubicBezTo>
                    <a:pt x="103298" y="99850"/>
                    <a:pt x="86777" y="99850"/>
                    <a:pt x="81155" y="111379"/>
                  </a:cubicBezTo>
                  <a:close/>
                  <a:moveTo>
                    <a:pt x="112230" y="74221"/>
                  </a:moveTo>
                  <a:cubicBezTo>
                    <a:pt x="121376" y="83365"/>
                    <a:pt x="121763" y="98069"/>
                    <a:pt x="113109" y="107679"/>
                  </a:cubicBezTo>
                  <a:cubicBezTo>
                    <a:pt x="110389" y="102995"/>
                    <a:pt x="105963" y="99545"/>
                    <a:pt x="100756" y="98051"/>
                  </a:cubicBezTo>
                  <a:cubicBezTo>
                    <a:pt x="104173" y="96030"/>
                    <a:pt x="106268" y="92355"/>
                    <a:pt x="106267" y="88385"/>
                  </a:cubicBezTo>
                  <a:cubicBezTo>
                    <a:pt x="106267" y="78414"/>
                    <a:pt x="94154" y="73385"/>
                    <a:pt x="87095" y="80444"/>
                  </a:cubicBezTo>
                  <a:cubicBezTo>
                    <a:pt x="82709" y="84834"/>
                    <a:pt x="82712" y="91948"/>
                    <a:pt x="87102" y="96334"/>
                  </a:cubicBezTo>
                  <a:cubicBezTo>
                    <a:pt x="87765" y="96997"/>
                    <a:pt x="88509" y="97573"/>
                    <a:pt x="89315" y="98051"/>
                  </a:cubicBezTo>
                  <a:cubicBezTo>
                    <a:pt x="84109" y="99545"/>
                    <a:pt x="79682" y="102995"/>
                    <a:pt x="76962" y="107679"/>
                  </a:cubicBezTo>
                  <a:cubicBezTo>
                    <a:pt x="67980" y="97698"/>
                    <a:pt x="68790" y="82324"/>
                    <a:pt x="78772" y="73342"/>
                  </a:cubicBezTo>
                  <a:cubicBezTo>
                    <a:pt x="88384" y="64693"/>
                    <a:pt x="103083" y="65079"/>
                    <a:pt x="112227" y="74221"/>
                  </a:cubicBezTo>
                  <a:close/>
                  <a:moveTo>
                    <a:pt x="95037" y="61647"/>
                  </a:moveTo>
                  <a:cubicBezTo>
                    <a:pt x="111476" y="61647"/>
                    <a:pt x="124803" y="74973"/>
                    <a:pt x="124803" y="91413"/>
                  </a:cubicBezTo>
                  <a:cubicBezTo>
                    <a:pt x="124803" y="107852"/>
                    <a:pt x="111476" y="121178"/>
                    <a:pt x="95037" y="121178"/>
                  </a:cubicBezTo>
                  <a:cubicBezTo>
                    <a:pt x="78598" y="121178"/>
                    <a:pt x="65272" y="107852"/>
                    <a:pt x="65272" y="91413"/>
                  </a:cubicBezTo>
                  <a:cubicBezTo>
                    <a:pt x="65273" y="74974"/>
                    <a:pt x="78599" y="61649"/>
                    <a:pt x="95037" y="61647"/>
                  </a:cubicBezTo>
                  <a:close/>
                  <a:moveTo>
                    <a:pt x="163481" y="34453"/>
                  </a:moveTo>
                  <a:cubicBezTo>
                    <a:pt x="161225" y="32197"/>
                    <a:pt x="157566" y="32196"/>
                    <a:pt x="155310" y="34453"/>
                  </a:cubicBezTo>
                  <a:cubicBezTo>
                    <a:pt x="153053" y="36709"/>
                    <a:pt x="153053" y="40368"/>
                    <a:pt x="155310" y="42624"/>
                  </a:cubicBezTo>
                  <a:cubicBezTo>
                    <a:pt x="157566" y="44881"/>
                    <a:pt x="161225" y="44881"/>
                    <a:pt x="163481" y="42624"/>
                  </a:cubicBezTo>
                  <a:cubicBezTo>
                    <a:pt x="163481" y="42624"/>
                    <a:pt x="163481" y="42624"/>
                    <a:pt x="163481" y="42624"/>
                  </a:cubicBezTo>
                  <a:cubicBezTo>
                    <a:pt x="165734" y="40366"/>
                    <a:pt x="165734" y="36711"/>
                    <a:pt x="163481" y="34453"/>
                  </a:cubicBezTo>
                  <a:close/>
                  <a:moveTo>
                    <a:pt x="145514" y="61531"/>
                  </a:moveTo>
                  <a:cubicBezTo>
                    <a:pt x="153859" y="67333"/>
                    <a:pt x="164932" y="67333"/>
                    <a:pt x="173277" y="61531"/>
                  </a:cubicBezTo>
                  <a:cubicBezTo>
                    <a:pt x="167656" y="50002"/>
                    <a:pt x="151135" y="50003"/>
                    <a:pt x="145514" y="61531"/>
                  </a:cubicBezTo>
                  <a:close/>
                  <a:moveTo>
                    <a:pt x="176588" y="24374"/>
                  </a:moveTo>
                  <a:cubicBezTo>
                    <a:pt x="185735" y="33517"/>
                    <a:pt x="186121" y="48221"/>
                    <a:pt x="177468" y="57832"/>
                  </a:cubicBezTo>
                  <a:cubicBezTo>
                    <a:pt x="174748" y="53148"/>
                    <a:pt x="170321" y="49697"/>
                    <a:pt x="165115" y="48204"/>
                  </a:cubicBezTo>
                  <a:cubicBezTo>
                    <a:pt x="168532" y="46183"/>
                    <a:pt x="170627" y="42507"/>
                    <a:pt x="170625" y="38537"/>
                  </a:cubicBezTo>
                  <a:cubicBezTo>
                    <a:pt x="170625" y="28566"/>
                    <a:pt x="158513" y="23537"/>
                    <a:pt x="151453" y="30596"/>
                  </a:cubicBezTo>
                  <a:cubicBezTo>
                    <a:pt x="147068" y="34987"/>
                    <a:pt x="147071" y="42101"/>
                    <a:pt x="151461" y="46487"/>
                  </a:cubicBezTo>
                  <a:cubicBezTo>
                    <a:pt x="152125" y="47149"/>
                    <a:pt x="152868" y="47726"/>
                    <a:pt x="153674" y="48204"/>
                  </a:cubicBezTo>
                  <a:cubicBezTo>
                    <a:pt x="148469" y="49698"/>
                    <a:pt x="144044" y="53149"/>
                    <a:pt x="141326" y="57833"/>
                  </a:cubicBezTo>
                  <a:cubicBezTo>
                    <a:pt x="132357" y="47839"/>
                    <a:pt x="133187" y="32467"/>
                    <a:pt x="143181" y="23498"/>
                  </a:cubicBezTo>
                  <a:cubicBezTo>
                    <a:pt x="152785" y="14879"/>
                    <a:pt x="167450" y="15264"/>
                    <a:pt x="176588" y="24375"/>
                  </a:cubicBezTo>
                  <a:close/>
                  <a:moveTo>
                    <a:pt x="159395" y="11802"/>
                  </a:moveTo>
                  <a:cubicBezTo>
                    <a:pt x="175834" y="11802"/>
                    <a:pt x="189161" y="25128"/>
                    <a:pt x="189161" y="41568"/>
                  </a:cubicBezTo>
                  <a:cubicBezTo>
                    <a:pt x="189161" y="58007"/>
                    <a:pt x="175834" y="71333"/>
                    <a:pt x="159395" y="71333"/>
                  </a:cubicBezTo>
                  <a:cubicBezTo>
                    <a:pt x="142956" y="71333"/>
                    <a:pt x="129630" y="58007"/>
                    <a:pt x="129630" y="41568"/>
                  </a:cubicBezTo>
                  <a:cubicBezTo>
                    <a:pt x="129631" y="25129"/>
                    <a:pt x="142957" y="11803"/>
                    <a:pt x="159395" y="11802"/>
                  </a:cubicBezTo>
                  <a:close/>
                  <a:moveTo>
                    <a:pt x="141874" y="214888"/>
                  </a:moveTo>
                  <a:lnTo>
                    <a:pt x="172820" y="214888"/>
                  </a:lnTo>
                  <a:lnTo>
                    <a:pt x="172820" y="95699"/>
                  </a:lnTo>
                  <a:lnTo>
                    <a:pt x="141874" y="95699"/>
                  </a:lnTo>
                  <a:lnTo>
                    <a:pt x="141874" y="214886"/>
                  </a:lnTo>
                  <a:close/>
                  <a:moveTo>
                    <a:pt x="79564" y="214888"/>
                  </a:moveTo>
                  <a:lnTo>
                    <a:pt x="110510" y="214888"/>
                  </a:lnTo>
                  <a:lnTo>
                    <a:pt x="110510" y="144641"/>
                  </a:lnTo>
                  <a:lnTo>
                    <a:pt x="79564" y="144641"/>
                  </a:lnTo>
                  <a:close/>
                  <a:moveTo>
                    <a:pt x="17255" y="214888"/>
                  </a:moveTo>
                  <a:lnTo>
                    <a:pt x="48201" y="214888"/>
                  </a:lnTo>
                  <a:lnTo>
                    <a:pt x="48201" y="106357"/>
                  </a:lnTo>
                  <a:lnTo>
                    <a:pt x="17253" y="106357"/>
                  </a:lnTo>
                  <a:lnTo>
                    <a:pt x="17253" y="214888"/>
                  </a:lnTo>
                  <a:close/>
                  <a:moveTo>
                    <a:pt x="3142" y="221249"/>
                  </a:moveTo>
                  <a:cubicBezTo>
                    <a:pt x="1385" y="221227"/>
                    <a:pt x="-22" y="219785"/>
                    <a:pt x="0" y="218028"/>
                  </a:cubicBezTo>
                  <a:cubicBezTo>
                    <a:pt x="22" y="216302"/>
                    <a:pt x="1416" y="214908"/>
                    <a:pt x="3142" y="214886"/>
                  </a:cubicBezTo>
                  <a:lnTo>
                    <a:pt x="10893" y="214886"/>
                  </a:lnTo>
                  <a:lnTo>
                    <a:pt x="10893" y="103174"/>
                  </a:lnTo>
                  <a:cubicBezTo>
                    <a:pt x="10893" y="101418"/>
                    <a:pt x="12317" y="99993"/>
                    <a:pt x="14074" y="99993"/>
                  </a:cubicBezTo>
                  <a:lnTo>
                    <a:pt x="51380" y="99993"/>
                  </a:lnTo>
                  <a:cubicBezTo>
                    <a:pt x="53137" y="99993"/>
                    <a:pt x="54561" y="101418"/>
                    <a:pt x="54561" y="103174"/>
                  </a:cubicBezTo>
                  <a:lnTo>
                    <a:pt x="54561" y="214886"/>
                  </a:lnTo>
                  <a:lnTo>
                    <a:pt x="73202" y="214886"/>
                  </a:lnTo>
                  <a:lnTo>
                    <a:pt x="73202" y="141457"/>
                  </a:lnTo>
                  <a:cubicBezTo>
                    <a:pt x="73202" y="139700"/>
                    <a:pt x="74626" y="138276"/>
                    <a:pt x="76383" y="138276"/>
                  </a:cubicBezTo>
                  <a:lnTo>
                    <a:pt x="113689" y="138276"/>
                  </a:lnTo>
                  <a:cubicBezTo>
                    <a:pt x="115446" y="138276"/>
                    <a:pt x="116870" y="139700"/>
                    <a:pt x="116870" y="141457"/>
                  </a:cubicBezTo>
                  <a:lnTo>
                    <a:pt x="116870" y="214886"/>
                  </a:lnTo>
                  <a:lnTo>
                    <a:pt x="135511" y="214886"/>
                  </a:lnTo>
                  <a:lnTo>
                    <a:pt x="135511" y="92516"/>
                  </a:lnTo>
                  <a:cubicBezTo>
                    <a:pt x="135512" y="90759"/>
                    <a:pt x="136936" y="89335"/>
                    <a:pt x="138693" y="89335"/>
                  </a:cubicBezTo>
                  <a:lnTo>
                    <a:pt x="175999" y="89335"/>
                  </a:lnTo>
                  <a:cubicBezTo>
                    <a:pt x="177756" y="89335"/>
                    <a:pt x="179180" y="90760"/>
                    <a:pt x="179180" y="92516"/>
                  </a:cubicBezTo>
                  <a:lnTo>
                    <a:pt x="179180" y="214886"/>
                  </a:lnTo>
                  <a:lnTo>
                    <a:pt x="186931" y="214886"/>
                  </a:lnTo>
                  <a:cubicBezTo>
                    <a:pt x="188688" y="214864"/>
                    <a:pt x="190130" y="216271"/>
                    <a:pt x="190152" y="218028"/>
                  </a:cubicBezTo>
                  <a:cubicBezTo>
                    <a:pt x="190173" y="219785"/>
                    <a:pt x="188767" y="221227"/>
                    <a:pt x="187010" y="221249"/>
                  </a:cubicBezTo>
                  <a:cubicBezTo>
                    <a:pt x="186984" y="221249"/>
                    <a:pt x="186957" y="221249"/>
                    <a:pt x="186931" y="221249"/>
                  </a:cubicBezTo>
                  <a:close/>
                  <a:moveTo>
                    <a:pt x="131438" y="18323"/>
                  </a:moveTo>
                  <a:cubicBezTo>
                    <a:pt x="118590" y="33605"/>
                    <a:pt x="120563" y="56409"/>
                    <a:pt x="135845" y="69257"/>
                  </a:cubicBezTo>
                  <a:cubicBezTo>
                    <a:pt x="148875" y="80211"/>
                    <a:pt x="167781" y="80591"/>
                    <a:pt x="181240" y="70169"/>
                  </a:cubicBezTo>
                  <a:cubicBezTo>
                    <a:pt x="182301" y="69350"/>
                    <a:pt x="183801" y="69427"/>
                    <a:pt x="184774" y="70349"/>
                  </a:cubicBezTo>
                  <a:lnTo>
                    <a:pt x="186334" y="71661"/>
                  </a:lnTo>
                  <a:cubicBezTo>
                    <a:pt x="186601" y="71858"/>
                    <a:pt x="186972" y="71826"/>
                    <a:pt x="187200" y="71586"/>
                  </a:cubicBezTo>
                  <a:lnTo>
                    <a:pt x="193477" y="64122"/>
                  </a:lnTo>
                  <a:cubicBezTo>
                    <a:pt x="193800" y="63737"/>
                    <a:pt x="193527" y="63360"/>
                    <a:pt x="193223" y="63105"/>
                  </a:cubicBezTo>
                  <a:lnTo>
                    <a:pt x="191718" y="61837"/>
                  </a:lnTo>
                  <a:cubicBezTo>
                    <a:pt x="190742" y="61016"/>
                    <a:pt x="190469" y="59625"/>
                    <a:pt x="191063" y="58496"/>
                  </a:cubicBezTo>
                  <a:lnTo>
                    <a:pt x="191058" y="58493"/>
                  </a:lnTo>
                  <a:cubicBezTo>
                    <a:pt x="200387" y="40841"/>
                    <a:pt x="193640" y="18969"/>
                    <a:pt x="175988" y="9640"/>
                  </a:cubicBezTo>
                  <a:cubicBezTo>
                    <a:pt x="160945" y="1689"/>
                    <a:pt x="142394" y="5305"/>
                    <a:pt x="131438" y="18323"/>
                  </a:cubicBezTo>
                  <a:close/>
                  <a:moveTo>
                    <a:pt x="209403" y="72356"/>
                  </a:moveTo>
                  <a:lnTo>
                    <a:pt x="199057" y="63728"/>
                  </a:lnTo>
                  <a:cubicBezTo>
                    <a:pt x="199058" y="62024"/>
                    <a:pt x="198337" y="60399"/>
                    <a:pt x="197072" y="59256"/>
                  </a:cubicBezTo>
                  <a:lnTo>
                    <a:pt x="197077" y="59251"/>
                  </a:lnTo>
                  <a:cubicBezTo>
                    <a:pt x="197006" y="59181"/>
                    <a:pt x="196931" y="59115"/>
                    <a:pt x="196853" y="59053"/>
                  </a:cubicBezTo>
                  <a:cubicBezTo>
                    <a:pt x="206496" y="38210"/>
                    <a:pt x="197418" y="13497"/>
                    <a:pt x="176575" y="3854"/>
                  </a:cubicBezTo>
                  <a:cubicBezTo>
                    <a:pt x="155733" y="-5790"/>
                    <a:pt x="131019" y="3289"/>
                    <a:pt x="121376" y="24131"/>
                  </a:cubicBezTo>
                  <a:cubicBezTo>
                    <a:pt x="111733" y="44974"/>
                    <a:pt x="120811" y="69687"/>
                    <a:pt x="141654" y="79331"/>
                  </a:cubicBezTo>
                  <a:cubicBezTo>
                    <a:pt x="155028" y="85518"/>
                    <a:pt x="170677" y="84166"/>
                    <a:pt x="182791" y="75775"/>
                  </a:cubicBezTo>
                  <a:cubicBezTo>
                    <a:pt x="184141" y="76938"/>
                    <a:pt x="185934" y="77446"/>
                    <a:pt x="187693" y="77164"/>
                  </a:cubicBezTo>
                  <a:lnTo>
                    <a:pt x="198029" y="85784"/>
                  </a:lnTo>
                  <a:cubicBezTo>
                    <a:pt x="197326" y="88132"/>
                    <a:pt x="198087" y="90673"/>
                    <a:pt x="199964" y="92249"/>
                  </a:cubicBezTo>
                  <a:lnTo>
                    <a:pt x="199959" y="92254"/>
                  </a:lnTo>
                  <a:lnTo>
                    <a:pt x="199974" y="92269"/>
                  </a:lnTo>
                  <a:lnTo>
                    <a:pt x="220196" y="109247"/>
                  </a:lnTo>
                  <a:cubicBezTo>
                    <a:pt x="223515" y="112029"/>
                    <a:pt x="228461" y="111597"/>
                    <a:pt x="231248" y="108281"/>
                  </a:cubicBezTo>
                  <a:lnTo>
                    <a:pt x="237186" y="101230"/>
                  </a:lnTo>
                  <a:lnTo>
                    <a:pt x="237191" y="101235"/>
                  </a:lnTo>
                  <a:lnTo>
                    <a:pt x="237207" y="101218"/>
                  </a:lnTo>
                  <a:cubicBezTo>
                    <a:pt x="239912" y="98192"/>
                    <a:pt x="239638" y="93054"/>
                    <a:pt x="236249" y="90193"/>
                  </a:cubicBezTo>
                  <a:lnTo>
                    <a:pt x="236254" y="90188"/>
                  </a:lnTo>
                  <a:lnTo>
                    <a:pt x="236237" y="90172"/>
                  </a:lnTo>
                  <a:lnTo>
                    <a:pt x="216016" y="73195"/>
                  </a:lnTo>
                  <a:cubicBezTo>
                    <a:pt x="214167" y="71642"/>
                    <a:pt x="211582" y="71314"/>
                    <a:pt x="209405" y="72356"/>
                  </a:cubicBezTo>
                  <a:close/>
                  <a:moveTo>
                    <a:pt x="201145" y="81313"/>
                  </a:moveTo>
                  <a:lnTo>
                    <a:pt x="192309" y="73944"/>
                  </a:lnTo>
                  <a:lnTo>
                    <a:pt x="196645" y="68788"/>
                  </a:lnTo>
                  <a:lnTo>
                    <a:pt x="205485" y="76160"/>
                  </a:lnTo>
                  <a:close/>
                  <a:moveTo>
                    <a:pt x="211496" y="77448"/>
                  </a:moveTo>
                  <a:cubicBezTo>
                    <a:pt x="211765" y="77159"/>
                    <a:pt x="212210" y="77125"/>
                    <a:pt x="212520" y="77370"/>
                  </a:cubicBezTo>
                  <a:lnTo>
                    <a:pt x="232741" y="94347"/>
                  </a:lnTo>
                  <a:lnTo>
                    <a:pt x="232747" y="94341"/>
                  </a:lnTo>
                  <a:cubicBezTo>
                    <a:pt x="233742" y="95207"/>
                    <a:pt x="233867" y="96707"/>
                    <a:pt x="233029" y="97725"/>
                  </a:cubicBezTo>
                  <a:lnTo>
                    <a:pt x="233035" y="97730"/>
                  </a:lnTo>
                  <a:lnTo>
                    <a:pt x="227091" y="104788"/>
                  </a:lnTo>
                  <a:cubicBezTo>
                    <a:pt x="226220" y="105787"/>
                    <a:pt x="224712" y="105913"/>
                    <a:pt x="223687" y="105072"/>
                  </a:cubicBezTo>
                  <a:lnTo>
                    <a:pt x="203465" y="88093"/>
                  </a:lnTo>
                  <a:lnTo>
                    <a:pt x="203460" y="88100"/>
                  </a:lnTo>
                  <a:cubicBezTo>
                    <a:pt x="203176" y="87835"/>
                    <a:pt x="203143" y="87396"/>
                    <a:pt x="203385" y="87092"/>
                  </a:cubicBezTo>
                  <a:lnTo>
                    <a:pt x="203378" y="87087"/>
                  </a:lnTo>
                  <a:close/>
                </a:path>
              </a:pathLst>
            </a:custGeom>
            <a:solidFill>
              <a:schemeClr val="bg1"/>
            </a:solid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159" name="Group 158">
            <a:extLst>
              <a:ext uri="{FF2B5EF4-FFF2-40B4-BE49-F238E27FC236}">
                <a16:creationId xmlns:a16="http://schemas.microsoft.com/office/drawing/2014/main" id="{7BED983F-ECEA-1A36-B68C-6C1A3A50C157}"/>
              </a:ext>
            </a:extLst>
          </p:cNvPr>
          <p:cNvGrpSpPr/>
          <p:nvPr/>
        </p:nvGrpSpPr>
        <p:grpSpPr>
          <a:xfrm>
            <a:off x="7936609" y="2015349"/>
            <a:ext cx="457200" cy="457200"/>
            <a:chOff x="7936609" y="2099558"/>
            <a:chExt cx="457200" cy="457200"/>
          </a:xfrm>
        </p:grpSpPr>
        <p:sp>
          <p:nvSpPr>
            <p:cNvPr id="160" name="Oval 159">
              <a:extLst>
                <a:ext uri="{FF2B5EF4-FFF2-40B4-BE49-F238E27FC236}">
                  <a16:creationId xmlns:a16="http://schemas.microsoft.com/office/drawing/2014/main" id="{A2B3E236-2FFB-98C2-2C81-B95ABA8EEC99}"/>
                </a:ext>
              </a:extLst>
            </p:cNvPr>
            <p:cNvSpPr>
              <a:spLocks noChangeAspect="1"/>
            </p:cNvSpPr>
            <p:nvPr/>
          </p:nvSpPr>
          <p:spPr>
            <a:xfrm>
              <a:off x="7936609" y="2099558"/>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sp>
          <p:nvSpPr>
            <p:cNvPr id="161" name="Pic">
              <a:extLst>
                <a:ext uri="{FF2B5EF4-FFF2-40B4-BE49-F238E27FC236}">
                  <a16:creationId xmlns:a16="http://schemas.microsoft.com/office/drawing/2014/main" id="{45F066F3-D5E8-40E2-C1FB-6CC1E9F45051}"/>
                </a:ext>
              </a:extLst>
            </p:cNvPr>
            <p:cNvSpPr>
              <a:spLocks noChangeAspect="1"/>
            </p:cNvSpPr>
            <p:nvPr/>
          </p:nvSpPr>
          <p:spPr>
            <a:xfrm>
              <a:off x="8046143" y="2209143"/>
              <a:ext cx="238132" cy="238030"/>
            </a:xfrm>
            <a:custGeom>
              <a:avLst/>
              <a:gdLst>
                <a:gd name="csX0" fmla="*/ 102908 w 238132"/>
                <a:gd name="csY0" fmla="*/ 22857 h 238030"/>
                <a:gd name="csX1" fmla="*/ 22927 w 238132"/>
                <a:gd name="csY1" fmla="*/ 22876 h 238030"/>
                <a:gd name="csX2" fmla="*/ 22947 w 238132"/>
                <a:gd name="csY2" fmla="*/ 102857 h 238030"/>
                <a:gd name="csX3" fmla="*/ 102908 w 238132"/>
                <a:gd name="csY3" fmla="*/ 102857 h 238030"/>
                <a:gd name="csX4" fmla="*/ 102927 w 238132"/>
                <a:gd name="csY4" fmla="*/ 22876 h 238030"/>
                <a:gd name="csX5" fmla="*/ 102908 w 238132"/>
                <a:gd name="csY5" fmla="*/ 22857 h 238030"/>
                <a:gd name="csX6" fmla="*/ 59748 w 238132"/>
                <a:gd name="csY6" fmla="*/ 16154 h 238030"/>
                <a:gd name="csX7" fmla="*/ 62790 w 238132"/>
                <a:gd name="csY7" fmla="*/ 12862 h 238030"/>
                <a:gd name="csX8" fmla="*/ 66083 w 238132"/>
                <a:gd name="csY8" fmla="*/ 15904 h 238030"/>
                <a:gd name="csX9" fmla="*/ 66083 w 238132"/>
                <a:gd name="csY9" fmla="*/ 16154 h 238030"/>
                <a:gd name="csX10" fmla="*/ 66083 w 238132"/>
                <a:gd name="csY10" fmla="*/ 18789 h 238030"/>
                <a:gd name="csX11" fmla="*/ 63041 w 238132"/>
                <a:gd name="csY11" fmla="*/ 22082 h 238030"/>
                <a:gd name="csX12" fmla="*/ 59748 w 238132"/>
                <a:gd name="csY12" fmla="*/ 19039 h 238030"/>
                <a:gd name="csX13" fmla="*/ 59748 w 238132"/>
                <a:gd name="csY13" fmla="*/ 18789 h 238030"/>
                <a:gd name="csX14" fmla="*/ 27645 w 238132"/>
                <a:gd name="csY14" fmla="*/ 32074 h 238030"/>
                <a:gd name="csX15" fmla="*/ 27241 w 238132"/>
                <a:gd name="csY15" fmla="*/ 27609 h 238030"/>
                <a:gd name="csX16" fmla="*/ 31706 w 238132"/>
                <a:gd name="csY16" fmla="*/ 27205 h 238030"/>
                <a:gd name="csX17" fmla="*/ 32110 w 238132"/>
                <a:gd name="csY17" fmla="*/ 27609 h 238030"/>
                <a:gd name="csX18" fmla="*/ 33985 w 238132"/>
                <a:gd name="csY18" fmla="*/ 29484 h 238030"/>
                <a:gd name="csX19" fmla="*/ 33581 w 238132"/>
                <a:gd name="csY19" fmla="*/ 33949 h 238030"/>
                <a:gd name="csX20" fmla="*/ 29521 w 238132"/>
                <a:gd name="csY20" fmla="*/ 33949 h 238030"/>
                <a:gd name="csX21" fmla="*/ 16205 w 238132"/>
                <a:gd name="csY21" fmla="*/ 66027 h 238030"/>
                <a:gd name="csX22" fmla="*/ 13035 w 238132"/>
                <a:gd name="csY22" fmla="*/ 62857 h 238030"/>
                <a:gd name="csX23" fmla="*/ 16205 w 238132"/>
                <a:gd name="csY23" fmla="*/ 59687 h 238030"/>
                <a:gd name="csX24" fmla="*/ 18860 w 238132"/>
                <a:gd name="csY24" fmla="*/ 59687 h 238030"/>
                <a:gd name="csX25" fmla="*/ 22030 w 238132"/>
                <a:gd name="csY25" fmla="*/ 62857 h 238030"/>
                <a:gd name="csX26" fmla="*/ 18860 w 238132"/>
                <a:gd name="csY26" fmla="*/ 66027 h 238030"/>
                <a:gd name="csX27" fmla="*/ 32125 w 238132"/>
                <a:gd name="csY27" fmla="*/ 98119 h 238030"/>
                <a:gd name="csX28" fmla="*/ 27660 w 238132"/>
                <a:gd name="csY28" fmla="*/ 97715 h 238030"/>
                <a:gd name="csX29" fmla="*/ 27660 w 238132"/>
                <a:gd name="csY29" fmla="*/ 93654 h 238030"/>
                <a:gd name="csX30" fmla="*/ 29535 w 238132"/>
                <a:gd name="csY30" fmla="*/ 91779 h 238030"/>
                <a:gd name="csX31" fmla="*/ 34000 w 238132"/>
                <a:gd name="csY31" fmla="*/ 92183 h 238030"/>
                <a:gd name="csX32" fmla="*/ 34000 w 238132"/>
                <a:gd name="csY32" fmla="*/ 96244 h 238030"/>
                <a:gd name="csX33" fmla="*/ 66078 w 238132"/>
                <a:gd name="csY33" fmla="*/ 109574 h 238030"/>
                <a:gd name="csX34" fmla="*/ 63036 w 238132"/>
                <a:gd name="csY34" fmla="*/ 112867 h 238030"/>
                <a:gd name="csX35" fmla="*/ 59743 w 238132"/>
                <a:gd name="csY35" fmla="*/ 109825 h 238030"/>
                <a:gd name="csX36" fmla="*/ 59743 w 238132"/>
                <a:gd name="csY36" fmla="*/ 109574 h 238030"/>
                <a:gd name="csX37" fmla="*/ 59743 w 238132"/>
                <a:gd name="csY37" fmla="*/ 106925 h 238030"/>
                <a:gd name="csX38" fmla="*/ 62785 w 238132"/>
                <a:gd name="csY38" fmla="*/ 103632 h 238030"/>
                <a:gd name="csX39" fmla="*/ 66078 w 238132"/>
                <a:gd name="csY39" fmla="*/ 106674 h 238030"/>
                <a:gd name="csX40" fmla="*/ 66078 w 238132"/>
                <a:gd name="csY40" fmla="*/ 106925 h 238030"/>
                <a:gd name="csX41" fmla="*/ 98175 w 238132"/>
                <a:gd name="csY41" fmla="*/ 93654 h 238030"/>
                <a:gd name="csX42" fmla="*/ 97771 w 238132"/>
                <a:gd name="csY42" fmla="*/ 98119 h 238030"/>
                <a:gd name="csX43" fmla="*/ 93710 w 238132"/>
                <a:gd name="csY43" fmla="*/ 98119 h 238030"/>
                <a:gd name="csX44" fmla="*/ 91835 w 238132"/>
                <a:gd name="csY44" fmla="*/ 96244 h 238030"/>
                <a:gd name="csX45" fmla="*/ 92239 w 238132"/>
                <a:gd name="csY45" fmla="*/ 91779 h 238030"/>
                <a:gd name="csX46" fmla="*/ 96300 w 238132"/>
                <a:gd name="csY46" fmla="*/ 91779 h 238030"/>
                <a:gd name="csX47" fmla="*/ 93710 w 238132"/>
                <a:gd name="csY47" fmla="*/ 27604 h 238030"/>
                <a:gd name="csX48" fmla="*/ 98175 w 238132"/>
                <a:gd name="csY48" fmla="*/ 27200 h 238030"/>
                <a:gd name="csX49" fmla="*/ 98579 w 238132"/>
                <a:gd name="csY49" fmla="*/ 31665 h 238030"/>
                <a:gd name="csX50" fmla="*/ 98175 w 238132"/>
                <a:gd name="csY50" fmla="*/ 32069 h 238030"/>
                <a:gd name="csX51" fmla="*/ 96300 w 238132"/>
                <a:gd name="csY51" fmla="*/ 33944 h 238030"/>
                <a:gd name="csX52" fmla="*/ 91835 w 238132"/>
                <a:gd name="csY52" fmla="*/ 34349 h 238030"/>
                <a:gd name="csX53" fmla="*/ 91431 w 238132"/>
                <a:gd name="csY53" fmla="*/ 29884 h 238030"/>
                <a:gd name="csX54" fmla="*/ 91835 w 238132"/>
                <a:gd name="csY54" fmla="*/ 29480 h 238030"/>
                <a:gd name="csX55" fmla="*/ 59758 w 238132"/>
                <a:gd name="csY55" fmla="*/ 32069 h 238030"/>
                <a:gd name="csX56" fmla="*/ 62800 w 238132"/>
                <a:gd name="csY56" fmla="*/ 28776 h 238030"/>
                <a:gd name="csX57" fmla="*/ 66093 w 238132"/>
                <a:gd name="csY57" fmla="*/ 31818 h 238030"/>
                <a:gd name="csX58" fmla="*/ 66093 w 238132"/>
                <a:gd name="csY58" fmla="*/ 32069 h 238030"/>
                <a:gd name="csX59" fmla="*/ 66093 w 238132"/>
                <a:gd name="csY59" fmla="*/ 61537 h 238030"/>
                <a:gd name="csX60" fmla="*/ 89841 w 238132"/>
                <a:gd name="csY60" fmla="*/ 85285 h 238030"/>
                <a:gd name="csX61" fmla="*/ 89436 w 238132"/>
                <a:gd name="csY61" fmla="*/ 89750 h 238030"/>
                <a:gd name="csX62" fmla="*/ 85376 w 238132"/>
                <a:gd name="csY62" fmla="*/ 89750 h 238030"/>
                <a:gd name="csX63" fmla="*/ 60720 w 238132"/>
                <a:gd name="csY63" fmla="*/ 65094 h 238030"/>
                <a:gd name="csX64" fmla="*/ 59772 w 238132"/>
                <a:gd name="csY64" fmla="*/ 62837 h 238030"/>
                <a:gd name="csX65" fmla="*/ 59772 w 238132"/>
                <a:gd name="csY65" fmla="*/ 32074 h 238030"/>
                <a:gd name="csX66" fmla="*/ 109630 w 238132"/>
                <a:gd name="csY66" fmla="*/ 59682 h 238030"/>
                <a:gd name="csX67" fmla="*/ 112800 w 238132"/>
                <a:gd name="csY67" fmla="*/ 62852 h 238030"/>
                <a:gd name="csX68" fmla="*/ 109630 w 238132"/>
                <a:gd name="csY68" fmla="*/ 66022 h 238030"/>
                <a:gd name="csX69" fmla="*/ 106976 w 238132"/>
                <a:gd name="csY69" fmla="*/ 66022 h 238030"/>
                <a:gd name="csX70" fmla="*/ 103806 w 238132"/>
                <a:gd name="csY70" fmla="*/ 62852 h 238030"/>
                <a:gd name="csX71" fmla="*/ 106976 w 238132"/>
                <a:gd name="csY71" fmla="*/ 59682 h 238030"/>
                <a:gd name="csX72" fmla="*/ 77384 w 238132"/>
                <a:gd name="csY72" fmla="*/ 124090 h 238030"/>
                <a:gd name="csX73" fmla="*/ 115975 w 238132"/>
                <a:gd name="csY73" fmla="*/ 96695 h 238030"/>
                <a:gd name="csX74" fmla="*/ 116248 w 238132"/>
                <a:gd name="csY74" fmla="*/ 96968 h 238030"/>
                <a:gd name="csX75" fmla="*/ 127187 w 238132"/>
                <a:gd name="csY75" fmla="*/ 107907 h 238030"/>
                <a:gd name="csX76" fmla="*/ 131651 w 238132"/>
                <a:gd name="csY76" fmla="*/ 107907 h 238030"/>
                <a:gd name="csX77" fmla="*/ 175769 w 238132"/>
                <a:gd name="csY77" fmla="*/ 63789 h 238030"/>
                <a:gd name="csX78" fmla="*/ 175769 w 238132"/>
                <a:gd name="csY78" fmla="*/ 59325 h 238030"/>
                <a:gd name="csX79" fmla="*/ 166874 w 238132"/>
                <a:gd name="csY79" fmla="*/ 50435 h 238030"/>
                <a:gd name="csX80" fmla="*/ 166856 w 238132"/>
                <a:gd name="csY80" fmla="*/ 47109 h 238030"/>
                <a:gd name="csX81" fmla="*/ 168546 w 238132"/>
                <a:gd name="csY81" fmla="*/ 46411 h 238030"/>
                <a:gd name="csX82" fmla="*/ 202280 w 238132"/>
                <a:gd name="csY82" fmla="*/ 46550 h 238030"/>
                <a:gd name="csX83" fmla="*/ 204627 w 238132"/>
                <a:gd name="csY83" fmla="*/ 48902 h 238030"/>
                <a:gd name="csX84" fmla="*/ 204771 w 238132"/>
                <a:gd name="csY84" fmla="*/ 82636 h 238030"/>
                <a:gd name="csX85" fmla="*/ 204106 w 238132"/>
                <a:gd name="csY85" fmla="*/ 84293 h 238030"/>
                <a:gd name="csX86" fmla="*/ 200857 w 238132"/>
                <a:gd name="csY86" fmla="*/ 84427 h 238030"/>
                <a:gd name="csX87" fmla="*/ 191847 w 238132"/>
                <a:gd name="csY87" fmla="*/ 75413 h 238030"/>
                <a:gd name="csX88" fmla="*/ 187383 w 238132"/>
                <a:gd name="csY88" fmla="*/ 75413 h 238030"/>
                <a:gd name="csX89" fmla="*/ 135293 w 238132"/>
                <a:gd name="csY89" fmla="*/ 127503 h 238030"/>
                <a:gd name="csX90" fmla="*/ 129419 w 238132"/>
                <a:gd name="csY90" fmla="*/ 129939 h 238030"/>
                <a:gd name="csX91" fmla="*/ 123535 w 238132"/>
                <a:gd name="csY91" fmla="*/ 127518 h 238030"/>
                <a:gd name="csX92" fmla="*/ 112596 w 238132"/>
                <a:gd name="csY92" fmla="*/ 116579 h 238030"/>
                <a:gd name="csX93" fmla="*/ 108132 w 238132"/>
                <a:gd name="csY93" fmla="*/ 116579 h 238030"/>
                <a:gd name="csX94" fmla="*/ 77101 w 238132"/>
                <a:gd name="csY94" fmla="*/ 147575 h 238030"/>
                <a:gd name="csX95" fmla="*/ 65492 w 238132"/>
                <a:gd name="csY95" fmla="*/ 135956 h 238030"/>
                <a:gd name="csX96" fmla="*/ 77359 w 238132"/>
                <a:gd name="csY96" fmla="*/ 124095 h 238030"/>
                <a:gd name="csX97" fmla="*/ 64912 w 238132"/>
                <a:gd name="csY97" fmla="*/ 125727 h 238030"/>
                <a:gd name="csX98" fmla="*/ 36332 w 238132"/>
                <a:gd name="csY98" fmla="*/ 152337 h 238030"/>
                <a:gd name="csX99" fmla="*/ 56860 w 238132"/>
                <a:gd name="csY99" fmla="*/ 140828 h 238030"/>
                <a:gd name="csX100" fmla="*/ 61003 w 238132"/>
                <a:gd name="csY100" fmla="*/ 131501 h 238030"/>
                <a:gd name="csX101" fmla="*/ 66842 w 238132"/>
                <a:gd name="csY101" fmla="*/ 125662 h 238030"/>
                <a:gd name="csX102" fmla="*/ 64857 w 238132"/>
                <a:gd name="csY102" fmla="*/ 125756 h 238030"/>
                <a:gd name="csX103" fmla="*/ 220115 w 238132"/>
                <a:gd name="csY103" fmla="*/ 168053 h 238030"/>
                <a:gd name="csX104" fmla="*/ 169245 w 238132"/>
                <a:gd name="csY104" fmla="*/ 197407 h 238030"/>
                <a:gd name="csX105" fmla="*/ 172024 w 238132"/>
                <a:gd name="csY105" fmla="*/ 213997 h 238030"/>
                <a:gd name="csX106" fmla="*/ 231753 w 238132"/>
                <a:gd name="csY106" fmla="*/ 213997 h 238030"/>
                <a:gd name="csX107" fmla="*/ 220080 w 238132"/>
                <a:gd name="csY107" fmla="*/ 168058 h 238030"/>
                <a:gd name="csX108" fmla="*/ 137366 w 238132"/>
                <a:gd name="csY108" fmla="*/ 213396 h 238030"/>
                <a:gd name="csX109" fmla="*/ 119543 w 238132"/>
                <a:gd name="csY109" fmla="*/ 203112 h 238030"/>
                <a:gd name="csX110" fmla="*/ 109259 w 238132"/>
                <a:gd name="csY110" fmla="*/ 220936 h 238030"/>
                <a:gd name="csX111" fmla="*/ 127077 w 238132"/>
                <a:gd name="csY111" fmla="*/ 231221 h 238030"/>
                <a:gd name="csX112" fmla="*/ 137370 w 238132"/>
                <a:gd name="csY112" fmla="*/ 213411 h 238030"/>
                <a:gd name="csX113" fmla="*/ 137366 w 238132"/>
                <a:gd name="csY113" fmla="*/ 213396 h 238030"/>
                <a:gd name="csX114" fmla="*/ 140194 w 238132"/>
                <a:gd name="csY114" fmla="*/ 204873 h 238030"/>
                <a:gd name="csX115" fmla="*/ 155652 w 238132"/>
                <a:gd name="csY115" fmla="*/ 178084 h 238030"/>
                <a:gd name="csX116" fmla="*/ 155826 w 238132"/>
                <a:gd name="csY116" fmla="*/ 177782 h 238030"/>
                <a:gd name="csX117" fmla="*/ 172455 w 238132"/>
                <a:gd name="csY117" fmla="*/ 148979 h 238030"/>
                <a:gd name="csX118" fmla="*/ 172554 w 238132"/>
                <a:gd name="csY118" fmla="*/ 148805 h 238030"/>
                <a:gd name="csX119" fmla="*/ 169548 w 238132"/>
                <a:gd name="csY119" fmla="*/ 137211 h 238030"/>
                <a:gd name="csX120" fmla="*/ 157954 w 238132"/>
                <a:gd name="csY120" fmla="*/ 140218 h 238030"/>
                <a:gd name="csX121" fmla="*/ 157756 w 238132"/>
                <a:gd name="csY121" fmla="*/ 140555 h 238030"/>
                <a:gd name="csX122" fmla="*/ 125520 w 238132"/>
                <a:gd name="csY122" fmla="*/ 196390 h 238030"/>
                <a:gd name="csX123" fmla="*/ 140194 w 238132"/>
                <a:gd name="csY123" fmla="*/ 204864 h 238030"/>
                <a:gd name="csX124" fmla="*/ 142064 w 238132"/>
                <a:gd name="csY124" fmla="*/ 154952 h 238030"/>
                <a:gd name="csX125" fmla="*/ 97942 w 238132"/>
                <a:gd name="csY125" fmla="*/ 135698 h 238030"/>
                <a:gd name="csX126" fmla="*/ 110344 w 238132"/>
                <a:gd name="csY126" fmla="*/ 123296 h 238030"/>
                <a:gd name="csX127" fmla="*/ 119046 w 238132"/>
                <a:gd name="csY127" fmla="*/ 131992 h 238030"/>
                <a:gd name="csX128" fmla="*/ 129394 w 238132"/>
                <a:gd name="csY128" fmla="*/ 136274 h 238030"/>
                <a:gd name="csX129" fmla="*/ 139748 w 238132"/>
                <a:gd name="csY129" fmla="*/ 132007 h 238030"/>
                <a:gd name="csX130" fmla="*/ 157557 w 238132"/>
                <a:gd name="csY130" fmla="*/ 114197 h 238030"/>
                <a:gd name="csX131" fmla="*/ 217059 w 238132"/>
                <a:gd name="csY131" fmla="*/ 162527 h 238030"/>
                <a:gd name="csX132" fmla="*/ 167306 w 238132"/>
                <a:gd name="csY132" fmla="*/ 191236 h 238030"/>
                <a:gd name="csX133" fmla="*/ 162097 w 238132"/>
                <a:gd name="csY133" fmla="*/ 179553 h 238030"/>
                <a:gd name="csX134" fmla="*/ 177922 w 238132"/>
                <a:gd name="csY134" fmla="*/ 152144 h 238030"/>
                <a:gd name="csX135" fmla="*/ 177977 w 238132"/>
                <a:gd name="csY135" fmla="*/ 152059 h 238030"/>
                <a:gd name="csX136" fmla="*/ 172802 w 238132"/>
                <a:gd name="csY136" fmla="*/ 131943 h 238030"/>
                <a:gd name="csX137" fmla="*/ 172768 w 238132"/>
                <a:gd name="csY137" fmla="*/ 131918 h 238030"/>
                <a:gd name="csX138" fmla="*/ 152512 w 238132"/>
                <a:gd name="csY138" fmla="*/ 137018 h 238030"/>
                <a:gd name="csX139" fmla="*/ 152512 w 238132"/>
                <a:gd name="csY139" fmla="*/ 137053 h 238030"/>
                <a:gd name="csX140" fmla="*/ 142094 w 238132"/>
                <a:gd name="csY140" fmla="*/ 154957 h 238030"/>
                <a:gd name="csX141" fmla="*/ 117870 w 238132"/>
                <a:gd name="csY141" fmla="*/ 197005 h 238030"/>
                <a:gd name="csX142" fmla="*/ 138860 w 238132"/>
                <a:gd name="csY142" fmla="*/ 160508 h 238030"/>
                <a:gd name="csX143" fmla="*/ 92128 w 238132"/>
                <a:gd name="csY143" fmla="*/ 141512 h 238030"/>
                <a:gd name="csX144" fmla="*/ 81581 w 238132"/>
                <a:gd name="csY144" fmla="*/ 152059 h 238030"/>
                <a:gd name="csX145" fmla="*/ 58264 w 238132"/>
                <a:gd name="csY145" fmla="*/ 147044 h 238030"/>
                <a:gd name="csX146" fmla="*/ 23225 w 238132"/>
                <a:gd name="csY146" fmla="*/ 175004 h 238030"/>
                <a:gd name="csX147" fmla="*/ 17768 w 238132"/>
                <a:gd name="csY147" fmla="*/ 171779 h 238030"/>
                <a:gd name="csX148" fmla="*/ 54504 w 238132"/>
                <a:gd name="csY148" fmla="*/ 125206 h 238030"/>
                <a:gd name="csX149" fmla="*/ 569 w 238132"/>
                <a:gd name="csY149" fmla="*/ 54504 h 238030"/>
                <a:gd name="csX150" fmla="*/ 71271 w 238132"/>
                <a:gd name="csY150" fmla="*/ 569 h 238030"/>
                <a:gd name="csX151" fmla="*/ 125206 w 238132"/>
                <a:gd name="csY151" fmla="*/ 71271 h 238030"/>
                <a:gd name="csX152" fmla="*/ 119066 w 238132"/>
                <a:gd name="csY152" fmla="*/ 91134 h 238030"/>
                <a:gd name="csX153" fmla="*/ 120648 w 238132"/>
                <a:gd name="csY153" fmla="*/ 92488 h 238030"/>
                <a:gd name="csX154" fmla="*/ 129389 w 238132"/>
                <a:gd name="csY154" fmla="*/ 101190 h 238030"/>
                <a:gd name="csX155" fmla="*/ 169027 w 238132"/>
                <a:gd name="csY155" fmla="*/ 61557 h 238030"/>
                <a:gd name="csX156" fmla="*/ 162375 w 238132"/>
                <a:gd name="csY156" fmla="*/ 54904 h 238030"/>
                <a:gd name="csX157" fmla="*/ 168551 w 238132"/>
                <a:gd name="csY157" fmla="*/ 40086 h 238030"/>
                <a:gd name="csX158" fmla="*/ 202285 w 238132"/>
                <a:gd name="csY158" fmla="*/ 40230 h 238030"/>
                <a:gd name="csX159" fmla="*/ 210922 w 238132"/>
                <a:gd name="csY159" fmla="*/ 48867 h 238030"/>
                <a:gd name="csX160" fmla="*/ 211061 w 238132"/>
                <a:gd name="csY160" fmla="*/ 82601 h 238030"/>
                <a:gd name="csX161" fmla="*/ 208581 w 238132"/>
                <a:gd name="csY161" fmla="*/ 88763 h 238030"/>
                <a:gd name="csX162" fmla="*/ 196275 w 238132"/>
                <a:gd name="csY162" fmla="*/ 88770 h 238030"/>
                <a:gd name="csX163" fmla="*/ 196268 w 238132"/>
                <a:gd name="csY163" fmla="*/ 88763 h 238030"/>
                <a:gd name="csX164" fmla="*/ 189615 w 238132"/>
                <a:gd name="csY164" fmla="*/ 82110 h 238030"/>
                <a:gd name="csX165" fmla="*/ 162533 w 238132"/>
                <a:gd name="csY165" fmla="*/ 109192 h 238030"/>
                <a:gd name="csX166" fmla="*/ 238133 w 238132"/>
                <a:gd name="csY166" fmla="*/ 217167 h 238030"/>
                <a:gd name="csX167" fmla="*/ 234963 w 238132"/>
                <a:gd name="csY167" fmla="*/ 220332 h 238030"/>
                <a:gd name="csX168" fmla="*/ 169017 w 238132"/>
                <a:gd name="csY168" fmla="*/ 220332 h 238030"/>
                <a:gd name="csX169" fmla="*/ 165847 w 238132"/>
                <a:gd name="csY169" fmla="*/ 217181 h 238030"/>
                <a:gd name="csX170" fmla="*/ 165852 w 238132"/>
                <a:gd name="csY170" fmla="*/ 216998 h 238030"/>
                <a:gd name="csX171" fmla="*/ 158326 w 238132"/>
                <a:gd name="csY171" fmla="*/ 186081 h 238030"/>
                <a:gd name="csX172" fmla="*/ 143488 w 238132"/>
                <a:gd name="csY172" fmla="*/ 211769 h 238030"/>
                <a:gd name="csX173" fmla="*/ 128687 w 238132"/>
                <a:gd name="csY173" fmla="*/ 237321 h 238030"/>
                <a:gd name="csX174" fmla="*/ 103135 w 238132"/>
                <a:gd name="csY174" fmla="*/ 222520 h 238030"/>
                <a:gd name="csX175" fmla="*/ 117870 w 238132"/>
                <a:gd name="csY175" fmla="*/ 196986 h 238030"/>
                <a:gd name="csX176" fmla="*/ 125490 w 238132"/>
                <a:gd name="csY176" fmla="*/ 214984 h 238030"/>
                <a:gd name="csX177" fmla="*/ 125498 w 238132"/>
                <a:gd name="csY177" fmla="*/ 219348 h 238030"/>
                <a:gd name="csX178" fmla="*/ 121134 w 238132"/>
                <a:gd name="csY178" fmla="*/ 219356 h 238030"/>
                <a:gd name="csX179" fmla="*/ 120226 w 238132"/>
                <a:gd name="csY179" fmla="*/ 217167 h 238030"/>
                <a:gd name="csX180" fmla="*/ 123298 w 238132"/>
                <a:gd name="csY180" fmla="*/ 214077 h 238030"/>
                <a:gd name="csX181" fmla="*/ 125490 w 238132"/>
                <a:gd name="csY181" fmla="*/ 214984 h 238030"/>
                <a:gd name="csX182" fmla="*/ 123312 w 238132"/>
                <a:gd name="csY182" fmla="*/ 207741 h 238030"/>
                <a:gd name="csX183" fmla="*/ 129975 w 238132"/>
                <a:gd name="csY183" fmla="*/ 223829 h 238030"/>
                <a:gd name="csX184" fmla="*/ 113886 w 238132"/>
                <a:gd name="csY184" fmla="*/ 217167 h 238030"/>
                <a:gd name="csX185" fmla="*/ 123312 w 238132"/>
                <a:gd name="csY185" fmla="*/ 207741 h 23803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Lst>
              <a:rect l="l" t="t" r="r" b="b"/>
              <a:pathLst>
                <a:path w="238132" h="238030">
                  <a:moveTo>
                    <a:pt x="102908" y="22857"/>
                  </a:moveTo>
                  <a:cubicBezTo>
                    <a:pt x="80816" y="776"/>
                    <a:pt x="45008" y="785"/>
                    <a:pt x="22927" y="22876"/>
                  </a:cubicBezTo>
                  <a:cubicBezTo>
                    <a:pt x="847" y="44968"/>
                    <a:pt x="856" y="80776"/>
                    <a:pt x="22947" y="102857"/>
                  </a:cubicBezTo>
                  <a:cubicBezTo>
                    <a:pt x="45031" y="124930"/>
                    <a:pt x="80824" y="124930"/>
                    <a:pt x="102908" y="102857"/>
                  </a:cubicBezTo>
                  <a:cubicBezTo>
                    <a:pt x="124999" y="80776"/>
                    <a:pt x="125008" y="44968"/>
                    <a:pt x="102927" y="22876"/>
                  </a:cubicBezTo>
                  <a:cubicBezTo>
                    <a:pt x="102921" y="22870"/>
                    <a:pt x="102914" y="22863"/>
                    <a:pt x="102908" y="22857"/>
                  </a:cubicBezTo>
                  <a:close/>
                  <a:moveTo>
                    <a:pt x="59748" y="16154"/>
                  </a:moveTo>
                  <a:cubicBezTo>
                    <a:pt x="59678" y="14405"/>
                    <a:pt x="61040" y="12931"/>
                    <a:pt x="62790" y="12862"/>
                  </a:cubicBezTo>
                  <a:cubicBezTo>
                    <a:pt x="64539" y="12792"/>
                    <a:pt x="66013" y="14154"/>
                    <a:pt x="66083" y="15904"/>
                  </a:cubicBezTo>
                  <a:cubicBezTo>
                    <a:pt x="66086" y="15987"/>
                    <a:pt x="66086" y="16071"/>
                    <a:pt x="66083" y="16154"/>
                  </a:cubicBezTo>
                  <a:lnTo>
                    <a:pt x="66083" y="18789"/>
                  </a:lnTo>
                  <a:cubicBezTo>
                    <a:pt x="66152" y="20538"/>
                    <a:pt x="64790" y="22012"/>
                    <a:pt x="63041" y="22082"/>
                  </a:cubicBezTo>
                  <a:cubicBezTo>
                    <a:pt x="61291" y="22151"/>
                    <a:pt x="59817" y="20789"/>
                    <a:pt x="59748" y="19039"/>
                  </a:cubicBezTo>
                  <a:cubicBezTo>
                    <a:pt x="59744" y="18956"/>
                    <a:pt x="59744" y="18872"/>
                    <a:pt x="59748" y="18789"/>
                  </a:cubicBezTo>
                  <a:close/>
                  <a:moveTo>
                    <a:pt x="27645" y="32074"/>
                  </a:moveTo>
                  <a:cubicBezTo>
                    <a:pt x="26301" y="30953"/>
                    <a:pt x="26120" y="28954"/>
                    <a:pt x="27241" y="27609"/>
                  </a:cubicBezTo>
                  <a:cubicBezTo>
                    <a:pt x="28362" y="26265"/>
                    <a:pt x="30361" y="26084"/>
                    <a:pt x="31706" y="27205"/>
                  </a:cubicBezTo>
                  <a:cubicBezTo>
                    <a:pt x="31853" y="27327"/>
                    <a:pt x="31988" y="27463"/>
                    <a:pt x="32110" y="27609"/>
                  </a:cubicBezTo>
                  <a:lnTo>
                    <a:pt x="33985" y="29484"/>
                  </a:lnTo>
                  <a:cubicBezTo>
                    <a:pt x="35107" y="30829"/>
                    <a:pt x="34926" y="32828"/>
                    <a:pt x="33581" y="33949"/>
                  </a:cubicBezTo>
                  <a:cubicBezTo>
                    <a:pt x="32405" y="34930"/>
                    <a:pt x="30696" y="34930"/>
                    <a:pt x="29521" y="33949"/>
                  </a:cubicBezTo>
                  <a:close/>
                  <a:moveTo>
                    <a:pt x="16205" y="66027"/>
                  </a:moveTo>
                  <a:cubicBezTo>
                    <a:pt x="14455" y="66027"/>
                    <a:pt x="13035" y="64607"/>
                    <a:pt x="13035" y="62857"/>
                  </a:cubicBezTo>
                  <a:cubicBezTo>
                    <a:pt x="13035" y="61106"/>
                    <a:pt x="14455" y="59687"/>
                    <a:pt x="16205" y="59687"/>
                  </a:cubicBezTo>
                  <a:lnTo>
                    <a:pt x="18860" y="59687"/>
                  </a:lnTo>
                  <a:cubicBezTo>
                    <a:pt x="20610" y="59687"/>
                    <a:pt x="22030" y="61106"/>
                    <a:pt x="22030" y="62857"/>
                  </a:cubicBezTo>
                  <a:cubicBezTo>
                    <a:pt x="22030" y="64607"/>
                    <a:pt x="20610" y="66027"/>
                    <a:pt x="18860" y="66027"/>
                  </a:cubicBezTo>
                  <a:close/>
                  <a:moveTo>
                    <a:pt x="32125" y="98119"/>
                  </a:moveTo>
                  <a:cubicBezTo>
                    <a:pt x="30781" y="99240"/>
                    <a:pt x="28782" y="99059"/>
                    <a:pt x="27660" y="97715"/>
                  </a:cubicBezTo>
                  <a:cubicBezTo>
                    <a:pt x="26680" y="96539"/>
                    <a:pt x="26680" y="94830"/>
                    <a:pt x="27660" y="93654"/>
                  </a:cubicBezTo>
                  <a:lnTo>
                    <a:pt x="29535" y="91779"/>
                  </a:lnTo>
                  <a:cubicBezTo>
                    <a:pt x="30880" y="90658"/>
                    <a:pt x="32879" y="90839"/>
                    <a:pt x="34000" y="92183"/>
                  </a:cubicBezTo>
                  <a:cubicBezTo>
                    <a:pt x="34981" y="93359"/>
                    <a:pt x="34981" y="95068"/>
                    <a:pt x="34000" y="96244"/>
                  </a:cubicBezTo>
                  <a:close/>
                  <a:moveTo>
                    <a:pt x="66078" y="109574"/>
                  </a:moveTo>
                  <a:cubicBezTo>
                    <a:pt x="66147" y="111323"/>
                    <a:pt x="64785" y="112798"/>
                    <a:pt x="63036" y="112867"/>
                  </a:cubicBezTo>
                  <a:cubicBezTo>
                    <a:pt x="61286" y="112936"/>
                    <a:pt x="59812" y="111574"/>
                    <a:pt x="59743" y="109825"/>
                  </a:cubicBezTo>
                  <a:cubicBezTo>
                    <a:pt x="59739" y="109741"/>
                    <a:pt x="59739" y="109657"/>
                    <a:pt x="59743" y="109574"/>
                  </a:cubicBezTo>
                  <a:lnTo>
                    <a:pt x="59743" y="106925"/>
                  </a:lnTo>
                  <a:cubicBezTo>
                    <a:pt x="59673" y="105175"/>
                    <a:pt x="61035" y="103701"/>
                    <a:pt x="62785" y="103632"/>
                  </a:cubicBezTo>
                  <a:cubicBezTo>
                    <a:pt x="64534" y="103563"/>
                    <a:pt x="66008" y="104925"/>
                    <a:pt x="66078" y="106674"/>
                  </a:cubicBezTo>
                  <a:cubicBezTo>
                    <a:pt x="66081" y="106758"/>
                    <a:pt x="66081" y="106841"/>
                    <a:pt x="66078" y="106925"/>
                  </a:cubicBezTo>
                  <a:close/>
                  <a:moveTo>
                    <a:pt x="98175" y="93654"/>
                  </a:moveTo>
                  <a:cubicBezTo>
                    <a:pt x="99296" y="94999"/>
                    <a:pt x="99115" y="96998"/>
                    <a:pt x="97771" y="98119"/>
                  </a:cubicBezTo>
                  <a:cubicBezTo>
                    <a:pt x="96595" y="99100"/>
                    <a:pt x="94886" y="99100"/>
                    <a:pt x="93710" y="98119"/>
                  </a:cubicBezTo>
                  <a:lnTo>
                    <a:pt x="91835" y="96244"/>
                  </a:lnTo>
                  <a:cubicBezTo>
                    <a:pt x="90714" y="94899"/>
                    <a:pt x="90895" y="92900"/>
                    <a:pt x="92239" y="91779"/>
                  </a:cubicBezTo>
                  <a:cubicBezTo>
                    <a:pt x="93415" y="90798"/>
                    <a:pt x="95124" y="90798"/>
                    <a:pt x="96300" y="91779"/>
                  </a:cubicBezTo>
                  <a:close/>
                  <a:moveTo>
                    <a:pt x="93710" y="27604"/>
                  </a:moveTo>
                  <a:cubicBezTo>
                    <a:pt x="94831" y="26260"/>
                    <a:pt x="96830" y="26079"/>
                    <a:pt x="98175" y="27200"/>
                  </a:cubicBezTo>
                  <a:cubicBezTo>
                    <a:pt x="99520" y="28321"/>
                    <a:pt x="99701" y="30320"/>
                    <a:pt x="98579" y="31665"/>
                  </a:cubicBezTo>
                  <a:cubicBezTo>
                    <a:pt x="98457" y="31811"/>
                    <a:pt x="98322" y="31947"/>
                    <a:pt x="98175" y="32069"/>
                  </a:cubicBezTo>
                  <a:lnTo>
                    <a:pt x="96300" y="33944"/>
                  </a:lnTo>
                  <a:cubicBezTo>
                    <a:pt x="95178" y="35289"/>
                    <a:pt x="93180" y="35470"/>
                    <a:pt x="91835" y="34349"/>
                  </a:cubicBezTo>
                  <a:cubicBezTo>
                    <a:pt x="90490" y="33227"/>
                    <a:pt x="90309" y="31228"/>
                    <a:pt x="91431" y="29884"/>
                  </a:cubicBezTo>
                  <a:cubicBezTo>
                    <a:pt x="91553" y="29737"/>
                    <a:pt x="91688" y="29602"/>
                    <a:pt x="91835" y="29480"/>
                  </a:cubicBezTo>
                  <a:close/>
                  <a:moveTo>
                    <a:pt x="59758" y="32069"/>
                  </a:moveTo>
                  <a:cubicBezTo>
                    <a:pt x="59688" y="30320"/>
                    <a:pt x="61050" y="28845"/>
                    <a:pt x="62800" y="28776"/>
                  </a:cubicBezTo>
                  <a:cubicBezTo>
                    <a:pt x="64549" y="28707"/>
                    <a:pt x="66023" y="30069"/>
                    <a:pt x="66093" y="31818"/>
                  </a:cubicBezTo>
                  <a:cubicBezTo>
                    <a:pt x="66096" y="31902"/>
                    <a:pt x="66096" y="31986"/>
                    <a:pt x="66093" y="32069"/>
                  </a:cubicBezTo>
                  <a:lnTo>
                    <a:pt x="66093" y="61537"/>
                  </a:lnTo>
                  <a:lnTo>
                    <a:pt x="89841" y="85285"/>
                  </a:lnTo>
                  <a:cubicBezTo>
                    <a:pt x="90962" y="86630"/>
                    <a:pt x="90781" y="88629"/>
                    <a:pt x="89436" y="89750"/>
                  </a:cubicBezTo>
                  <a:cubicBezTo>
                    <a:pt x="88260" y="90731"/>
                    <a:pt x="86552" y="90731"/>
                    <a:pt x="85376" y="89750"/>
                  </a:cubicBezTo>
                  <a:lnTo>
                    <a:pt x="60720" y="65094"/>
                  </a:lnTo>
                  <a:cubicBezTo>
                    <a:pt x="60113" y="64500"/>
                    <a:pt x="59772" y="63686"/>
                    <a:pt x="59772" y="62837"/>
                  </a:cubicBezTo>
                  <a:lnTo>
                    <a:pt x="59772" y="32074"/>
                  </a:lnTo>
                  <a:close/>
                  <a:moveTo>
                    <a:pt x="109630" y="59682"/>
                  </a:moveTo>
                  <a:cubicBezTo>
                    <a:pt x="111381" y="59682"/>
                    <a:pt x="112800" y="61101"/>
                    <a:pt x="112800" y="62852"/>
                  </a:cubicBezTo>
                  <a:cubicBezTo>
                    <a:pt x="112800" y="64603"/>
                    <a:pt x="111381" y="66022"/>
                    <a:pt x="109630" y="66022"/>
                  </a:cubicBezTo>
                  <a:lnTo>
                    <a:pt x="106976" y="66022"/>
                  </a:lnTo>
                  <a:cubicBezTo>
                    <a:pt x="105225" y="66022"/>
                    <a:pt x="103806" y="64603"/>
                    <a:pt x="103806" y="62852"/>
                  </a:cubicBezTo>
                  <a:cubicBezTo>
                    <a:pt x="103806" y="61101"/>
                    <a:pt x="105225" y="59682"/>
                    <a:pt x="106976" y="59682"/>
                  </a:cubicBezTo>
                  <a:close/>
                  <a:moveTo>
                    <a:pt x="77384" y="124090"/>
                  </a:moveTo>
                  <a:cubicBezTo>
                    <a:pt x="93320" y="120323"/>
                    <a:pt x="107162" y="110497"/>
                    <a:pt x="115975" y="96695"/>
                  </a:cubicBezTo>
                  <a:lnTo>
                    <a:pt x="116248" y="96968"/>
                  </a:lnTo>
                  <a:lnTo>
                    <a:pt x="127187" y="107907"/>
                  </a:lnTo>
                  <a:cubicBezTo>
                    <a:pt x="128422" y="109133"/>
                    <a:pt x="130416" y="109133"/>
                    <a:pt x="131651" y="107907"/>
                  </a:cubicBezTo>
                  <a:lnTo>
                    <a:pt x="175769" y="63789"/>
                  </a:lnTo>
                  <a:cubicBezTo>
                    <a:pt x="176995" y="62554"/>
                    <a:pt x="176995" y="60560"/>
                    <a:pt x="175769" y="59325"/>
                  </a:cubicBezTo>
                  <a:lnTo>
                    <a:pt x="166874" y="50435"/>
                  </a:lnTo>
                  <a:cubicBezTo>
                    <a:pt x="165951" y="49521"/>
                    <a:pt x="165942" y="48032"/>
                    <a:pt x="166856" y="47109"/>
                  </a:cubicBezTo>
                  <a:cubicBezTo>
                    <a:pt x="167302" y="46658"/>
                    <a:pt x="167911" y="46406"/>
                    <a:pt x="168546" y="46411"/>
                  </a:cubicBezTo>
                  <a:lnTo>
                    <a:pt x="202280" y="46550"/>
                  </a:lnTo>
                  <a:cubicBezTo>
                    <a:pt x="203567" y="46577"/>
                    <a:pt x="204603" y="47615"/>
                    <a:pt x="204627" y="48902"/>
                  </a:cubicBezTo>
                  <a:lnTo>
                    <a:pt x="204771" y="82636"/>
                  </a:lnTo>
                  <a:cubicBezTo>
                    <a:pt x="204782" y="83255"/>
                    <a:pt x="204542" y="83853"/>
                    <a:pt x="204106" y="84293"/>
                  </a:cubicBezTo>
                  <a:cubicBezTo>
                    <a:pt x="203232" y="85198"/>
                    <a:pt x="201802" y="85257"/>
                    <a:pt x="200857" y="84427"/>
                  </a:cubicBezTo>
                  <a:lnTo>
                    <a:pt x="191847" y="75413"/>
                  </a:lnTo>
                  <a:cubicBezTo>
                    <a:pt x="190610" y="74190"/>
                    <a:pt x="188620" y="74190"/>
                    <a:pt x="187383" y="75413"/>
                  </a:cubicBezTo>
                  <a:lnTo>
                    <a:pt x="135293" y="127503"/>
                  </a:lnTo>
                  <a:cubicBezTo>
                    <a:pt x="133736" y="129063"/>
                    <a:pt x="131623" y="129940"/>
                    <a:pt x="129419" y="129939"/>
                  </a:cubicBezTo>
                  <a:cubicBezTo>
                    <a:pt x="127214" y="129947"/>
                    <a:pt x="125096" y="129075"/>
                    <a:pt x="123535" y="127518"/>
                  </a:cubicBezTo>
                  <a:lnTo>
                    <a:pt x="112596" y="116579"/>
                  </a:lnTo>
                  <a:cubicBezTo>
                    <a:pt x="111363" y="115347"/>
                    <a:pt x="109365" y="115347"/>
                    <a:pt x="108132" y="116579"/>
                  </a:cubicBezTo>
                  <a:lnTo>
                    <a:pt x="77101" y="147575"/>
                  </a:lnTo>
                  <a:cubicBezTo>
                    <a:pt x="69957" y="154718"/>
                    <a:pt x="58363" y="143080"/>
                    <a:pt x="65492" y="135956"/>
                  </a:cubicBezTo>
                  <a:lnTo>
                    <a:pt x="77359" y="124095"/>
                  </a:lnTo>
                  <a:close/>
                  <a:moveTo>
                    <a:pt x="64912" y="125727"/>
                  </a:moveTo>
                  <a:cubicBezTo>
                    <a:pt x="53862" y="132805"/>
                    <a:pt x="44180" y="141820"/>
                    <a:pt x="36332" y="152337"/>
                  </a:cubicBezTo>
                  <a:cubicBezTo>
                    <a:pt x="42604" y="147561"/>
                    <a:pt x="49514" y="143687"/>
                    <a:pt x="56860" y="140828"/>
                  </a:cubicBezTo>
                  <a:cubicBezTo>
                    <a:pt x="56895" y="137633"/>
                    <a:pt x="58130" y="134379"/>
                    <a:pt x="61003" y="131501"/>
                  </a:cubicBezTo>
                  <a:lnTo>
                    <a:pt x="66842" y="125662"/>
                  </a:lnTo>
                  <a:cubicBezTo>
                    <a:pt x="66187" y="125702"/>
                    <a:pt x="65537" y="125732"/>
                    <a:pt x="64857" y="125756"/>
                  </a:cubicBezTo>
                  <a:close/>
                  <a:moveTo>
                    <a:pt x="220115" y="168053"/>
                  </a:moveTo>
                  <a:lnTo>
                    <a:pt x="169245" y="197407"/>
                  </a:lnTo>
                  <a:cubicBezTo>
                    <a:pt x="170722" y="202831"/>
                    <a:pt x="171653" y="208388"/>
                    <a:pt x="172024" y="213997"/>
                  </a:cubicBezTo>
                  <a:lnTo>
                    <a:pt x="231753" y="213997"/>
                  </a:lnTo>
                  <a:cubicBezTo>
                    <a:pt x="231312" y="198008"/>
                    <a:pt x="227325" y="182318"/>
                    <a:pt x="220080" y="168058"/>
                  </a:cubicBezTo>
                  <a:close/>
                  <a:moveTo>
                    <a:pt x="137366" y="213396"/>
                  </a:moveTo>
                  <a:cubicBezTo>
                    <a:pt x="135284" y="205635"/>
                    <a:pt x="127305" y="201030"/>
                    <a:pt x="119543" y="203112"/>
                  </a:cubicBezTo>
                  <a:cubicBezTo>
                    <a:pt x="111782" y="205194"/>
                    <a:pt x="107177" y="213174"/>
                    <a:pt x="109259" y="220936"/>
                  </a:cubicBezTo>
                  <a:cubicBezTo>
                    <a:pt x="111341" y="228695"/>
                    <a:pt x="119317" y="233300"/>
                    <a:pt x="127077" y="231221"/>
                  </a:cubicBezTo>
                  <a:cubicBezTo>
                    <a:pt x="134838" y="229145"/>
                    <a:pt x="139446" y="221171"/>
                    <a:pt x="137370" y="213411"/>
                  </a:cubicBezTo>
                  <a:cubicBezTo>
                    <a:pt x="137369" y="213406"/>
                    <a:pt x="137368" y="213401"/>
                    <a:pt x="137366" y="213396"/>
                  </a:cubicBezTo>
                  <a:close/>
                  <a:moveTo>
                    <a:pt x="140194" y="204873"/>
                  </a:moveTo>
                  <a:lnTo>
                    <a:pt x="155652" y="178084"/>
                  </a:lnTo>
                  <a:cubicBezTo>
                    <a:pt x="155707" y="177980"/>
                    <a:pt x="155762" y="177881"/>
                    <a:pt x="155826" y="177782"/>
                  </a:cubicBezTo>
                  <a:lnTo>
                    <a:pt x="172455" y="148979"/>
                  </a:lnTo>
                  <a:cubicBezTo>
                    <a:pt x="172485" y="148919"/>
                    <a:pt x="172520" y="148864"/>
                    <a:pt x="172554" y="148805"/>
                  </a:cubicBezTo>
                  <a:cubicBezTo>
                    <a:pt x="174926" y="144773"/>
                    <a:pt x="173580" y="139583"/>
                    <a:pt x="169548" y="137211"/>
                  </a:cubicBezTo>
                  <a:cubicBezTo>
                    <a:pt x="165516" y="134840"/>
                    <a:pt x="160326" y="136186"/>
                    <a:pt x="157954" y="140218"/>
                  </a:cubicBezTo>
                  <a:cubicBezTo>
                    <a:pt x="157895" y="140334"/>
                    <a:pt x="157829" y="140446"/>
                    <a:pt x="157756" y="140555"/>
                  </a:cubicBezTo>
                  <a:lnTo>
                    <a:pt x="125520" y="196390"/>
                  </a:lnTo>
                  <a:cubicBezTo>
                    <a:pt x="131387" y="197020"/>
                    <a:pt x="136715" y="200097"/>
                    <a:pt x="140194" y="204864"/>
                  </a:cubicBezTo>
                  <a:close/>
                  <a:moveTo>
                    <a:pt x="142064" y="154952"/>
                  </a:moveTo>
                  <a:cubicBezTo>
                    <a:pt x="129547" y="144371"/>
                    <a:pt x="114211" y="137679"/>
                    <a:pt x="97942" y="135698"/>
                  </a:cubicBezTo>
                  <a:lnTo>
                    <a:pt x="110344" y="123296"/>
                  </a:lnTo>
                  <a:lnTo>
                    <a:pt x="119046" y="131992"/>
                  </a:lnTo>
                  <a:cubicBezTo>
                    <a:pt x="121789" y="134739"/>
                    <a:pt x="125513" y="136279"/>
                    <a:pt x="129394" y="136274"/>
                  </a:cubicBezTo>
                  <a:cubicBezTo>
                    <a:pt x="133276" y="136287"/>
                    <a:pt x="137003" y="134752"/>
                    <a:pt x="139748" y="132007"/>
                  </a:cubicBezTo>
                  <a:lnTo>
                    <a:pt x="157557" y="114197"/>
                  </a:lnTo>
                  <a:cubicBezTo>
                    <a:pt x="182600" y="122551"/>
                    <a:pt x="203749" y="139729"/>
                    <a:pt x="217059" y="162527"/>
                  </a:cubicBezTo>
                  <a:lnTo>
                    <a:pt x="167306" y="191236"/>
                  </a:lnTo>
                  <a:cubicBezTo>
                    <a:pt x="165869" y="187215"/>
                    <a:pt x="164128" y="183309"/>
                    <a:pt x="162097" y="179553"/>
                  </a:cubicBezTo>
                  <a:lnTo>
                    <a:pt x="177922" y="152144"/>
                  </a:lnTo>
                  <a:lnTo>
                    <a:pt x="177977" y="152059"/>
                  </a:lnTo>
                  <a:cubicBezTo>
                    <a:pt x="182038" y="145066"/>
                    <a:pt x="179734" y="136108"/>
                    <a:pt x="172802" y="131943"/>
                  </a:cubicBezTo>
                  <a:lnTo>
                    <a:pt x="172768" y="131918"/>
                  </a:lnTo>
                  <a:cubicBezTo>
                    <a:pt x="165761" y="127764"/>
                    <a:pt x="156716" y="130042"/>
                    <a:pt x="152512" y="137018"/>
                  </a:cubicBezTo>
                  <a:lnTo>
                    <a:pt x="152512" y="137053"/>
                  </a:lnTo>
                  <a:cubicBezTo>
                    <a:pt x="149020" y="143006"/>
                    <a:pt x="145547" y="148974"/>
                    <a:pt x="142094" y="154957"/>
                  </a:cubicBezTo>
                  <a:close/>
                  <a:moveTo>
                    <a:pt x="117870" y="197005"/>
                  </a:moveTo>
                  <a:cubicBezTo>
                    <a:pt x="124875" y="184861"/>
                    <a:pt x="131871" y="172695"/>
                    <a:pt x="138860" y="160508"/>
                  </a:cubicBezTo>
                  <a:cubicBezTo>
                    <a:pt x="125811" y="149184"/>
                    <a:pt x="109377" y="142504"/>
                    <a:pt x="92128" y="141512"/>
                  </a:cubicBezTo>
                  <a:lnTo>
                    <a:pt x="81581" y="152059"/>
                  </a:lnTo>
                  <a:cubicBezTo>
                    <a:pt x="73643" y="159997"/>
                    <a:pt x="62283" y="155477"/>
                    <a:pt x="58264" y="147044"/>
                  </a:cubicBezTo>
                  <a:cubicBezTo>
                    <a:pt x="44116" y="152761"/>
                    <a:pt x="31939" y="162477"/>
                    <a:pt x="23225" y="175004"/>
                  </a:cubicBezTo>
                  <a:cubicBezTo>
                    <a:pt x="21057" y="178114"/>
                    <a:pt x="16096" y="175420"/>
                    <a:pt x="17768" y="171779"/>
                  </a:cubicBezTo>
                  <a:cubicBezTo>
                    <a:pt x="25737" y="153313"/>
                    <a:pt x="38402" y="137257"/>
                    <a:pt x="54504" y="125206"/>
                  </a:cubicBezTo>
                  <a:cubicBezTo>
                    <a:pt x="20086" y="120576"/>
                    <a:pt x="-4061" y="88921"/>
                    <a:pt x="569" y="54504"/>
                  </a:cubicBezTo>
                  <a:cubicBezTo>
                    <a:pt x="5199" y="20086"/>
                    <a:pt x="36853" y="-4061"/>
                    <a:pt x="71271" y="569"/>
                  </a:cubicBezTo>
                  <a:cubicBezTo>
                    <a:pt x="105688" y="5199"/>
                    <a:pt x="129836" y="36853"/>
                    <a:pt x="125206" y="71271"/>
                  </a:cubicBezTo>
                  <a:cubicBezTo>
                    <a:pt x="124275" y="78187"/>
                    <a:pt x="122200" y="84899"/>
                    <a:pt x="119066" y="91134"/>
                  </a:cubicBezTo>
                  <a:lnTo>
                    <a:pt x="120648" y="92488"/>
                  </a:lnTo>
                  <a:lnTo>
                    <a:pt x="129389" y="101190"/>
                  </a:lnTo>
                  <a:lnTo>
                    <a:pt x="169027" y="61557"/>
                  </a:lnTo>
                  <a:lnTo>
                    <a:pt x="162375" y="54904"/>
                  </a:lnTo>
                  <a:cubicBezTo>
                    <a:pt x="156917" y="49447"/>
                    <a:pt x="160747" y="40056"/>
                    <a:pt x="168551" y="40086"/>
                  </a:cubicBezTo>
                  <a:lnTo>
                    <a:pt x="202285" y="40230"/>
                  </a:lnTo>
                  <a:cubicBezTo>
                    <a:pt x="207052" y="40238"/>
                    <a:pt x="210914" y="44100"/>
                    <a:pt x="210922" y="48867"/>
                  </a:cubicBezTo>
                  <a:lnTo>
                    <a:pt x="211061" y="82601"/>
                  </a:lnTo>
                  <a:cubicBezTo>
                    <a:pt x="211104" y="84906"/>
                    <a:pt x="210209" y="87130"/>
                    <a:pt x="208581" y="88763"/>
                  </a:cubicBezTo>
                  <a:cubicBezTo>
                    <a:pt x="205185" y="92163"/>
                    <a:pt x="199675" y="92166"/>
                    <a:pt x="196275" y="88770"/>
                  </a:cubicBezTo>
                  <a:cubicBezTo>
                    <a:pt x="196272" y="88768"/>
                    <a:pt x="196270" y="88765"/>
                    <a:pt x="196268" y="88763"/>
                  </a:cubicBezTo>
                  <a:lnTo>
                    <a:pt x="189615" y="82110"/>
                  </a:lnTo>
                  <a:lnTo>
                    <a:pt x="162533" y="109192"/>
                  </a:lnTo>
                  <a:cubicBezTo>
                    <a:pt x="207926" y="125712"/>
                    <a:pt x="238138" y="168861"/>
                    <a:pt x="238133" y="217167"/>
                  </a:cubicBezTo>
                  <a:cubicBezTo>
                    <a:pt x="238130" y="218916"/>
                    <a:pt x="236712" y="220332"/>
                    <a:pt x="234963" y="220332"/>
                  </a:cubicBezTo>
                  <a:lnTo>
                    <a:pt x="169017" y="220332"/>
                  </a:lnTo>
                  <a:cubicBezTo>
                    <a:pt x="167272" y="220337"/>
                    <a:pt x="165853" y="218927"/>
                    <a:pt x="165847" y="217181"/>
                  </a:cubicBezTo>
                  <a:cubicBezTo>
                    <a:pt x="165847" y="217120"/>
                    <a:pt x="165849" y="217059"/>
                    <a:pt x="165852" y="216998"/>
                  </a:cubicBezTo>
                  <a:cubicBezTo>
                    <a:pt x="165496" y="206285"/>
                    <a:pt x="162934" y="195760"/>
                    <a:pt x="158326" y="186081"/>
                  </a:cubicBezTo>
                  <a:lnTo>
                    <a:pt x="143488" y="211769"/>
                  </a:lnTo>
                  <a:cubicBezTo>
                    <a:pt x="146457" y="222913"/>
                    <a:pt x="139830" y="234353"/>
                    <a:pt x="128687" y="237321"/>
                  </a:cubicBezTo>
                  <a:cubicBezTo>
                    <a:pt x="117544" y="240290"/>
                    <a:pt x="106103" y="233664"/>
                    <a:pt x="103135" y="222520"/>
                  </a:cubicBezTo>
                  <a:cubicBezTo>
                    <a:pt x="100173" y="211403"/>
                    <a:pt x="106762" y="199984"/>
                    <a:pt x="117870" y="196986"/>
                  </a:cubicBezTo>
                  <a:close/>
                  <a:moveTo>
                    <a:pt x="125490" y="214984"/>
                  </a:moveTo>
                  <a:cubicBezTo>
                    <a:pt x="126697" y="216187"/>
                    <a:pt x="126701" y="218140"/>
                    <a:pt x="125498" y="219348"/>
                  </a:cubicBezTo>
                  <a:cubicBezTo>
                    <a:pt x="124295" y="220555"/>
                    <a:pt x="122342" y="220559"/>
                    <a:pt x="121134" y="219356"/>
                  </a:cubicBezTo>
                  <a:cubicBezTo>
                    <a:pt x="120552" y="218776"/>
                    <a:pt x="120226" y="217988"/>
                    <a:pt x="120226" y="217167"/>
                  </a:cubicBezTo>
                  <a:cubicBezTo>
                    <a:pt x="120222" y="215465"/>
                    <a:pt x="121597" y="214082"/>
                    <a:pt x="123298" y="214077"/>
                  </a:cubicBezTo>
                  <a:cubicBezTo>
                    <a:pt x="124121" y="214075"/>
                    <a:pt x="124910" y="214401"/>
                    <a:pt x="125490" y="214984"/>
                  </a:cubicBezTo>
                  <a:close/>
                  <a:moveTo>
                    <a:pt x="123312" y="207741"/>
                  </a:moveTo>
                  <a:cubicBezTo>
                    <a:pt x="131676" y="207741"/>
                    <a:pt x="135893" y="217906"/>
                    <a:pt x="129975" y="223829"/>
                  </a:cubicBezTo>
                  <a:cubicBezTo>
                    <a:pt x="124056" y="229753"/>
                    <a:pt x="113886" y="225531"/>
                    <a:pt x="113886" y="217167"/>
                  </a:cubicBezTo>
                  <a:cubicBezTo>
                    <a:pt x="113886" y="211961"/>
                    <a:pt x="118106" y="207741"/>
                    <a:pt x="123312" y="207741"/>
                  </a:cubicBezTo>
                  <a:close/>
                </a:path>
              </a:pathLst>
            </a:custGeom>
            <a:solidFill>
              <a:schemeClr val="bg1"/>
            </a:solid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162" name="Group 161">
            <a:extLst>
              <a:ext uri="{FF2B5EF4-FFF2-40B4-BE49-F238E27FC236}">
                <a16:creationId xmlns:a16="http://schemas.microsoft.com/office/drawing/2014/main" id="{302E03AD-3D3C-B841-AC3A-CC7A4E6FC0F3}"/>
              </a:ext>
            </a:extLst>
          </p:cNvPr>
          <p:cNvGrpSpPr/>
          <p:nvPr/>
        </p:nvGrpSpPr>
        <p:grpSpPr>
          <a:xfrm>
            <a:off x="7936609" y="3762940"/>
            <a:ext cx="457200" cy="457200"/>
            <a:chOff x="7936609" y="4213236"/>
            <a:chExt cx="457200" cy="457200"/>
          </a:xfrm>
        </p:grpSpPr>
        <p:sp>
          <p:nvSpPr>
            <p:cNvPr id="163" name="Oval 162">
              <a:extLst>
                <a:ext uri="{FF2B5EF4-FFF2-40B4-BE49-F238E27FC236}">
                  <a16:creationId xmlns:a16="http://schemas.microsoft.com/office/drawing/2014/main" id="{EBBBE9A8-8257-2090-C9B2-65E6912F2F11}"/>
                </a:ext>
              </a:extLst>
            </p:cNvPr>
            <p:cNvSpPr>
              <a:spLocks noChangeAspect="1"/>
            </p:cNvSpPr>
            <p:nvPr/>
          </p:nvSpPr>
          <p:spPr>
            <a:xfrm>
              <a:off x="7936609" y="4213236"/>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grpSp>
          <p:nvGrpSpPr>
            <p:cNvPr id="164" name="Group 163">
              <a:extLst>
                <a:ext uri="{FF2B5EF4-FFF2-40B4-BE49-F238E27FC236}">
                  <a16:creationId xmlns:a16="http://schemas.microsoft.com/office/drawing/2014/main" id="{F3CA751C-519A-2A5B-AA31-D71BD83A7634}"/>
                </a:ext>
              </a:extLst>
            </p:cNvPr>
            <p:cNvGrpSpPr>
              <a:grpSpLocks noChangeAspect="1"/>
            </p:cNvGrpSpPr>
            <p:nvPr/>
          </p:nvGrpSpPr>
          <p:grpSpPr>
            <a:xfrm>
              <a:off x="8050116" y="4326742"/>
              <a:ext cx="230187" cy="230187"/>
              <a:chOff x="2307431" y="1399381"/>
              <a:chExt cx="230187" cy="230187"/>
            </a:xfrm>
            <a:solidFill>
              <a:schemeClr val="bg1"/>
            </a:solidFill>
          </p:grpSpPr>
          <p:sp>
            <p:nvSpPr>
              <p:cNvPr id="165" name="Freeform: Shape 164">
                <a:extLst>
                  <a:ext uri="{FF2B5EF4-FFF2-40B4-BE49-F238E27FC236}">
                    <a16:creationId xmlns:a16="http://schemas.microsoft.com/office/drawing/2014/main" id="{5B2C98AF-FC7F-A14C-5F45-8E0BA0296E34}"/>
                  </a:ext>
                </a:extLst>
              </p:cNvPr>
              <p:cNvSpPr/>
              <p:nvPr/>
            </p:nvSpPr>
            <p:spPr>
              <a:xfrm>
                <a:off x="2339366" y="1497076"/>
                <a:ext cx="105375" cy="100724"/>
              </a:xfrm>
              <a:custGeom>
                <a:avLst/>
                <a:gdLst>
                  <a:gd name="csX0" fmla="*/ 103634 w 105375"/>
                  <a:gd name="csY0" fmla="*/ 76515 h 100724"/>
                  <a:gd name="csX1" fmla="*/ 71129 w 105375"/>
                  <a:gd name="csY1" fmla="*/ 54842 h 100724"/>
                  <a:gd name="csX2" fmla="*/ 65602 w 105375"/>
                  <a:gd name="csY2" fmla="*/ 56018 h 100724"/>
                  <a:gd name="csX3" fmla="*/ 64959 w 105375"/>
                  <a:gd name="csY3" fmla="*/ 58144 h 100724"/>
                  <a:gd name="csX4" fmla="*/ 64959 w 105375"/>
                  <a:gd name="csY4" fmla="*/ 63466 h 100724"/>
                  <a:gd name="csX5" fmla="*/ 8633 w 105375"/>
                  <a:gd name="csY5" fmla="*/ 3422 h 100724"/>
                  <a:gd name="csX6" fmla="*/ 4153 w 105375"/>
                  <a:gd name="csY6" fmla="*/ 38 h 100724"/>
                  <a:gd name="csX7" fmla="*/ 773 w 105375"/>
                  <a:gd name="csY7" fmla="*/ 3396 h 100724"/>
                  <a:gd name="csX8" fmla="*/ 64959 w 105375"/>
                  <a:gd name="csY8" fmla="*/ 93231 h 100724"/>
                  <a:gd name="csX9" fmla="*/ 64959 w 105375"/>
                  <a:gd name="csY9" fmla="*/ 96774 h 100724"/>
                  <a:gd name="csX10" fmla="*/ 69001 w 105375"/>
                  <a:gd name="csY10" fmla="*/ 100724 h 100724"/>
                  <a:gd name="csX11" fmla="*/ 70762 w 105375"/>
                  <a:gd name="csY11" fmla="*/ 100293 h 100724"/>
                  <a:gd name="csX12" fmla="*/ 103268 w 105375"/>
                  <a:gd name="csY12" fmla="*/ 83336 h 100724"/>
                  <a:gd name="csX13" fmla="*/ 104899 w 105375"/>
                  <a:gd name="csY13" fmla="*/ 77924 h 100724"/>
                  <a:gd name="csX14" fmla="*/ 103634 w 105375"/>
                  <a:gd name="csY14" fmla="*/ 76515 h 100724"/>
                  <a:gd name="csX15" fmla="*/ 72896 w 105375"/>
                  <a:gd name="csY15" fmla="*/ 90227 h 100724"/>
                  <a:gd name="csX16" fmla="*/ 69489 w 105375"/>
                  <a:gd name="csY16" fmla="*/ 85937 h 100724"/>
                  <a:gd name="csX17" fmla="*/ 9950 w 105375"/>
                  <a:gd name="csY17" fmla="*/ 31824 h 100724"/>
                  <a:gd name="csX18" fmla="*/ 68365 w 105375"/>
                  <a:gd name="csY18" fmla="*/ 72124 h 100724"/>
                  <a:gd name="csX19" fmla="*/ 72860 w 105375"/>
                  <a:gd name="csY19" fmla="*/ 68702 h 100724"/>
                  <a:gd name="csX20" fmla="*/ 72896 w 105375"/>
                  <a:gd name="csY20" fmla="*/ 68194 h 100724"/>
                  <a:gd name="csX21" fmla="*/ 72896 w 105375"/>
                  <a:gd name="csY21" fmla="*/ 65559 h 100724"/>
                  <a:gd name="csX22" fmla="*/ 93653 w 105375"/>
                  <a:gd name="csY22" fmla="*/ 79399 h 1007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105375" h="100724">
                    <a:moveTo>
                      <a:pt x="103634" y="76515"/>
                    </a:moveTo>
                    <a:lnTo>
                      <a:pt x="71129" y="54842"/>
                    </a:lnTo>
                    <a:cubicBezTo>
                      <a:pt x="69278" y="53641"/>
                      <a:pt x="66804" y="54167"/>
                      <a:pt x="65602" y="56018"/>
                    </a:cubicBezTo>
                    <a:cubicBezTo>
                      <a:pt x="65191" y="56651"/>
                      <a:pt x="64968" y="57389"/>
                      <a:pt x="64959" y="58144"/>
                    </a:cubicBezTo>
                    <a:lnTo>
                      <a:pt x="64959" y="63466"/>
                    </a:lnTo>
                    <a:cubicBezTo>
                      <a:pt x="35476" y="57197"/>
                      <a:pt x="13006" y="33245"/>
                      <a:pt x="8633" y="3422"/>
                    </a:cubicBezTo>
                    <a:cubicBezTo>
                      <a:pt x="8330" y="1251"/>
                      <a:pt x="6324" y="-264"/>
                      <a:pt x="4153" y="38"/>
                    </a:cubicBezTo>
                    <a:cubicBezTo>
                      <a:pt x="2405" y="282"/>
                      <a:pt x="1028" y="1650"/>
                      <a:pt x="773" y="3396"/>
                    </a:cubicBezTo>
                    <a:cubicBezTo>
                      <a:pt x="-5098" y="45638"/>
                      <a:pt x="23093" y="85095"/>
                      <a:pt x="64959" y="93231"/>
                    </a:cubicBezTo>
                    <a:lnTo>
                      <a:pt x="64959" y="96774"/>
                    </a:lnTo>
                    <a:cubicBezTo>
                      <a:pt x="64984" y="98981"/>
                      <a:pt x="66794" y="100750"/>
                      <a:pt x="69001" y="100724"/>
                    </a:cubicBezTo>
                    <a:cubicBezTo>
                      <a:pt x="69614" y="100717"/>
                      <a:pt x="70216" y="100570"/>
                      <a:pt x="70762" y="100293"/>
                    </a:cubicBezTo>
                    <a:lnTo>
                      <a:pt x="103268" y="83336"/>
                    </a:lnTo>
                    <a:cubicBezTo>
                      <a:pt x="105213" y="82292"/>
                      <a:pt x="105944" y="79869"/>
                      <a:pt x="104899" y="77924"/>
                    </a:cubicBezTo>
                    <a:cubicBezTo>
                      <a:pt x="104597" y="77360"/>
                      <a:pt x="104163" y="76877"/>
                      <a:pt x="103634" y="76515"/>
                    </a:cubicBezTo>
                    <a:close/>
                    <a:moveTo>
                      <a:pt x="72896" y="90227"/>
                    </a:moveTo>
                    <a:cubicBezTo>
                      <a:pt x="73067" y="88123"/>
                      <a:pt x="71577" y="86247"/>
                      <a:pt x="69489" y="85937"/>
                    </a:cubicBezTo>
                    <a:cubicBezTo>
                      <a:pt x="40502" y="81649"/>
                      <a:pt x="16980" y="60271"/>
                      <a:pt x="9950" y="31824"/>
                    </a:cubicBezTo>
                    <a:cubicBezTo>
                      <a:pt x="22063" y="53640"/>
                      <a:pt x="43670" y="68546"/>
                      <a:pt x="68365" y="72124"/>
                    </a:cubicBezTo>
                    <a:cubicBezTo>
                      <a:pt x="70551" y="72420"/>
                      <a:pt x="72564" y="70888"/>
                      <a:pt x="72860" y="68702"/>
                    </a:cubicBezTo>
                    <a:cubicBezTo>
                      <a:pt x="72883" y="68533"/>
                      <a:pt x="72895" y="68364"/>
                      <a:pt x="72896" y="68194"/>
                    </a:cubicBezTo>
                    <a:lnTo>
                      <a:pt x="72896" y="65559"/>
                    </a:lnTo>
                    <a:lnTo>
                      <a:pt x="93653" y="79399"/>
                    </a:ln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6" name="Freeform: Shape 165">
                <a:extLst>
                  <a:ext uri="{FF2B5EF4-FFF2-40B4-BE49-F238E27FC236}">
                    <a16:creationId xmlns:a16="http://schemas.microsoft.com/office/drawing/2014/main" id="{1383362B-D653-6B1E-EA8B-EC8C62F13003}"/>
                  </a:ext>
                </a:extLst>
              </p:cNvPr>
              <p:cNvSpPr/>
              <p:nvPr/>
            </p:nvSpPr>
            <p:spPr>
              <a:xfrm>
                <a:off x="2399978" y="1431149"/>
                <a:ext cx="105401" cy="100722"/>
              </a:xfrm>
              <a:custGeom>
                <a:avLst/>
                <a:gdLst>
                  <a:gd name="csX0" fmla="*/ 40444 w 105401"/>
                  <a:gd name="csY0" fmla="*/ 7491 h 100722"/>
                  <a:gd name="csX1" fmla="*/ 40444 w 105401"/>
                  <a:gd name="csY1" fmla="*/ 3951 h 100722"/>
                  <a:gd name="csX2" fmla="*/ 36400 w 105401"/>
                  <a:gd name="csY2" fmla="*/ 0 h 100722"/>
                  <a:gd name="csX3" fmla="*/ 34640 w 105401"/>
                  <a:gd name="csY3" fmla="*/ 432 h 100722"/>
                  <a:gd name="csX4" fmla="*/ 2134 w 105401"/>
                  <a:gd name="csY4" fmla="*/ 17388 h 100722"/>
                  <a:gd name="csX5" fmla="*/ 451 w 105401"/>
                  <a:gd name="csY5" fmla="*/ 22742 h 100722"/>
                  <a:gd name="csX6" fmla="*/ 1768 w 105401"/>
                  <a:gd name="csY6" fmla="*/ 24209 h 100722"/>
                  <a:gd name="csX7" fmla="*/ 34274 w 105401"/>
                  <a:gd name="csY7" fmla="*/ 45880 h 100722"/>
                  <a:gd name="csX8" fmla="*/ 39801 w 105401"/>
                  <a:gd name="csY8" fmla="*/ 44702 h 100722"/>
                  <a:gd name="csX9" fmla="*/ 40444 w 105401"/>
                  <a:gd name="csY9" fmla="*/ 42578 h 100722"/>
                  <a:gd name="csX10" fmla="*/ 40444 w 105401"/>
                  <a:gd name="csY10" fmla="*/ 37257 h 100722"/>
                  <a:gd name="csX11" fmla="*/ 96770 w 105401"/>
                  <a:gd name="csY11" fmla="*/ 97298 h 100722"/>
                  <a:gd name="csX12" fmla="*/ 101246 w 105401"/>
                  <a:gd name="csY12" fmla="*/ 100685 h 100722"/>
                  <a:gd name="csX13" fmla="*/ 104628 w 105401"/>
                  <a:gd name="csY13" fmla="*/ 97329 h 100722"/>
                  <a:gd name="csX14" fmla="*/ 40444 w 105401"/>
                  <a:gd name="csY14" fmla="*/ 7491 h 100722"/>
                  <a:gd name="csX15" fmla="*/ 37037 w 105401"/>
                  <a:gd name="csY15" fmla="*/ 28600 h 100722"/>
                  <a:gd name="csX16" fmla="*/ 32543 w 105401"/>
                  <a:gd name="csY16" fmla="*/ 32022 h 100722"/>
                  <a:gd name="csX17" fmla="*/ 32507 w 105401"/>
                  <a:gd name="csY17" fmla="*/ 32528 h 100722"/>
                  <a:gd name="csX18" fmla="*/ 32507 w 105401"/>
                  <a:gd name="csY18" fmla="*/ 35162 h 100722"/>
                  <a:gd name="csX19" fmla="*/ 11750 w 105401"/>
                  <a:gd name="csY19" fmla="*/ 21324 h 100722"/>
                  <a:gd name="csX20" fmla="*/ 32507 w 105401"/>
                  <a:gd name="csY20" fmla="*/ 10497 h 100722"/>
                  <a:gd name="csX21" fmla="*/ 35913 w 105401"/>
                  <a:gd name="csY21" fmla="*/ 14785 h 100722"/>
                  <a:gd name="csX22" fmla="*/ 95456 w 105401"/>
                  <a:gd name="csY22" fmla="*/ 68906 h 100722"/>
                  <a:gd name="csX23" fmla="*/ 37037 w 105401"/>
                  <a:gd name="csY23" fmla="*/ 28600 h 10072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Lst>
                <a:rect l="l" t="t" r="r" b="b"/>
                <a:pathLst>
                  <a:path w="105401" h="100722">
                    <a:moveTo>
                      <a:pt x="40444" y="7491"/>
                    </a:moveTo>
                    <a:lnTo>
                      <a:pt x="40444" y="3951"/>
                    </a:lnTo>
                    <a:cubicBezTo>
                      <a:pt x="40418" y="1743"/>
                      <a:pt x="38608" y="-26"/>
                      <a:pt x="36400" y="0"/>
                    </a:cubicBezTo>
                    <a:cubicBezTo>
                      <a:pt x="35788" y="7"/>
                      <a:pt x="35186" y="155"/>
                      <a:pt x="34640" y="432"/>
                    </a:cubicBezTo>
                    <a:lnTo>
                      <a:pt x="2134" y="17388"/>
                    </a:lnTo>
                    <a:cubicBezTo>
                      <a:pt x="191" y="18401"/>
                      <a:pt x="-563" y="20798"/>
                      <a:pt x="451" y="22742"/>
                    </a:cubicBezTo>
                    <a:cubicBezTo>
                      <a:pt x="759" y="23334"/>
                      <a:pt x="1213" y="23839"/>
                      <a:pt x="1768" y="24209"/>
                    </a:cubicBezTo>
                    <a:lnTo>
                      <a:pt x="34274" y="45880"/>
                    </a:lnTo>
                    <a:cubicBezTo>
                      <a:pt x="36125" y="47081"/>
                      <a:pt x="38600" y="46554"/>
                      <a:pt x="39801" y="44702"/>
                    </a:cubicBezTo>
                    <a:cubicBezTo>
                      <a:pt x="40212" y="44069"/>
                      <a:pt x="40435" y="43333"/>
                      <a:pt x="40444" y="42578"/>
                    </a:cubicBezTo>
                    <a:lnTo>
                      <a:pt x="40444" y="37257"/>
                    </a:lnTo>
                    <a:cubicBezTo>
                      <a:pt x="69926" y="43526"/>
                      <a:pt x="92394" y="67477"/>
                      <a:pt x="96770" y="97298"/>
                    </a:cubicBezTo>
                    <a:cubicBezTo>
                      <a:pt x="97071" y="99469"/>
                      <a:pt x="99074" y="100985"/>
                      <a:pt x="101246" y="100685"/>
                    </a:cubicBezTo>
                    <a:cubicBezTo>
                      <a:pt x="102994" y="100443"/>
                      <a:pt x="104372" y="99075"/>
                      <a:pt x="104628" y="97329"/>
                    </a:cubicBezTo>
                    <a:cubicBezTo>
                      <a:pt x="110503" y="55085"/>
                      <a:pt x="82311" y="15625"/>
                      <a:pt x="40444" y="7491"/>
                    </a:cubicBezTo>
                    <a:close/>
                    <a:moveTo>
                      <a:pt x="37037" y="28600"/>
                    </a:moveTo>
                    <a:cubicBezTo>
                      <a:pt x="34851" y="28304"/>
                      <a:pt x="32839" y="29836"/>
                      <a:pt x="32543" y="32022"/>
                    </a:cubicBezTo>
                    <a:cubicBezTo>
                      <a:pt x="32520" y="32190"/>
                      <a:pt x="32508" y="32359"/>
                      <a:pt x="32507" y="32528"/>
                    </a:cubicBezTo>
                    <a:lnTo>
                      <a:pt x="32507" y="35162"/>
                    </a:lnTo>
                    <a:lnTo>
                      <a:pt x="11750" y="21324"/>
                    </a:lnTo>
                    <a:lnTo>
                      <a:pt x="32507" y="10497"/>
                    </a:lnTo>
                    <a:cubicBezTo>
                      <a:pt x="32336" y="12600"/>
                      <a:pt x="33826" y="14476"/>
                      <a:pt x="35913" y="14785"/>
                    </a:cubicBezTo>
                    <a:cubicBezTo>
                      <a:pt x="64902" y="19078"/>
                      <a:pt x="88424" y="40458"/>
                      <a:pt x="95456" y="68906"/>
                    </a:cubicBezTo>
                    <a:cubicBezTo>
                      <a:pt x="83342" y="47088"/>
                      <a:pt x="61734" y="32180"/>
                      <a:pt x="37037" y="28600"/>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7" name="Freeform: Shape 166">
                <a:extLst>
                  <a:ext uri="{FF2B5EF4-FFF2-40B4-BE49-F238E27FC236}">
                    <a16:creationId xmlns:a16="http://schemas.microsoft.com/office/drawing/2014/main" id="{24328B6B-A845-B648-0C5E-57DAFBFFF008}"/>
                  </a:ext>
                </a:extLst>
              </p:cNvPr>
              <p:cNvSpPr/>
              <p:nvPr/>
            </p:nvSpPr>
            <p:spPr>
              <a:xfrm>
                <a:off x="2437495" y="1517877"/>
                <a:ext cx="63500" cy="63292"/>
              </a:xfrm>
              <a:custGeom>
                <a:avLst/>
                <a:gdLst>
                  <a:gd name="csX0" fmla="*/ 31750 w 63500"/>
                  <a:gd name="csY0" fmla="*/ 0 h 63292"/>
                  <a:gd name="csX1" fmla="*/ 0 w 63500"/>
                  <a:gd name="csY1" fmla="*/ 31750 h 63292"/>
                  <a:gd name="csX2" fmla="*/ 63500 w 63500"/>
                  <a:gd name="csY2" fmla="*/ 31750 h 63292"/>
                  <a:gd name="csX3" fmla="*/ 31750 w 63500"/>
                  <a:gd name="csY3" fmla="*/ 0 h 63292"/>
                  <a:gd name="csX4" fmla="*/ 31750 w 63500"/>
                  <a:gd name="csY4" fmla="*/ 55563 h 63292"/>
                  <a:gd name="csX5" fmla="*/ 31751 w 63500"/>
                  <a:gd name="csY5" fmla="*/ 7938 h 63292"/>
                  <a:gd name="csX6" fmla="*/ 31750 w 63500"/>
                  <a:gd name="csY6" fmla="*/ 55563 h 63292"/>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63500" h="63292">
                    <a:moveTo>
                      <a:pt x="31750" y="0"/>
                    </a:moveTo>
                    <a:cubicBezTo>
                      <a:pt x="14223" y="20"/>
                      <a:pt x="20" y="14223"/>
                      <a:pt x="0" y="31750"/>
                    </a:cubicBezTo>
                    <a:cubicBezTo>
                      <a:pt x="1596" y="73813"/>
                      <a:pt x="61910" y="73801"/>
                      <a:pt x="63500" y="31750"/>
                    </a:cubicBezTo>
                    <a:cubicBezTo>
                      <a:pt x="63480" y="14223"/>
                      <a:pt x="49277" y="20"/>
                      <a:pt x="31750" y="0"/>
                    </a:cubicBezTo>
                    <a:close/>
                    <a:moveTo>
                      <a:pt x="31750" y="55563"/>
                    </a:moveTo>
                    <a:cubicBezTo>
                      <a:pt x="280" y="54563"/>
                      <a:pt x="288" y="8932"/>
                      <a:pt x="31751" y="7938"/>
                    </a:cubicBezTo>
                    <a:cubicBezTo>
                      <a:pt x="63220" y="8937"/>
                      <a:pt x="63212" y="54568"/>
                      <a:pt x="31750" y="55563"/>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8" name="Freeform: Shape 167">
                <a:extLst>
                  <a:ext uri="{FF2B5EF4-FFF2-40B4-BE49-F238E27FC236}">
                    <a16:creationId xmlns:a16="http://schemas.microsoft.com/office/drawing/2014/main" id="{4D0D593E-D17A-4979-BED8-EF3E97521A96}"/>
                  </a:ext>
                </a:extLst>
              </p:cNvPr>
              <p:cNvSpPr/>
              <p:nvPr/>
            </p:nvSpPr>
            <p:spPr>
              <a:xfrm>
                <a:off x="2465276" y="1527213"/>
                <a:ext cx="20231" cy="26382"/>
              </a:xfrm>
              <a:custGeom>
                <a:avLst/>
                <a:gdLst>
                  <a:gd name="csX0" fmla="*/ 16340 w 20231"/>
                  <a:gd name="csY0" fmla="*/ 18445 h 26382"/>
                  <a:gd name="csX1" fmla="*/ 7938 w 20231"/>
                  <a:gd name="csY1" fmla="*/ 18445 h 26382"/>
                  <a:gd name="csX2" fmla="*/ 7938 w 20231"/>
                  <a:gd name="csY2" fmla="*/ 3892 h 26382"/>
                  <a:gd name="csX3" fmla="*/ 3891 w 20231"/>
                  <a:gd name="csY3" fmla="*/ 1 h 26382"/>
                  <a:gd name="csX4" fmla="*/ 0 w 20231"/>
                  <a:gd name="csY4" fmla="*/ 3892 h 26382"/>
                  <a:gd name="csX5" fmla="*/ 0 w 20231"/>
                  <a:gd name="csY5" fmla="*/ 22414 h 26382"/>
                  <a:gd name="csX6" fmla="*/ 3967 w 20231"/>
                  <a:gd name="csY6" fmla="*/ 26383 h 26382"/>
                  <a:gd name="csX7" fmla="*/ 3969 w 20231"/>
                  <a:gd name="csY7" fmla="*/ 26383 h 26382"/>
                  <a:gd name="csX8" fmla="*/ 16340 w 20231"/>
                  <a:gd name="csY8" fmla="*/ 26383 h 26382"/>
                  <a:gd name="csX9" fmla="*/ 20230 w 20231"/>
                  <a:gd name="csY9" fmla="*/ 22336 h 26382"/>
                  <a:gd name="csX10" fmla="*/ 16340 w 20231"/>
                  <a:gd name="csY10" fmla="*/ 18445 h 2638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20231" h="26382">
                    <a:moveTo>
                      <a:pt x="16340" y="18445"/>
                    </a:moveTo>
                    <a:lnTo>
                      <a:pt x="7938" y="18445"/>
                    </a:lnTo>
                    <a:lnTo>
                      <a:pt x="7938" y="3892"/>
                    </a:lnTo>
                    <a:cubicBezTo>
                      <a:pt x="7895" y="1700"/>
                      <a:pt x="6083" y="-42"/>
                      <a:pt x="3891" y="1"/>
                    </a:cubicBezTo>
                    <a:cubicBezTo>
                      <a:pt x="1760" y="42"/>
                      <a:pt x="41" y="1761"/>
                      <a:pt x="0" y="3892"/>
                    </a:cubicBezTo>
                    <a:lnTo>
                      <a:pt x="0" y="22414"/>
                    </a:lnTo>
                    <a:cubicBezTo>
                      <a:pt x="-1" y="24605"/>
                      <a:pt x="1775" y="26382"/>
                      <a:pt x="3967" y="26383"/>
                    </a:cubicBezTo>
                    <a:cubicBezTo>
                      <a:pt x="3967" y="26383"/>
                      <a:pt x="3968" y="26383"/>
                      <a:pt x="3969" y="26383"/>
                    </a:cubicBezTo>
                    <a:lnTo>
                      <a:pt x="16340" y="26383"/>
                    </a:lnTo>
                    <a:cubicBezTo>
                      <a:pt x="18532" y="26340"/>
                      <a:pt x="20274" y="24528"/>
                      <a:pt x="20230" y="22336"/>
                    </a:cubicBezTo>
                    <a:cubicBezTo>
                      <a:pt x="20188" y="20205"/>
                      <a:pt x="18471" y="18488"/>
                      <a:pt x="16340" y="18445"/>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69" name="Freeform: Shape 168">
                <a:extLst>
                  <a:ext uri="{FF2B5EF4-FFF2-40B4-BE49-F238E27FC236}">
                    <a16:creationId xmlns:a16="http://schemas.microsoft.com/office/drawing/2014/main" id="{7A5FC2D6-B820-AF4F-8B60-42DF66227F0A}"/>
                  </a:ext>
                </a:extLst>
              </p:cNvPr>
              <p:cNvSpPr/>
              <p:nvPr/>
            </p:nvSpPr>
            <p:spPr>
              <a:xfrm>
                <a:off x="2341440" y="1443179"/>
                <a:ext cx="63500" cy="63499"/>
              </a:xfrm>
              <a:custGeom>
                <a:avLst/>
                <a:gdLst>
                  <a:gd name="csX0" fmla="*/ 3969 w 63500"/>
                  <a:gd name="csY0" fmla="*/ 40063 h 63499"/>
                  <a:gd name="csX1" fmla="*/ 5730 w 63500"/>
                  <a:gd name="csY1" fmla="*/ 40063 h 63499"/>
                  <a:gd name="csX2" fmla="*/ 8172 w 63500"/>
                  <a:gd name="csY2" fmla="*/ 42577 h 63499"/>
                  <a:gd name="csX3" fmla="*/ 7472 w 63500"/>
                  <a:gd name="csY3" fmla="*/ 44266 h 63499"/>
                  <a:gd name="csX4" fmla="*/ 6227 w 63500"/>
                  <a:gd name="csY4" fmla="*/ 51124 h 63499"/>
                  <a:gd name="csX5" fmla="*/ 12375 w 63500"/>
                  <a:gd name="csY5" fmla="*/ 57273 h 63499"/>
                  <a:gd name="csX6" fmla="*/ 17986 w 63500"/>
                  <a:gd name="csY6" fmla="*/ 57274 h 63499"/>
                  <a:gd name="csX7" fmla="*/ 17987 w 63500"/>
                  <a:gd name="csY7" fmla="*/ 57273 h 63499"/>
                  <a:gd name="csX8" fmla="*/ 19231 w 63500"/>
                  <a:gd name="csY8" fmla="*/ 56029 h 63499"/>
                  <a:gd name="csX9" fmla="*/ 22736 w 63500"/>
                  <a:gd name="csY9" fmla="*/ 56079 h 63499"/>
                  <a:gd name="csX10" fmla="*/ 23437 w 63500"/>
                  <a:gd name="csY10" fmla="*/ 57769 h 63499"/>
                  <a:gd name="csX11" fmla="*/ 27406 w 63500"/>
                  <a:gd name="csY11" fmla="*/ 63499 h 63499"/>
                  <a:gd name="csX12" fmla="*/ 36097 w 63500"/>
                  <a:gd name="csY12" fmla="*/ 63499 h 63499"/>
                  <a:gd name="csX13" fmla="*/ 40065 w 63500"/>
                  <a:gd name="csY13" fmla="*/ 57769 h 63499"/>
                  <a:gd name="csX14" fmla="*/ 42577 w 63500"/>
                  <a:gd name="csY14" fmla="*/ 55328 h 63499"/>
                  <a:gd name="csX15" fmla="*/ 44267 w 63500"/>
                  <a:gd name="csY15" fmla="*/ 56027 h 63499"/>
                  <a:gd name="csX16" fmla="*/ 51125 w 63500"/>
                  <a:gd name="csY16" fmla="*/ 57273 h 63499"/>
                  <a:gd name="csX17" fmla="*/ 57276 w 63500"/>
                  <a:gd name="csY17" fmla="*/ 51124 h 63499"/>
                  <a:gd name="csX18" fmla="*/ 58438 w 63500"/>
                  <a:gd name="csY18" fmla="*/ 48318 h 63499"/>
                  <a:gd name="csX19" fmla="*/ 55497 w 63500"/>
                  <a:gd name="csY19" fmla="*/ 41580 h 63499"/>
                  <a:gd name="csX20" fmla="*/ 57770 w 63500"/>
                  <a:gd name="csY20" fmla="*/ 40063 h 63499"/>
                  <a:gd name="csX21" fmla="*/ 63500 w 63500"/>
                  <a:gd name="csY21" fmla="*/ 36094 h 63499"/>
                  <a:gd name="csX22" fmla="*/ 63500 w 63500"/>
                  <a:gd name="csY22" fmla="*/ 27403 h 63499"/>
                  <a:gd name="csX23" fmla="*/ 59531 w 63500"/>
                  <a:gd name="csY23" fmla="*/ 23434 h 63499"/>
                  <a:gd name="csX24" fmla="*/ 57770 w 63500"/>
                  <a:gd name="csY24" fmla="*/ 23434 h 63499"/>
                  <a:gd name="csX25" fmla="*/ 55329 w 63500"/>
                  <a:gd name="csY25" fmla="*/ 20925 h 63499"/>
                  <a:gd name="csX26" fmla="*/ 56030 w 63500"/>
                  <a:gd name="csY26" fmla="*/ 19233 h 63499"/>
                  <a:gd name="csX27" fmla="*/ 57275 w 63500"/>
                  <a:gd name="csY27" fmla="*/ 12375 h 63499"/>
                  <a:gd name="csX28" fmla="*/ 51125 w 63500"/>
                  <a:gd name="csY28" fmla="*/ 6226 h 63499"/>
                  <a:gd name="csX29" fmla="*/ 44265 w 63500"/>
                  <a:gd name="csY29" fmla="*/ 7472 h 63499"/>
                  <a:gd name="csX30" fmla="*/ 40764 w 63500"/>
                  <a:gd name="csY30" fmla="*/ 7420 h 63499"/>
                  <a:gd name="csX31" fmla="*/ 40065 w 63500"/>
                  <a:gd name="csY31" fmla="*/ 5730 h 63499"/>
                  <a:gd name="csX32" fmla="*/ 40065 w 63500"/>
                  <a:gd name="csY32" fmla="*/ 3969 h 63499"/>
                  <a:gd name="csX33" fmla="*/ 36097 w 63500"/>
                  <a:gd name="csY33" fmla="*/ 0 h 63499"/>
                  <a:gd name="csX34" fmla="*/ 27405 w 63500"/>
                  <a:gd name="csY34" fmla="*/ 0 h 63499"/>
                  <a:gd name="csX35" fmla="*/ 23436 w 63500"/>
                  <a:gd name="csY35" fmla="*/ 3969 h 63499"/>
                  <a:gd name="csX36" fmla="*/ 21915 w 63500"/>
                  <a:gd name="csY36" fmla="*/ 8005 h 63499"/>
                  <a:gd name="csX37" fmla="*/ 17985 w 63500"/>
                  <a:gd name="csY37" fmla="*/ 6224 h 63499"/>
                  <a:gd name="csX38" fmla="*/ 12375 w 63500"/>
                  <a:gd name="csY38" fmla="*/ 6226 h 63499"/>
                  <a:gd name="csX39" fmla="*/ 6226 w 63500"/>
                  <a:gd name="csY39" fmla="*/ 12375 h 63499"/>
                  <a:gd name="csX40" fmla="*/ 7472 w 63500"/>
                  <a:gd name="csY40" fmla="*/ 19233 h 63499"/>
                  <a:gd name="csX41" fmla="*/ 7419 w 63500"/>
                  <a:gd name="csY41" fmla="*/ 22736 h 63499"/>
                  <a:gd name="csX42" fmla="*/ 5730 w 63500"/>
                  <a:gd name="csY42" fmla="*/ 23435 h 63499"/>
                  <a:gd name="csX43" fmla="*/ 3969 w 63500"/>
                  <a:gd name="csY43" fmla="*/ 23435 h 63499"/>
                  <a:gd name="csX44" fmla="*/ 0 w 63500"/>
                  <a:gd name="csY44" fmla="*/ 27403 h 63499"/>
                  <a:gd name="csX45" fmla="*/ 0 w 63500"/>
                  <a:gd name="csY45" fmla="*/ 36095 h 63499"/>
                  <a:gd name="csX46" fmla="*/ 3969 w 63500"/>
                  <a:gd name="csY46" fmla="*/ 40063 h 63499"/>
                  <a:gd name="csX47" fmla="*/ 7937 w 63500"/>
                  <a:gd name="csY47" fmla="*/ 31137 h 63499"/>
                  <a:gd name="csX48" fmla="*/ 15816 w 63500"/>
                  <a:gd name="csY48" fmla="*/ 18573 h 63499"/>
                  <a:gd name="csX49" fmla="*/ 14479 w 63500"/>
                  <a:gd name="csY49" fmla="*/ 15346 h 63499"/>
                  <a:gd name="csX50" fmla="*/ 15348 w 63500"/>
                  <a:gd name="csY50" fmla="*/ 14477 h 63499"/>
                  <a:gd name="csX51" fmla="*/ 29725 w 63500"/>
                  <a:gd name="csY51" fmla="*/ 11352 h 63499"/>
                  <a:gd name="csX52" fmla="*/ 31139 w 63500"/>
                  <a:gd name="csY52" fmla="*/ 7937 h 63499"/>
                  <a:gd name="csX53" fmla="*/ 32362 w 63500"/>
                  <a:gd name="csY53" fmla="*/ 7937 h 63499"/>
                  <a:gd name="csX54" fmla="*/ 44740 w 63500"/>
                  <a:gd name="csY54" fmla="*/ 15893 h 63499"/>
                  <a:gd name="csX55" fmla="*/ 48154 w 63500"/>
                  <a:gd name="csY55" fmla="*/ 14479 h 63499"/>
                  <a:gd name="csX56" fmla="*/ 49022 w 63500"/>
                  <a:gd name="csY56" fmla="*/ 15348 h 63499"/>
                  <a:gd name="csX57" fmla="*/ 52145 w 63500"/>
                  <a:gd name="csY57" fmla="*/ 29722 h 63499"/>
                  <a:gd name="csX58" fmla="*/ 55563 w 63500"/>
                  <a:gd name="csY58" fmla="*/ 31137 h 63499"/>
                  <a:gd name="csX59" fmla="*/ 55563 w 63500"/>
                  <a:gd name="csY59" fmla="*/ 32360 h 63499"/>
                  <a:gd name="csX60" fmla="*/ 47686 w 63500"/>
                  <a:gd name="csY60" fmla="*/ 44928 h 63499"/>
                  <a:gd name="csX61" fmla="*/ 49022 w 63500"/>
                  <a:gd name="csY61" fmla="*/ 48154 h 63499"/>
                  <a:gd name="csX62" fmla="*/ 48154 w 63500"/>
                  <a:gd name="csY62" fmla="*/ 49020 h 63499"/>
                  <a:gd name="csX63" fmla="*/ 33699 w 63500"/>
                  <a:gd name="csY63" fmla="*/ 52334 h 63499"/>
                  <a:gd name="csX64" fmla="*/ 32362 w 63500"/>
                  <a:gd name="csY64" fmla="*/ 55562 h 63499"/>
                  <a:gd name="csX65" fmla="*/ 31139 w 63500"/>
                  <a:gd name="csY65" fmla="*/ 55562 h 63499"/>
                  <a:gd name="csX66" fmla="*/ 18570 w 63500"/>
                  <a:gd name="csY66" fmla="*/ 47686 h 63499"/>
                  <a:gd name="csX67" fmla="*/ 15348 w 63500"/>
                  <a:gd name="csY67" fmla="*/ 49020 h 63499"/>
                  <a:gd name="csX68" fmla="*/ 14480 w 63500"/>
                  <a:gd name="csY68" fmla="*/ 48154 h 63499"/>
                  <a:gd name="csX69" fmla="*/ 11349 w 63500"/>
                  <a:gd name="csY69" fmla="*/ 33773 h 63499"/>
                  <a:gd name="csX70" fmla="*/ 7937 w 63500"/>
                  <a:gd name="csY70" fmla="*/ 32360 h 6349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Lst>
                <a:rect l="l" t="t" r="r" b="b"/>
                <a:pathLst>
                  <a:path w="63500" h="63499">
                    <a:moveTo>
                      <a:pt x="3969" y="40063"/>
                    </a:moveTo>
                    <a:lnTo>
                      <a:pt x="5730" y="40063"/>
                    </a:lnTo>
                    <a:cubicBezTo>
                      <a:pt x="7099" y="40083"/>
                      <a:pt x="8192" y="41209"/>
                      <a:pt x="8172" y="42577"/>
                    </a:cubicBezTo>
                    <a:cubicBezTo>
                      <a:pt x="8162" y="43209"/>
                      <a:pt x="7912" y="43813"/>
                      <a:pt x="7472" y="44266"/>
                    </a:cubicBezTo>
                    <a:cubicBezTo>
                      <a:pt x="5286" y="45975"/>
                      <a:pt x="3989" y="48853"/>
                      <a:pt x="6227" y="51124"/>
                    </a:cubicBezTo>
                    <a:lnTo>
                      <a:pt x="12375" y="57273"/>
                    </a:lnTo>
                    <a:cubicBezTo>
                      <a:pt x="13924" y="58823"/>
                      <a:pt x="16436" y="58823"/>
                      <a:pt x="17986" y="57274"/>
                    </a:cubicBezTo>
                    <a:cubicBezTo>
                      <a:pt x="17986" y="57274"/>
                      <a:pt x="17987" y="57273"/>
                      <a:pt x="17987" y="57273"/>
                    </a:cubicBezTo>
                    <a:lnTo>
                      <a:pt x="19231" y="56029"/>
                    </a:lnTo>
                    <a:cubicBezTo>
                      <a:pt x="20213" y="55075"/>
                      <a:pt x="21782" y="55097"/>
                      <a:pt x="22736" y="56079"/>
                    </a:cubicBezTo>
                    <a:cubicBezTo>
                      <a:pt x="23177" y="56532"/>
                      <a:pt x="23427" y="57137"/>
                      <a:pt x="23437" y="57769"/>
                    </a:cubicBezTo>
                    <a:cubicBezTo>
                      <a:pt x="23115" y="60556"/>
                      <a:pt x="24186" y="63445"/>
                      <a:pt x="27406" y="63499"/>
                    </a:cubicBezTo>
                    <a:lnTo>
                      <a:pt x="36097" y="63499"/>
                    </a:lnTo>
                    <a:cubicBezTo>
                      <a:pt x="39321" y="63422"/>
                      <a:pt x="40384" y="60590"/>
                      <a:pt x="40065" y="57769"/>
                    </a:cubicBezTo>
                    <a:cubicBezTo>
                      <a:pt x="40085" y="56401"/>
                      <a:pt x="41209" y="55308"/>
                      <a:pt x="42577" y="55328"/>
                    </a:cubicBezTo>
                    <a:cubicBezTo>
                      <a:pt x="43209" y="55337"/>
                      <a:pt x="43814" y="55587"/>
                      <a:pt x="44267" y="56027"/>
                    </a:cubicBezTo>
                    <a:cubicBezTo>
                      <a:pt x="45976" y="58214"/>
                      <a:pt x="48853" y="59510"/>
                      <a:pt x="51125" y="57273"/>
                    </a:cubicBezTo>
                    <a:lnTo>
                      <a:pt x="57276" y="51124"/>
                    </a:lnTo>
                    <a:cubicBezTo>
                      <a:pt x="58020" y="50380"/>
                      <a:pt x="58438" y="49371"/>
                      <a:pt x="58438" y="48318"/>
                    </a:cubicBezTo>
                    <a:cubicBezTo>
                      <a:pt x="58743" y="45379"/>
                      <a:pt x="54358" y="44479"/>
                      <a:pt x="55497" y="41580"/>
                    </a:cubicBezTo>
                    <a:cubicBezTo>
                      <a:pt x="55877" y="40661"/>
                      <a:pt x="56775" y="40061"/>
                      <a:pt x="57770" y="40063"/>
                    </a:cubicBezTo>
                    <a:cubicBezTo>
                      <a:pt x="60558" y="40385"/>
                      <a:pt x="63446" y="39314"/>
                      <a:pt x="63500" y="36094"/>
                    </a:cubicBezTo>
                    <a:lnTo>
                      <a:pt x="63500" y="27403"/>
                    </a:lnTo>
                    <a:cubicBezTo>
                      <a:pt x="63500" y="25211"/>
                      <a:pt x="61723" y="23435"/>
                      <a:pt x="59531" y="23434"/>
                    </a:cubicBezTo>
                    <a:lnTo>
                      <a:pt x="57770" y="23434"/>
                    </a:lnTo>
                    <a:cubicBezTo>
                      <a:pt x="56403" y="23416"/>
                      <a:pt x="55310" y="22292"/>
                      <a:pt x="55329" y="20925"/>
                    </a:cubicBezTo>
                    <a:cubicBezTo>
                      <a:pt x="55337" y="20292"/>
                      <a:pt x="55588" y="19687"/>
                      <a:pt x="56030" y="19233"/>
                    </a:cubicBezTo>
                    <a:cubicBezTo>
                      <a:pt x="58218" y="17514"/>
                      <a:pt x="59513" y="14665"/>
                      <a:pt x="57275" y="12375"/>
                    </a:cubicBezTo>
                    <a:lnTo>
                      <a:pt x="51125" y="6226"/>
                    </a:lnTo>
                    <a:cubicBezTo>
                      <a:pt x="48834" y="4003"/>
                      <a:pt x="45998" y="5267"/>
                      <a:pt x="44265" y="7472"/>
                    </a:cubicBezTo>
                    <a:cubicBezTo>
                      <a:pt x="43284" y="8425"/>
                      <a:pt x="41716" y="8401"/>
                      <a:pt x="40764" y="7420"/>
                    </a:cubicBezTo>
                    <a:cubicBezTo>
                      <a:pt x="40324" y="6966"/>
                      <a:pt x="40074" y="6362"/>
                      <a:pt x="40065" y="5730"/>
                    </a:cubicBezTo>
                    <a:lnTo>
                      <a:pt x="40065" y="3969"/>
                    </a:lnTo>
                    <a:cubicBezTo>
                      <a:pt x="40065" y="1777"/>
                      <a:pt x="38289" y="0"/>
                      <a:pt x="36097" y="0"/>
                    </a:cubicBezTo>
                    <a:lnTo>
                      <a:pt x="27405" y="0"/>
                    </a:lnTo>
                    <a:cubicBezTo>
                      <a:pt x="25213" y="0"/>
                      <a:pt x="23437" y="1777"/>
                      <a:pt x="23436" y="3969"/>
                    </a:cubicBezTo>
                    <a:cubicBezTo>
                      <a:pt x="23502" y="5434"/>
                      <a:pt x="23579" y="7402"/>
                      <a:pt x="21915" y="8005"/>
                    </a:cubicBezTo>
                    <a:cubicBezTo>
                      <a:pt x="20333" y="8781"/>
                      <a:pt x="18960" y="7274"/>
                      <a:pt x="17985" y="6224"/>
                    </a:cubicBezTo>
                    <a:cubicBezTo>
                      <a:pt x="16435" y="4677"/>
                      <a:pt x="13924" y="4678"/>
                      <a:pt x="12375" y="6226"/>
                    </a:cubicBezTo>
                    <a:lnTo>
                      <a:pt x="6226" y="12375"/>
                    </a:lnTo>
                    <a:cubicBezTo>
                      <a:pt x="4004" y="14666"/>
                      <a:pt x="5264" y="17501"/>
                      <a:pt x="7472" y="19233"/>
                    </a:cubicBezTo>
                    <a:cubicBezTo>
                      <a:pt x="8425" y="20215"/>
                      <a:pt x="8401" y="21783"/>
                      <a:pt x="7419" y="22736"/>
                    </a:cubicBezTo>
                    <a:cubicBezTo>
                      <a:pt x="6966" y="23176"/>
                      <a:pt x="6362" y="23426"/>
                      <a:pt x="5730" y="23435"/>
                    </a:cubicBezTo>
                    <a:lnTo>
                      <a:pt x="3969" y="23435"/>
                    </a:lnTo>
                    <a:cubicBezTo>
                      <a:pt x="1777" y="23435"/>
                      <a:pt x="0" y="25211"/>
                      <a:pt x="0" y="27403"/>
                    </a:cubicBezTo>
                    <a:lnTo>
                      <a:pt x="0" y="36095"/>
                    </a:lnTo>
                    <a:cubicBezTo>
                      <a:pt x="0" y="38286"/>
                      <a:pt x="1777" y="40063"/>
                      <a:pt x="3969" y="40063"/>
                    </a:cubicBezTo>
                    <a:close/>
                    <a:moveTo>
                      <a:pt x="7937" y="31137"/>
                    </a:moveTo>
                    <a:cubicBezTo>
                      <a:pt x="13583" y="29843"/>
                      <a:pt x="17110" y="24218"/>
                      <a:pt x="15816" y="18573"/>
                    </a:cubicBezTo>
                    <a:cubicBezTo>
                      <a:pt x="15554" y="17430"/>
                      <a:pt x="15102" y="16339"/>
                      <a:pt x="14479" y="15346"/>
                    </a:cubicBezTo>
                    <a:lnTo>
                      <a:pt x="15348" y="14477"/>
                    </a:lnTo>
                    <a:cubicBezTo>
                      <a:pt x="20181" y="17585"/>
                      <a:pt x="26618" y="16185"/>
                      <a:pt x="29725" y="11352"/>
                    </a:cubicBezTo>
                    <a:cubicBezTo>
                      <a:pt x="30396" y="10307"/>
                      <a:pt x="30876" y="9151"/>
                      <a:pt x="31139" y="7937"/>
                    </a:cubicBezTo>
                    <a:lnTo>
                      <a:pt x="32362" y="7937"/>
                    </a:lnTo>
                    <a:cubicBezTo>
                      <a:pt x="33583" y="13552"/>
                      <a:pt x="39125" y="17114"/>
                      <a:pt x="44740" y="15893"/>
                    </a:cubicBezTo>
                    <a:cubicBezTo>
                      <a:pt x="45953" y="15630"/>
                      <a:pt x="47109" y="15151"/>
                      <a:pt x="48154" y="14479"/>
                    </a:cubicBezTo>
                    <a:lnTo>
                      <a:pt x="49022" y="15348"/>
                    </a:lnTo>
                    <a:cubicBezTo>
                      <a:pt x="45915" y="20179"/>
                      <a:pt x="47313" y="26615"/>
                      <a:pt x="52145" y="29722"/>
                    </a:cubicBezTo>
                    <a:cubicBezTo>
                      <a:pt x="53191" y="30394"/>
                      <a:pt x="54348" y="30873"/>
                      <a:pt x="55563" y="31137"/>
                    </a:cubicBezTo>
                    <a:lnTo>
                      <a:pt x="55563" y="32360"/>
                    </a:lnTo>
                    <a:cubicBezTo>
                      <a:pt x="49917" y="33655"/>
                      <a:pt x="46390" y="39282"/>
                      <a:pt x="47686" y="44928"/>
                    </a:cubicBezTo>
                    <a:cubicBezTo>
                      <a:pt x="47948" y="46070"/>
                      <a:pt x="48400" y="47161"/>
                      <a:pt x="49022" y="48154"/>
                    </a:cubicBezTo>
                    <a:lnTo>
                      <a:pt x="48154" y="49020"/>
                    </a:lnTo>
                    <a:cubicBezTo>
                      <a:pt x="43247" y="45944"/>
                      <a:pt x="36775" y="47428"/>
                      <a:pt x="33699" y="52334"/>
                    </a:cubicBezTo>
                    <a:cubicBezTo>
                      <a:pt x="33076" y="53328"/>
                      <a:pt x="32624" y="54419"/>
                      <a:pt x="32362" y="55562"/>
                    </a:cubicBezTo>
                    <a:lnTo>
                      <a:pt x="31139" y="55562"/>
                    </a:lnTo>
                    <a:cubicBezTo>
                      <a:pt x="29843" y="49916"/>
                      <a:pt x="24216" y="46390"/>
                      <a:pt x="18570" y="47686"/>
                    </a:cubicBezTo>
                    <a:cubicBezTo>
                      <a:pt x="17429" y="47948"/>
                      <a:pt x="16340" y="48399"/>
                      <a:pt x="15348" y="49020"/>
                    </a:cubicBezTo>
                    <a:lnTo>
                      <a:pt x="14480" y="48154"/>
                    </a:lnTo>
                    <a:cubicBezTo>
                      <a:pt x="17586" y="43318"/>
                      <a:pt x="16185" y="36880"/>
                      <a:pt x="11349" y="33773"/>
                    </a:cubicBezTo>
                    <a:cubicBezTo>
                      <a:pt x="10305" y="33103"/>
                      <a:pt x="9150" y="32624"/>
                      <a:pt x="7937" y="32360"/>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70" name="Freeform: Shape 169">
                <a:extLst>
                  <a:ext uri="{FF2B5EF4-FFF2-40B4-BE49-F238E27FC236}">
                    <a16:creationId xmlns:a16="http://schemas.microsoft.com/office/drawing/2014/main" id="{7BBD8A04-319A-6AD4-35D1-2D7E4992E1A9}"/>
                  </a:ext>
                </a:extLst>
              </p:cNvPr>
              <p:cNvSpPr/>
              <p:nvPr/>
            </p:nvSpPr>
            <p:spPr>
              <a:xfrm>
                <a:off x="2359451" y="1461038"/>
                <a:ext cx="27478" cy="27781"/>
              </a:xfrm>
              <a:custGeom>
                <a:avLst/>
                <a:gdLst>
                  <a:gd name="csX0" fmla="*/ 13740 w 27478"/>
                  <a:gd name="csY0" fmla="*/ 27781 h 27781"/>
                  <a:gd name="csX1" fmla="*/ 27478 w 27478"/>
                  <a:gd name="csY1" fmla="*/ 13738 h 27781"/>
                  <a:gd name="csX2" fmla="*/ 13739 w 27478"/>
                  <a:gd name="csY2" fmla="*/ 0 h 27781"/>
                  <a:gd name="csX3" fmla="*/ 1 w 27478"/>
                  <a:gd name="csY3" fmla="*/ 14043 h 27781"/>
                  <a:gd name="csX4" fmla="*/ 13740 w 27478"/>
                  <a:gd name="csY4" fmla="*/ 27781 h 27781"/>
                  <a:gd name="csX5" fmla="*/ 13740 w 27478"/>
                  <a:gd name="csY5" fmla="*/ 7938 h 27781"/>
                  <a:gd name="csX6" fmla="*/ 19606 w 27478"/>
                  <a:gd name="csY6" fmla="*/ 13978 h 27781"/>
                  <a:gd name="csX7" fmla="*/ 13739 w 27478"/>
                  <a:gd name="csY7" fmla="*/ 19844 h 27781"/>
                  <a:gd name="csX8" fmla="*/ 7873 w 27478"/>
                  <a:gd name="csY8" fmla="*/ 13804 h 27781"/>
                  <a:gd name="csX9" fmla="*/ 13740 w 27478"/>
                  <a:gd name="csY9" fmla="*/ 7938 h 2778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27478" h="27781">
                    <a:moveTo>
                      <a:pt x="13740" y="27781"/>
                    </a:moveTo>
                    <a:cubicBezTo>
                      <a:pt x="21411" y="27697"/>
                      <a:pt x="27562" y="21410"/>
                      <a:pt x="27478" y="13738"/>
                    </a:cubicBezTo>
                    <a:cubicBezTo>
                      <a:pt x="27395" y="6185"/>
                      <a:pt x="21292" y="83"/>
                      <a:pt x="13739" y="0"/>
                    </a:cubicBezTo>
                    <a:cubicBezTo>
                      <a:pt x="6068" y="84"/>
                      <a:pt x="-83" y="6371"/>
                      <a:pt x="1" y="14043"/>
                    </a:cubicBezTo>
                    <a:cubicBezTo>
                      <a:pt x="84" y="21596"/>
                      <a:pt x="6187" y="27699"/>
                      <a:pt x="13740" y="27781"/>
                    </a:cubicBezTo>
                    <a:close/>
                    <a:moveTo>
                      <a:pt x="13740" y="7938"/>
                    </a:moveTo>
                    <a:cubicBezTo>
                      <a:pt x="17027" y="7986"/>
                      <a:pt x="19654" y="10690"/>
                      <a:pt x="19606" y="13978"/>
                    </a:cubicBezTo>
                    <a:cubicBezTo>
                      <a:pt x="19558" y="17198"/>
                      <a:pt x="16959" y="19797"/>
                      <a:pt x="13739" y="19844"/>
                    </a:cubicBezTo>
                    <a:cubicBezTo>
                      <a:pt x="10451" y="19796"/>
                      <a:pt x="7825" y="17091"/>
                      <a:pt x="7873" y="13804"/>
                    </a:cubicBezTo>
                    <a:cubicBezTo>
                      <a:pt x="7920" y="10583"/>
                      <a:pt x="10519" y="7984"/>
                      <a:pt x="13740" y="7938"/>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71" name="Freeform: Shape 170">
                <a:extLst>
                  <a:ext uri="{FF2B5EF4-FFF2-40B4-BE49-F238E27FC236}">
                    <a16:creationId xmlns:a16="http://schemas.microsoft.com/office/drawing/2014/main" id="{FB7C0B52-E270-1779-D93F-9757817816DB}"/>
                  </a:ext>
                </a:extLst>
              </p:cNvPr>
              <p:cNvSpPr/>
              <p:nvPr/>
            </p:nvSpPr>
            <p:spPr>
              <a:xfrm>
                <a:off x="2307431" y="1399381"/>
                <a:ext cx="230187" cy="230187"/>
              </a:xfrm>
              <a:custGeom>
                <a:avLst/>
                <a:gdLst>
                  <a:gd name="csX0" fmla="*/ 115094 w 230187"/>
                  <a:gd name="csY0" fmla="*/ 230188 h 230187"/>
                  <a:gd name="csX1" fmla="*/ 0 w 230187"/>
                  <a:gd name="csY1" fmla="*/ 115094 h 230187"/>
                  <a:gd name="csX2" fmla="*/ 115094 w 230187"/>
                  <a:gd name="csY2" fmla="*/ 0 h 230187"/>
                  <a:gd name="csX3" fmla="*/ 230188 w 230187"/>
                  <a:gd name="csY3" fmla="*/ 115094 h 230187"/>
                  <a:gd name="csX4" fmla="*/ 115094 w 230187"/>
                  <a:gd name="csY4" fmla="*/ 230188 h 230187"/>
                  <a:gd name="csX5" fmla="*/ 115094 w 230187"/>
                  <a:gd name="csY5" fmla="*/ 7938 h 230187"/>
                  <a:gd name="csX6" fmla="*/ 7938 w 230187"/>
                  <a:gd name="csY6" fmla="*/ 115094 h 230187"/>
                  <a:gd name="csX7" fmla="*/ 115094 w 230187"/>
                  <a:gd name="csY7" fmla="*/ 222250 h 230187"/>
                  <a:gd name="csX8" fmla="*/ 222250 w 230187"/>
                  <a:gd name="csY8" fmla="*/ 115094 h 230187"/>
                  <a:gd name="csX9" fmla="*/ 115094 w 230187"/>
                  <a:gd name="csY9" fmla="*/ 7938 h 23018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230187" h="230187">
                    <a:moveTo>
                      <a:pt x="115094" y="230188"/>
                    </a:moveTo>
                    <a:cubicBezTo>
                      <a:pt x="51529" y="230188"/>
                      <a:pt x="0" y="178658"/>
                      <a:pt x="0" y="115094"/>
                    </a:cubicBezTo>
                    <a:cubicBezTo>
                      <a:pt x="0" y="51529"/>
                      <a:pt x="51529" y="0"/>
                      <a:pt x="115094" y="0"/>
                    </a:cubicBezTo>
                    <a:cubicBezTo>
                      <a:pt x="178658" y="0"/>
                      <a:pt x="230188" y="51529"/>
                      <a:pt x="230188" y="115094"/>
                    </a:cubicBezTo>
                    <a:cubicBezTo>
                      <a:pt x="230115" y="178628"/>
                      <a:pt x="178628" y="230115"/>
                      <a:pt x="115094" y="230188"/>
                    </a:cubicBezTo>
                    <a:close/>
                    <a:moveTo>
                      <a:pt x="115094" y="7938"/>
                    </a:moveTo>
                    <a:cubicBezTo>
                      <a:pt x="55913" y="7938"/>
                      <a:pt x="7938" y="55913"/>
                      <a:pt x="7938" y="115094"/>
                    </a:cubicBezTo>
                    <a:cubicBezTo>
                      <a:pt x="7938" y="174275"/>
                      <a:pt x="55913" y="222250"/>
                      <a:pt x="115094" y="222250"/>
                    </a:cubicBezTo>
                    <a:cubicBezTo>
                      <a:pt x="174275" y="222250"/>
                      <a:pt x="222250" y="174275"/>
                      <a:pt x="222250" y="115094"/>
                    </a:cubicBezTo>
                    <a:cubicBezTo>
                      <a:pt x="222183" y="55941"/>
                      <a:pt x="174247" y="8005"/>
                      <a:pt x="115094" y="7938"/>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72" name="Group 171">
            <a:extLst>
              <a:ext uri="{FF2B5EF4-FFF2-40B4-BE49-F238E27FC236}">
                <a16:creationId xmlns:a16="http://schemas.microsoft.com/office/drawing/2014/main" id="{415B01CF-E2AD-905D-A5CC-AF4C4D4A2B06}"/>
              </a:ext>
            </a:extLst>
          </p:cNvPr>
          <p:cNvGrpSpPr/>
          <p:nvPr/>
        </p:nvGrpSpPr>
        <p:grpSpPr>
          <a:xfrm>
            <a:off x="7936609" y="4636736"/>
            <a:ext cx="457200" cy="457200"/>
            <a:chOff x="7936609" y="5270076"/>
            <a:chExt cx="457200" cy="457200"/>
          </a:xfrm>
        </p:grpSpPr>
        <p:sp>
          <p:nvSpPr>
            <p:cNvPr id="173" name="Oval 172">
              <a:extLst>
                <a:ext uri="{FF2B5EF4-FFF2-40B4-BE49-F238E27FC236}">
                  <a16:creationId xmlns:a16="http://schemas.microsoft.com/office/drawing/2014/main" id="{46FAAD35-F1DB-EA12-86E2-F3E6990AAD51}"/>
                </a:ext>
              </a:extLst>
            </p:cNvPr>
            <p:cNvSpPr>
              <a:spLocks noChangeAspect="1"/>
            </p:cNvSpPr>
            <p:nvPr/>
          </p:nvSpPr>
          <p:spPr>
            <a:xfrm>
              <a:off x="7936609" y="5270076"/>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sp>
          <p:nvSpPr>
            <p:cNvPr id="174" name="Pic">
              <a:extLst>
                <a:ext uri="{FF2B5EF4-FFF2-40B4-BE49-F238E27FC236}">
                  <a16:creationId xmlns:a16="http://schemas.microsoft.com/office/drawing/2014/main" id="{30EB1E5E-A425-0FAC-BA73-55563A5C7A87}"/>
                </a:ext>
              </a:extLst>
            </p:cNvPr>
            <p:cNvSpPr>
              <a:spLocks noChangeAspect="1"/>
            </p:cNvSpPr>
            <p:nvPr/>
          </p:nvSpPr>
          <p:spPr>
            <a:xfrm>
              <a:off x="8041929" y="5379637"/>
              <a:ext cx="246560" cy="238078"/>
            </a:xfrm>
            <a:custGeom>
              <a:avLst/>
              <a:gdLst>
                <a:gd name="csX0" fmla="*/ 38093 w 246560"/>
                <a:gd name="csY0" fmla="*/ 83923 h 238078"/>
                <a:gd name="csX1" fmla="*/ 34968 w 246560"/>
                <a:gd name="csY1" fmla="*/ 82732 h 238078"/>
                <a:gd name="csX2" fmla="*/ 28421 w 246560"/>
                <a:gd name="csY2" fmla="*/ 82732 h 238078"/>
                <a:gd name="csX3" fmla="*/ 22320 w 246560"/>
                <a:gd name="csY3" fmla="*/ 76632 h 238078"/>
                <a:gd name="csX4" fmla="*/ 41069 w 246560"/>
                <a:gd name="csY4" fmla="*/ 82732 h 238078"/>
                <a:gd name="csX5" fmla="*/ 38093 w 246560"/>
                <a:gd name="csY5" fmla="*/ 83923 h 238078"/>
                <a:gd name="csX6" fmla="*/ 135110 w 246560"/>
                <a:gd name="csY6" fmla="*/ 208319 h 238078"/>
                <a:gd name="csX7" fmla="*/ 135110 w 246560"/>
                <a:gd name="csY7" fmla="*/ 165613 h 238078"/>
                <a:gd name="csX8" fmla="*/ 122313 w 246560"/>
                <a:gd name="csY8" fmla="*/ 165613 h 238078"/>
                <a:gd name="csX9" fmla="*/ 122313 w 246560"/>
                <a:gd name="csY9" fmla="*/ 186594 h 238078"/>
                <a:gd name="csX10" fmla="*/ 113682 w 246560"/>
                <a:gd name="csY10" fmla="*/ 186594 h 238078"/>
                <a:gd name="csX11" fmla="*/ 113682 w 246560"/>
                <a:gd name="csY11" fmla="*/ 165613 h 238078"/>
                <a:gd name="csX12" fmla="*/ 102076 w 246560"/>
                <a:gd name="csY12" fmla="*/ 165613 h 238078"/>
                <a:gd name="csX13" fmla="*/ 102076 w 246560"/>
                <a:gd name="csY13" fmla="*/ 208319 h 238078"/>
                <a:gd name="csX14" fmla="*/ 97761 w 246560"/>
                <a:gd name="csY14" fmla="*/ 238079 h 238078"/>
                <a:gd name="csX15" fmla="*/ 93446 w 246560"/>
                <a:gd name="csY15" fmla="*/ 208319 h 238078"/>
                <a:gd name="csX16" fmla="*/ 93446 w 246560"/>
                <a:gd name="csY16" fmla="*/ 165613 h 238078"/>
                <a:gd name="csX17" fmla="*/ 35265 w 246560"/>
                <a:gd name="csY17" fmla="*/ 165613 h 238078"/>
                <a:gd name="csX18" fmla="*/ 30950 w 246560"/>
                <a:gd name="csY18" fmla="*/ 161298 h 238078"/>
                <a:gd name="csX19" fmla="*/ 123206 w 246560"/>
                <a:gd name="csY19" fmla="*/ 69043 h 238078"/>
                <a:gd name="csX20" fmla="*/ 188528 w 246560"/>
                <a:gd name="csY20" fmla="*/ 96124 h 238078"/>
                <a:gd name="csX21" fmla="*/ 215610 w 246560"/>
                <a:gd name="csY21" fmla="*/ 161298 h 238078"/>
                <a:gd name="csX22" fmla="*/ 211146 w 246560"/>
                <a:gd name="csY22" fmla="*/ 165613 h 238078"/>
                <a:gd name="csX23" fmla="*/ 163977 w 246560"/>
                <a:gd name="csY23" fmla="*/ 165613 h 238078"/>
                <a:gd name="csX24" fmla="*/ 163977 w 246560"/>
                <a:gd name="csY24" fmla="*/ 186594 h 238078"/>
                <a:gd name="csX25" fmla="*/ 155495 w 246560"/>
                <a:gd name="csY25" fmla="*/ 186594 h 238078"/>
                <a:gd name="csX26" fmla="*/ 155495 w 246560"/>
                <a:gd name="csY26" fmla="*/ 165613 h 238078"/>
                <a:gd name="csX27" fmla="*/ 143740 w 246560"/>
                <a:gd name="csY27" fmla="*/ 165613 h 238078"/>
                <a:gd name="csX28" fmla="*/ 143740 w 246560"/>
                <a:gd name="csY28" fmla="*/ 208319 h 238078"/>
                <a:gd name="csX29" fmla="*/ 139425 w 246560"/>
                <a:gd name="csY29" fmla="*/ 238079 h 238078"/>
                <a:gd name="csX30" fmla="*/ 135110 w 246560"/>
                <a:gd name="csY30" fmla="*/ 208319 h 238078"/>
                <a:gd name="csX31" fmla="*/ 139425 w 246560"/>
                <a:gd name="csY31" fmla="*/ 216205 h 238078"/>
                <a:gd name="csX32" fmla="*/ 139425 w 246560"/>
                <a:gd name="csY32" fmla="*/ 229448 h 238078"/>
                <a:gd name="csX33" fmla="*/ 139425 w 246560"/>
                <a:gd name="csY33" fmla="*/ 216205 h 238078"/>
                <a:gd name="csX34" fmla="*/ 97761 w 246560"/>
                <a:gd name="csY34" fmla="*/ 216205 h 238078"/>
                <a:gd name="csX35" fmla="*/ 97761 w 246560"/>
                <a:gd name="csY35" fmla="*/ 229448 h 238078"/>
                <a:gd name="csX36" fmla="*/ 97761 w 246560"/>
                <a:gd name="csY36" fmla="*/ 216205 h 238078"/>
                <a:gd name="csX37" fmla="*/ 39729 w 246560"/>
                <a:gd name="csY37" fmla="*/ 156983 h 238078"/>
                <a:gd name="csX38" fmla="*/ 62942 w 246560"/>
                <a:gd name="csY38" fmla="*/ 156983 h 238078"/>
                <a:gd name="csX39" fmla="*/ 77673 w 246560"/>
                <a:gd name="csY39" fmla="*/ 121718 h 238078"/>
                <a:gd name="csX40" fmla="*/ 61156 w 246560"/>
                <a:gd name="csY40" fmla="*/ 105350 h 238078"/>
                <a:gd name="csX41" fmla="*/ 39729 w 246560"/>
                <a:gd name="csY41" fmla="*/ 156983 h 238078"/>
                <a:gd name="csX42" fmla="*/ 183469 w 246560"/>
                <a:gd name="csY42" fmla="*/ 156983 h 238078"/>
                <a:gd name="csX43" fmla="*/ 206831 w 246560"/>
                <a:gd name="csY43" fmla="*/ 156983 h 238078"/>
                <a:gd name="csX44" fmla="*/ 185255 w 246560"/>
                <a:gd name="csY44" fmla="*/ 105350 h 238078"/>
                <a:gd name="csX45" fmla="*/ 168887 w 246560"/>
                <a:gd name="csY45" fmla="*/ 121718 h 238078"/>
                <a:gd name="csX46" fmla="*/ 183469 w 246560"/>
                <a:gd name="csY46" fmla="*/ 156983 h 238078"/>
                <a:gd name="csX47" fmla="*/ 179154 w 246560"/>
                <a:gd name="csY47" fmla="*/ 99249 h 238078"/>
                <a:gd name="csX48" fmla="*/ 67257 w 246560"/>
                <a:gd name="csY48" fmla="*/ 99249 h 238078"/>
                <a:gd name="csX49" fmla="*/ 83774 w 246560"/>
                <a:gd name="csY49" fmla="*/ 115617 h 238078"/>
                <a:gd name="csX50" fmla="*/ 162786 w 246560"/>
                <a:gd name="csY50" fmla="*/ 115617 h 238078"/>
                <a:gd name="csX51" fmla="*/ 71721 w 246560"/>
                <a:gd name="csY51" fmla="*/ 156983 h 238078"/>
                <a:gd name="csX52" fmla="*/ 104011 w 246560"/>
                <a:gd name="csY52" fmla="*/ 156983 h 238078"/>
                <a:gd name="csX53" fmla="*/ 129158 w 246560"/>
                <a:gd name="csY53" fmla="*/ 142550 h 238078"/>
                <a:gd name="csX54" fmla="*/ 139574 w 246560"/>
                <a:gd name="csY54" fmla="*/ 124396 h 238078"/>
                <a:gd name="csX55" fmla="*/ 147013 w 246560"/>
                <a:gd name="csY55" fmla="*/ 128711 h 238078"/>
                <a:gd name="csX56" fmla="*/ 136598 w 246560"/>
                <a:gd name="csY56" fmla="*/ 146865 h 238078"/>
                <a:gd name="csX57" fmla="*/ 142401 w 246560"/>
                <a:gd name="csY57" fmla="*/ 156983 h 238078"/>
                <a:gd name="csX58" fmla="*/ 174839 w 246560"/>
                <a:gd name="csY58" fmla="*/ 156983 h 238078"/>
                <a:gd name="csX59" fmla="*/ 123206 w 246560"/>
                <a:gd name="csY59" fmla="*/ 109516 h 238078"/>
                <a:gd name="csX60" fmla="*/ 71721 w 246560"/>
                <a:gd name="csY60" fmla="*/ 156983 h 238078"/>
                <a:gd name="csX61" fmla="*/ 113087 w 246560"/>
                <a:gd name="csY61" fmla="*/ 156983 h 238078"/>
                <a:gd name="csX62" fmla="*/ 133473 w 246560"/>
                <a:gd name="csY62" fmla="*/ 156983 h 238078"/>
                <a:gd name="csX63" fmla="*/ 113087 w 246560"/>
                <a:gd name="csY63" fmla="*/ 156983 h 238078"/>
                <a:gd name="csX64" fmla="*/ 123206 w 246560"/>
                <a:gd name="csY64" fmla="*/ 63537 h 238078"/>
                <a:gd name="csX65" fmla="*/ 91511 w 246560"/>
                <a:gd name="csY65" fmla="*/ 31843 h 238078"/>
                <a:gd name="csX66" fmla="*/ 123206 w 246560"/>
                <a:gd name="csY66" fmla="*/ 0 h 238078"/>
                <a:gd name="csX67" fmla="*/ 155049 w 246560"/>
                <a:gd name="csY67" fmla="*/ 31843 h 238078"/>
                <a:gd name="csX68" fmla="*/ 123206 w 246560"/>
                <a:gd name="csY68" fmla="*/ 63537 h 238078"/>
                <a:gd name="csX69" fmla="*/ 123206 w 246560"/>
                <a:gd name="csY69" fmla="*/ 8630 h 238078"/>
                <a:gd name="csX70" fmla="*/ 100142 w 246560"/>
                <a:gd name="csY70" fmla="*/ 31843 h 238078"/>
                <a:gd name="csX71" fmla="*/ 123206 w 246560"/>
                <a:gd name="csY71" fmla="*/ 54907 h 238078"/>
                <a:gd name="csX72" fmla="*/ 146418 w 246560"/>
                <a:gd name="csY72" fmla="*/ 31843 h 238078"/>
                <a:gd name="csX73" fmla="*/ 123206 w 246560"/>
                <a:gd name="csY73" fmla="*/ 8630 h 238078"/>
                <a:gd name="csX74" fmla="*/ 131390 w 246560"/>
                <a:gd name="csY74" fmla="*/ 46277 h 238078"/>
                <a:gd name="csX75" fmla="*/ 115022 w 246560"/>
                <a:gd name="csY75" fmla="*/ 46277 h 238078"/>
                <a:gd name="csX76" fmla="*/ 115022 w 246560"/>
                <a:gd name="csY76" fmla="*/ 37646 h 238078"/>
                <a:gd name="csX77" fmla="*/ 131390 w 246560"/>
                <a:gd name="csY77" fmla="*/ 37646 h 238078"/>
                <a:gd name="csX78" fmla="*/ 131390 w 246560"/>
                <a:gd name="csY78" fmla="*/ 46277 h 238078"/>
                <a:gd name="csX79" fmla="*/ 115914 w 246560"/>
                <a:gd name="csY79" fmla="*/ 27230 h 238078"/>
                <a:gd name="csX80" fmla="*/ 107433 w 246560"/>
                <a:gd name="csY80" fmla="*/ 22915 h 238078"/>
                <a:gd name="csX81" fmla="*/ 115914 w 246560"/>
                <a:gd name="csY81" fmla="*/ 18600 h 238078"/>
                <a:gd name="csX82" fmla="*/ 115914 w 246560"/>
                <a:gd name="csY82" fmla="*/ 27230 h 238078"/>
                <a:gd name="csX83" fmla="*/ 134812 w 246560"/>
                <a:gd name="csY83" fmla="*/ 27230 h 238078"/>
                <a:gd name="csX84" fmla="*/ 126330 w 246560"/>
                <a:gd name="csY84" fmla="*/ 22915 h 238078"/>
                <a:gd name="csX85" fmla="*/ 134812 w 246560"/>
                <a:gd name="csY85" fmla="*/ 18600 h 238078"/>
                <a:gd name="csX86" fmla="*/ 134812 w 246560"/>
                <a:gd name="csY86" fmla="*/ 27230 h 238078"/>
                <a:gd name="csX87" fmla="*/ 31694 w 246560"/>
                <a:gd name="csY87" fmla="*/ 101481 h 238078"/>
                <a:gd name="csX88" fmla="*/ 0 w 246560"/>
                <a:gd name="csY88" fmla="*/ 69787 h 238078"/>
                <a:gd name="csX89" fmla="*/ 31694 w 246560"/>
                <a:gd name="csY89" fmla="*/ 37944 h 238078"/>
                <a:gd name="csX90" fmla="*/ 63388 w 246560"/>
                <a:gd name="csY90" fmla="*/ 69787 h 238078"/>
                <a:gd name="csX91" fmla="*/ 31694 w 246560"/>
                <a:gd name="csY91" fmla="*/ 101481 h 238078"/>
                <a:gd name="csX92" fmla="*/ 31694 w 246560"/>
                <a:gd name="csY92" fmla="*/ 46574 h 238078"/>
                <a:gd name="csX93" fmla="*/ 8630 w 246560"/>
                <a:gd name="csY93" fmla="*/ 69787 h 238078"/>
                <a:gd name="csX94" fmla="*/ 31694 w 246560"/>
                <a:gd name="csY94" fmla="*/ 92851 h 238078"/>
                <a:gd name="csX95" fmla="*/ 54758 w 246560"/>
                <a:gd name="csY95" fmla="*/ 69787 h 238078"/>
                <a:gd name="csX96" fmla="*/ 31694 w 246560"/>
                <a:gd name="csY96" fmla="*/ 46574 h 238078"/>
                <a:gd name="csX97" fmla="*/ 24403 w 246560"/>
                <a:gd name="csY97" fmla="*/ 65174 h 238078"/>
                <a:gd name="csX98" fmla="*/ 15773 w 246560"/>
                <a:gd name="csY98" fmla="*/ 60859 h 238078"/>
                <a:gd name="csX99" fmla="*/ 24403 w 246560"/>
                <a:gd name="csY99" fmla="*/ 56544 h 238078"/>
                <a:gd name="csX100" fmla="*/ 24403 w 246560"/>
                <a:gd name="csY100" fmla="*/ 65174 h 238078"/>
                <a:gd name="csX101" fmla="*/ 43301 w 246560"/>
                <a:gd name="csY101" fmla="*/ 65174 h 238078"/>
                <a:gd name="csX102" fmla="*/ 34670 w 246560"/>
                <a:gd name="csY102" fmla="*/ 60859 h 238078"/>
                <a:gd name="csX103" fmla="*/ 43301 w 246560"/>
                <a:gd name="csY103" fmla="*/ 56544 h 238078"/>
                <a:gd name="csX104" fmla="*/ 43301 w 246560"/>
                <a:gd name="csY104" fmla="*/ 65174 h 238078"/>
                <a:gd name="csX105" fmla="*/ 214866 w 246560"/>
                <a:gd name="csY105" fmla="*/ 101481 h 238078"/>
                <a:gd name="csX106" fmla="*/ 183023 w 246560"/>
                <a:gd name="csY106" fmla="*/ 69787 h 238078"/>
                <a:gd name="csX107" fmla="*/ 214866 w 246560"/>
                <a:gd name="csY107" fmla="*/ 37944 h 238078"/>
                <a:gd name="csX108" fmla="*/ 246560 w 246560"/>
                <a:gd name="csY108" fmla="*/ 69787 h 238078"/>
                <a:gd name="csX109" fmla="*/ 214866 w 246560"/>
                <a:gd name="csY109" fmla="*/ 101481 h 238078"/>
                <a:gd name="csX110" fmla="*/ 214866 w 246560"/>
                <a:gd name="csY110" fmla="*/ 46574 h 238078"/>
                <a:gd name="csX111" fmla="*/ 191653 w 246560"/>
                <a:gd name="csY111" fmla="*/ 69787 h 238078"/>
                <a:gd name="csX112" fmla="*/ 214866 w 246560"/>
                <a:gd name="csY112" fmla="*/ 92851 h 238078"/>
                <a:gd name="csX113" fmla="*/ 237930 w 246560"/>
                <a:gd name="csY113" fmla="*/ 69787 h 238078"/>
                <a:gd name="csX114" fmla="*/ 214866 w 246560"/>
                <a:gd name="csY114" fmla="*/ 46574 h 238078"/>
                <a:gd name="csX115" fmla="*/ 207426 w 246560"/>
                <a:gd name="csY115" fmla="*/ 65025 h 238078"/>
                <a:gd name="csX116" fmla="*/ 198944 w 246560"/>
                <a:gd name="csY116" fmla="*/ 60710 h 238078"/>
                <a:gd name="csX117" fmla="*/ 207426 w 246560"/>
                <a:gd name="csY117" fmla="*/ 56395 h 238078"/>
                <a:gd name="csX118" fmla="*/ 207426 w 246560"/>
                <a:gd name="csY118" fmla="*/ 65025 h 238078"/>
                <a:gd name="csX119" fmla="*/ 226323 w 246560"/>
                <a:gd name="csY119" fmla="*/ 65025 h 238078"/>
                <a:gd name="csX120" fmla="*/ 217842 w 246560"/>
                <a:gd name="csY120" fmla="*/ 60710 h 238078"/>
                <a:gd name="csX121" fmla="*/ 226323 w 246560"/>
                <a:gd name="csY121" fmla="*/ 56395 h 238078"/>
                <a:gd name="csX122" fmla="*/ 226323 w 246560"/>
                <a:gd name="csY122" fmla="*/ 65025 h 238078"/>
                <a:gd name="csX123" fmla="*/ 214866 w 246560"/>
                <a:gd name="csY123" fmla="*/ 83923 h 238078"/>
                <a:gd name="csX124" fmla="*/ 205343 w 246560"/>
                <a:gd name="csY124" fmla="*/ 73953 h 238078"/>
                <a:gd name="csX125" fmla="*/ 211443 w 246560"/>
                <a:gd name="csY125" fmla="*/ 73953 h 238078"/>
                <a:gd name="csX126" fmla="*/ 218139 w 246560"/>
                <a:gd name="csY126" fmla="*/ 73953 h 238078"/>
                <a:gd name="csX127" fmla="*/ 224240 w 246560"/>
                <a:gd name="csY127" fmla="*/ 80054 h 238078"/>
                <a:gd name="csX128" fmla="*/ 214866 w 246560"/>
                <a:gd name="csY128" fmla="*/ 83923 h 2380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Lst>
              <a:rect l="l" t="t" r="r" b="b"/>
              <a:pathLst>
                <a:path w="246560" h="238078">
                  <a:moveTo>
                    <a:pt x="38093" y="83923"/>
                  </a:moveTo>
                  <a:cubicBezTo>
                    <a:pt x="36902" y="83923"/>
                    <a:pt x="35861" y="83625"/>
                    <a:pt x="34968" y="82732"/>
                  </a:cubicBezTo>
                  <a:cubicBezTo>
                    <a:pt x="33182" y="80947"/>
                    <a:pt x="30206" y="80947"/>
                    <a:pt x="28421" y="82732"/>
                  </a:cubicBezTo>
                  <a:cubicBezTo>
                    <a:pt x="24403" y="86750"/>
                    <a:pt x="18302" y="80649"/>
                    <a:pt x="22320" y="76632"/>
                  </a:cubicBezTo>
                  <a:cubicBezTo>
                    <a:pt x="31545" y="67406"/>
                    <a:pt x="47021" y="76780"/>
                    <a:pt x="41069" y="82732"/>
                  </a:cubicBezTo>
                  <a:cubicBezTo>
                    <a:pt x="40325" y="83625"/>
                    <a:pt x="39134" y="83923"/>
                    <a:pt x="38093" y="83923"/>
                  </a:cubicBezTo>
                  <a:close/>
                  <a:moveTo>
                    <a:pt x="135110" y="208319"/>
                  </a:moveTo>
                  <a:lnTo>
                    <a:pt x="135110" y="165613"/>
                  </a:lnTo>
                  <a:lnTo>
                    <a:pt x="122313" y="165613"/>
                  </a:lnTo>
                  <a:lnTo>
                    <a:pt x="122313" y="186594"/>
                  </a:lnTo>
                  <a:cubicBezTo>
                    <a:pt x="122313" y="192248"/>
                    <a:pt x="113682" y="192248"/>
                    <a:pt x="113682" y="186594"/>
                  </a:cubicBezTo>
                  <a:lnTo>
                    <a:pt x="113682" y="165613"/>
                  </a:lnTo>
                  <a:lnTo>
                    <a:pt x="102076" y="165613"/>
                  </a:lnTo>
                  <a:lnTo>
                    <a:pt x="102076" y="208319"/>
                  </a:lnTo>
                  <a:cubicBezTo>
                    <a:pt x="118742" y="213229"/>
                    <a:pt x="115170" y="238079"/>
                    <a:pt x="97761" y="238079"/>
                  </a:cubicBezTo>
                  <a:cubicBezTo>
                    <a:pt x="80203" y="238079"/>
                    <a:pt x="76632" y="213229"/>
                    <a:pt x="93446" y="208319"/>
                  </a:cubicBezTo>
                  <a:lnTo>
                    <a:pt x="93446" y="165613"/>
                  </a:lnTo>
                  <a:cubicBezTo>
                    <a:pt x="73953" y="165613"/>
                    <a:pt x="54609" y="165613"/>
                    <a:pt x="35265" y="165613"/>
                  </a:cubicBezTo>
                  <a:cubicBezTo>
                    <a:pt x="32885" y="165613"/>
                    <a:pt x="30950" y="163679"/>
                    <a:pt x="30950" y="161298"/>
                  </a:cubicBezTo>
                  <a:cubicBezTo>
                    <a:pt x="30950" y="110409"/>
                    <a:pt x="72316" y="69043"/>
                    <a:pt x="123206" y="69043"/>
                  </a:cubicBezTo>
                  <a:cubicBezTo>
                    <a:pt x="148501" y="69043"/>
                    <a:pt x="171863" y="79459"/>
                    <a:pt x="188528" y="96124"/>
                  </a:cubicBezTo>
                  <a:cubicBezTo>
                    <a:pt x="205045" y="112641"/>
                    <a:pt x="215610" y="136151"/>
                    <a:pt x="215610" y="161298"/>
                  </a:cubicBezTo>
                  <a:cubicBezTo>
                    <a:pt x="215610" y="163679"/>
                    <a:pt x="213675" y="165613"/>
                    <a:pt x="211146" y="165613"/>
                  </a:cubicBezTo>
                  <a:cubicBezTo>
                    <a:pt x="195522" y="165613"/>
                    <a:pt x="179749" y="165613"/>
                    <a:pt x="163977" y="165613"/>
                  </a:cubicBezTo>
                  <a:lnTo>
                    <a:pt x="163977" y="186594"/>
                  </a:lnTo>
                  <a:cubicBezTo>
                    <a:pt x="163977" y="192248"/>
                    <a:pt x="155495" y="192248"/>
                    <a:pt x="155495" y="186594"/>
                  </a:cubicBezTo>
                  <a:lnTo>
                    <a:pt x="155495" y="165613"/>
                  </a:lnTo>
                  <a:lnTo>
                    <a:pt x="143740" y="165613"/>
                  </a:lnTo>
                  <a:lnTo>
                    <a:pt x="143740" y="208319"/>
                  </a:lnTo>
                  <a:cubicBezTo>
                    <a:pt x="160405" y="213229"/>
                    <a:pt x="156834" y="238079"/>
                    <a:pt x="139425" y="238079"/>
                  </a:cubicBezTo>
                  <a:cubicBezTo>
                    <a:pt x="121866" y="238079"/>
                    <a:pt x="118295" y="213229"/>
                    <a:pt x="135110" y="208319"/>
                  </a:cubicBezTo>
                  <a:close/>
                  <a:moveTo>
                    <a:pt x="139425" y="216205"/>
                  </a:moveTo>
                  <a:cubicBezTo>
                    <a:pt x="130646" y="216205"/>
                    <a:pt x="130646" y="229448"/>
                    <a:pt x="139425" y="229448"/>
                  </a:cubicBezTo>
                  <a:cubicBezTo>
                    <a:pt x="148055" y="229448"/>
                    <a:pt x="148055" y="216205"/>
                    <a:pt x="139425" y="216205"/>
                  </a:cubicBezTo>
                  <a:close/>
                  <a:moveTo>
                    <a:pt x="97761" y="216205"/>
                  </a:moveTo>
                  <a:cubicBezTo>
                    <a:pt x="88982" y="216205"/>
                    <a:pt x="88982" y="229448"/>
                    <a:pt x="97761" y="229448"/>
                  </a:cubicBezTo>
                  <a:cubicBezTo>
                    <a:pt x="106391" y="229448"/>
                    <a:pt x="106391" y="216205"/>
                    <a:pt x="97761" y="216205"/>
                  </a:cubicBezTo>
                  <a:close/>
                  <a:moveTo>
                    <a:pt x="39729" y="156983"/>
                  </a:moveTo>
                  <a:lnTo>
                    <a:pt x="62942" y="156983"/>
                  </a:lnTo>
                  <a:cubicBezTo>
                    <a:pt x="63984" y="143591"/>
                    <a:pt x="69340" y="131390"/>
                    <a:pt x="77673" y="121718"/>
                  </a:cubicBezTo>
                  <a:lnTo>
                    <a:pt x="61156" y="105350"/>
                  </a:lnTo>
                  <a:cubicBezTo>
                    <a:pt x="48657" y="119188"/>
                    <a:pt x="40771" y="137193"/>
                    <a:pt x="39729" y="156983"/>
                  </a:cubicBezTo>
                  <a:close/>
                  <a:moveTo>
                    <a:pt x="183469" y="156983"/>
                  </a:moveTo>
                  <a:lnTo>
                    <a:pt x="206831" y="156983"/>
                  </a:lnTo>
                  <a:cubicBezTo>
                    <a:pt x="205789" y="137193"/>
                    <a:pt x="197754" y="119188"/>
                    <a:pt x="185255" y="105350"/>
                  </a:cubicBezTo>
                  <a:lnTo>
                    <a:pt x="168887" y="121718"/>
                  </a:lnTo>
                  <a:cubicBezTo>
                    <a:pt x="177220" y="131390"/>
                    <a:pt x="182576" y="143591"/>
                    <a:pt x="183469" y="156983"/>
                  </a:cubicBezTo>
                  <a:close/>
                  <a:moveTo>
                    <a:pt x="179154" y="99249"/>
                  </a:moveTo>
                  <a:cubicBezTo>
                    <a:pt x="147311" y="70531"/>
                    <a:pt x="99100" y="70531"/>
                    <a:pt x="67257" y="99249"/>
                  </a:cubicBezTo>
                  <a:lnTo>
                    <a:pt x="83774" y="115617"/>
                  </a:lnTo>
                  <a:cubicBezTo>
                    <a:pt x="106391" y="95975"/>
                    <a:pt x="140020" y="95975"/>
                    <a:pt x="162786" y="115617"/>
                  </a:cubicBezTo>
                  <a:close/>
                  <a:moveTo>
                    <a:pt x="71721" y="156983"/>
                  </a:moveTo>
                  <a:lnTo>
                    <a:pt x="104011" y="156983"/>
                  </a:lnTo>
                  <a:cubicBezTo>
                    <a:pt x="106540" y="145823"/>
                    <a:pt x="118146" y="139127"/>
                    <a:pt x="129158" y="142550"/>
                  </a:cubicBezTo>
                  <a:lnTo>
                    <a:pt x="139574" y="124396"/>
                  </a:lnTo>
                  <a:cubicBezTo>
                    <a:pt x="142401" y="119486"/>
                    <a:pt x="149841" y="123801"/>
                    <a:pt x="147013" y="128711"/>
                  </a:cubicBezTo>
                  <a:lnTo>
                    <a:pt x="136598" y="146865"/>
                  </a:lnTo>
                  <a:cubicBezTo>
                    <a:pt x="139425" y="149543"/>
                    <a:pt x="141508" y="152965"/>
                    <a:pt x="142401" y="156983"/>
                  </a:cubicBezTo>
                  <a:lnTo>
                    <a:pt x="174839" y="156983"/>
                  </a:lnTo>
                  <a:cubicBezTo>
                    <a:pt x="172607" y="130497"/>
                    <a:pt x="150287" y="109516"/>
                    <a:pt x="123206" y="109516"/>
                  </a:cubicBezTo>
                  <a:cubicBezTo>
                    <a:pt x="96124" y="109516"/>
                    <a:pt x="73804" y="130497"/>
                    <a:pt x="71721" y="156983"/>
                  </a:cubicBezTo>
                  <a:close/>
                  <a:moveTo>
                    <a:pt x="113087" y="156983"/>
                  </a:moveTo>
                  <a:lnTo>
                    <a:pt x="133473" y="156983"/>
                  </a:lnTo>
                  <a:cubicBezTo>
                    <a:pt x="129604" y="148055"/>
                    <a:pt x="116807" y="148055"/>
                    <a:pt x="113087" y="156983"/>
                  </a:cubicBezTo>
                  <a:close/>
                  <a:moveTo>
                    <a:pt x="123206" y="63537"/>
                  </a:moveTo>
                  <a:cubicBezTo>
                    <a:pt x="105796" y="63537"/>
                    <a:pt x="91511" y="49401"/>
                    <a:pt x="91511" y="31843"/>
                  </a:cubicBezTo>
                  <a:cubicBezTo>
                    <a:pt x="91511" y="14285"/>
                    <a:pt x="105796" y="0"/>
                    <a:pt x="123206" y="0"/>
                  </a:cubicBezTo>
                  <a:cubicBezTo>
                    <a:pt x="140764" y="0"/>
                    <a:pt x="155049" y="14285"/>
                    <a:pt x="155049" y="31843"/>
                  </a:cubicBezTo>
                  <a:cubicBezTo>
                    <a:pt x="155049" y="49252"/>
                    <a:pt x="140764" y="63537"/>
                    <a:pt x="123206" y="63537"/>
                  </a:cubicBezTo>
                  <a:close/>
                  <a:moveTo>
                    <a:pt x="123206" y="8630"/>
                  </a:moveTo>
                  <a:cubicBezTo>
                    <a:pt x="110558" y="8630"/>
                    <a:pt x="100142" y="19046"/>
                    <a:pt x="100142" y="31843"/>
                  </a:cubicBezTo>
                  <a:cubicBezTo>
                    <a:pt x="100142" y="44640"/>
                    <a:pt x="110558" y="54907"/>
                    <a:pt x="123206" y="54907"/>
                  </a:cubicBezTo>
                  <a:cubicBezTo>
                    <a:pt x="136002" y="54907"/>
                    <a:pt x="146418" y="44640"/>
                    <a:pt x="146418" y="31843"/>
                  </a:cubicBezTo>
                  <a:cubicBezTo>
                    <a:pt x="146418" y="19046"/>
                    <a:pt x="136002" y="8630"/>
                    <a:pt x="123206" y="8630"/>
                  </a:cubicBezTo>
                  <a:close/>
                  <a:moveTo>
                    <a:pt x="131390" y="46277"/>
                  </a:moveTo>
                  <a:lnTo>
                    <a:pt x="115022" y="46277"/>
                  </a:lnTo>
                  <a:cubicBezTo>
                    <a:pt x="109367" y="46277"/>
                    <a:pt x="109367" y="37646"/>
                    <a:pt x="115022" y="37646"/>
                  </a:cubicBezTo>
                  <a:lnTo>
                    <a:pt x="131390" y="37646"/>
                  </a:lnTo>
                  <a:cubicBezTo>
                    <a:pt x="137193" y="37646"/>
                    <a:pt x="137193" y="46277"/>
                    <a:pt x="131390" y="46277"/>
                  </a:cubicBezTo>
                  <a:close/>
                  <a:moveTo>
                    <a:pt x="115914" y="27230"/>
                  </a:moveTo>
                  <a:cubicBezTo>
                    <a:pt x="112938" y="27230"/>
                    <a:pt x="107433" y="27974"/>
                    <a:pt x="107433" y="22915"/>
                  </a:cubicBezTo>
                  <a:cubicBezTo>
                    <a:pt x="107433" y="17856"/>
                    <a:pt x="112938" y="18600"/>
                    <a:pt x="115914" y="18600"/>
                  </a:cubicBezTo>
                  <a:cubicBezTo>
                    <a:pt x="121569" y="18600"/>
                    <a:pt x="121569" y="27230"/>
                    <a:pt x="115914" y="27230"/>
                  </a:cubicBezTo>
                  <a:close/>
                  <a:moveTo>
                    <a:pt x="134812" y="27230"/>
                  </a:moveTo>
                  <a:cubicBezTo>
                    <a:pt x="131836" y="27230"/>
                    <a:pt x="126330" y="27974"/>
                    <a:pt x="126330" y="22915"/>
                  </a:cubicBezTo>
                  <a:cubicBezTo>
                    <a:pt x="126330" y="17856"/>
                    <a:pt x="131836" y="18600"/>
                    <a:pt x="134812" y="18600"/>
                  </a:cubicBezTo>
                  <a:cubicBezTo>
                    <a:pt x="140466" y="18600"/>
                    <a:pt x="140466" y="27230"/>
                    <a:pt x="134812" y="27230"/>
                  </a:cubicBezTo>
                  <a:close/>
                  <a:moveTo>
                    <a:pt x="31694" y="101481"/>
                  </a:moveTo>
                  <a:cubicBezTo>
                    <a:pt x="14136" y="101481"/>
                    <a:pt x="0" y="87196"/>
                    <a:pt x="0" y="69787"/>
                  </a:cubicBezTo>
                  <a:cubicBezTo>
                    <a:pt x="0" y="52228"/>
                    <a:pt x="14136" y="37944"/>
                    <a:pt x="31694" y="37944"/>
                  </a:cubicBezTo>
                  <a:cubicBezTo>
                    <a:pt x="49252" y="37944"/>
                    <a:pt x="63388" y="52228"/>
                    <a:pt x="63388" y="69787"/>
                  </a:cubicBezTo>
                  <a:cubicBezTo>
                    <a:pt x="63388" y="87196"/>
                    <a:pt x="49252" y="101481"/>
                    <a:pt x="31694" y="101481"/>
                  </a:cubicBezTo>
                  <a:close/>
                  <a:moveTo>
                    <a:pt x="31694" y="46574"/>
                  </a:moveTo>
                  <a:cubicBezTo>
                    <a:pt x="18897" y="46574"/>
                    <a:pt x="8630" y="56990"/>
                    <a:pt x="8630" y="69787"/>
                  </a:cubicBezTo>
                  <a:cubicBezTo>
                    <a:pt x="8630" y="82435"/>
                    <a:pt x="18897" y="92851"/>
                    <a:pt x="31694" y="92851"/>
                  </a:cubicBezTo>
                  <a:cubicBezTo>
                    <a:pt x="44491" y="92851"/>
                    <a:pt x="54758" y="82435"/>
                    <a:pt x="54758" y="69787"/>
                  </a:cubicBezTo>
                  <a:cubicBezTo>
                    <a:pt x="54758" y="56990"/>
                    <a:pt x="44491" y="46574"/>
                    <a:pt x="31694" y="46574"/>
                  </a:cubicBezTo>
                  <a:close/>
                  <a:moveTo>
                    <a:pt x="24403" y="65174"/>
                  </a:moveTo>
                  <a:cubicBezTo>
                    <a:pt x="21427" y="65174"/>
                    <a:pt x="15773" y="65918"/>
                    <a:pt x="15773" y="60859"/>
                  </a:cubicBezTo>
                  <a:cubicBezTo>
                    <a:pt x="15773" y="55800"/>
                    <a:pt x="21427" y="56544"/>
                    <a:pt x="24403" y="56544"/>
                  </a:cubicBezTo>
                  <a:cubicBezTo>
                    <a:pt x="30057" y="56544"/>
                    <a:pt x="30057" y="65174"/>
                    <a:pt x="24403" y="65174"/>
                  </a:cubicBezTo>
                  <a:close/>
                  <a:moveTo>
                    <a:pt x="43301" y="65174"/>
                  </a:moveTo>
                  <a:cubicBezTo>
                    <a:pt x="40325" y="65174"/>
                    <a:pt x="34670" y="65918"/>
                    <a:pt x="34670" y="60859"/>
                  </a:cubicBezTo>
                  <a:cubicBezTo>
                    <a:pt x="34670" y="55800"/>
                    <a:pt x="40325" y="56544"/>
                    <a:pt x="43301" y="56544"/>
                  </a:cubicBezTo>
                  <a:cubicBezTo>
                    <a:pt x="48955" y="56544"/>
                    <a:pt x="48955" y="65174"/>
                    <a:pt x="43301" y="65174"/>
                  </a:cubicBezTo>
                  <a:close/>
                  <a:moveTo>
                    <a:pt x="214866" y="101481"/>
                  </a:moveTo>
                  <a:cubicBezTo>
                    <a:pt x="197308" y="101481"/>
                    <a:pt x="183023" y="87196"/>
                    <a:pt x="183023" y="69787"/>
                  </a:cubicBezTo>
                  <a:cubicBezTo>
                    <a:pt x="183023" y="52228"/>
                    <a:pt x="197308" y="37944"/>
                    <a:pt x="214866" y="37944"/>
                  </a:cubicBezTo>
                  <a:cubicBezTo>
                    <a:pt x="232275" y="37944"/>
                    <a:pt x="246560" y="52228"/>
                    <a:pt x="246560" y="69787"/>
                  </a:cubicBezTo>
                  <a:cubicBezTo>
                    <a:pt x="246560" y="87196"/>
                    <a:pt x="232275" y="101481"/>
                    <a:pt x="214866" y="101481"/>
                  </a:cubicBezTo>
                  <a:close/>
                  <a:moveTo>
                    <a:pt x="214866" y="46574"/>
                  </a:moveTo>
                  <a:cubicBezTo>
                    <a:pt x="202069" y="46574"/>
                    <a:pt x="191653" y="56990"/>
                    <a:pt x="191653" y="69787"/>
                  </a:cubicBezTo>
                  <a:cubicBezTo>
                    <a:pt x="191653" y="82435"/>
                    <a:pt x="202069" y="92851"/>
                    <a:pt x="214866" y="92851"/>
                  </a:cubicBezTo>
                  <a:cubicBezTo>
                    <a:pt x="227514" y="92851"/>
                    <a:pt x="237930" y="82435"/>
                    <a:pt x="237930" y="69787"/>
                  </a:cubicBezTo>
                  <a:cubicBezTo>
                    <a:pt x="237930" y="56990"/>
                    <a:pt x="227514" y="46574"/>
                    <a:pt x="214866" y="46574"/>
                  </a:cubicBezTo>
                  <a:close/>
                  <a:moveTo>
                    <a:pt x="207426" y="65025"/>
                  </a:moveTo>
                  <a:cubicBezTo>
                    <a:pt x="204450" y="65025"/>
                    <a:pt x="198944" y="65918"/>
                    <a:pt x="198944" y="60710"/>
                  </a:cubicBezTo>
                  <a:cubicBezTo>
                    <a:pt x="198944" y="55651"/>
                    <a:pt x="204450" y="56395"/>
                    <a:pt x="207426" y="56395"/>
                  </a:cubicBezTo>
                  <a:cubicBezTo>
                    <a:pt x="213229" y="56395"/>
                    <a:pt x="213229" y="65025"/>
                    <a:pt x="207426" y="65025"/>
                  </a:cubicBezTo>
                  <a:close/>
                  <a:moveTo>
                    <a:pt x="226323" y="65025"/>
                  </a:moveTo>
                  <a:cubicBezTo>
                    <a:pt x="223347" y="65025"/>
                    <a:pt x="217842" y="65918"/>
                    <a:pt x="217842" y="60710"/>
                  </a:cubicBezTo>
                  <a:cubicBezTo>
                    <a:pt x="217842" y="55651"/>
                    <a:pt x="223347" y="56395"/>
                    <a:pt x="226323" y="56395"/>
                  </a:cubicBezTo>
                  <a:cubicBezTo>
                    <a:pt x="232127" y="56395"/>
                    <a:pt x="232127" y="65025"/>
                    <a:pt x="226323" y="65025"/>
                  </a:cubicBezTo>
                  <a:close/>
                  <a:moveTo>
                    <a:pt x="214866" y="83923"/>
                  </a:moveTo>
                  <a:cubicBezTo>
                    <a:pt x="207872" y="83923"/>
                    <a:pt x="201176" y="78268"/>
                    <a:pt x="205343" y="73953"/>
                  </a:cubicBezTo>
                  <a:cubicBezTo>
                    <a:pt x="207128" y="72316"/>
                    <a:pt x="209807" y="72316"/>
                    <a:pt x="211443" y="73953"/>
                  </a:cubicBezTo>
                  <a:cubicBezTo>
                    <a:pt x="213229" y="75739"/>
                    <a:pt x="216354" y="75739"/>
                    <a:pt x="218139" y="73953"/>
                  </a:cubicBezTo>
                  <a:cubicBezTo>
                    <a:pt x="222157" y="69936"/>
                    <a:pt x="228258" y="76036"/>
                    <a:pt x="224240" y="80054"/>
                  </a:cubicBezTo>
                  <a:cubicBezTo>
                    <a:pt x="221711" y="82583"/>
                    <a:pt x="218437" y="83923"/>
                    <a:pt x="214866" y="83923"/>
                  </a:cubicBezTo>
                  <a:close/>
                </a:path>
              </a:pathLst>
            </a:custGeom>
            <a:solidFill>
              <a:schemeClr val="bg1"/>
            </a:solidFill>
            <a:ln w="14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spTree>
    <p:extLst>
      <p:ext uri="{BB962C8B-B14F-4D97-AF65-F5344CB8AC3E}">
        <p14:creationId xmlns:p14="http://schemas.microsoft.com/office/powerpoint/2010/main" val="2622120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7BE12E-7AD5-18C5-8ACC-1D703939473F}"/>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3B721930-F0C7-1E63-9799-6B6D250D1298}"/>
              </a:ext>
            </a:extLst>
          </p:cNvPr>
          <p:cNvSpPr/>
          <p:nvPr/>
        </p:nvSpPr>
        <p:spPr>
          <a:xfrm>
            <a:off x="515938" y="123025"/>
            <a:ext cx="7494206" cy="597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b"/>
          <a:lstStyle/>
          <a:p>
            <a:r>
              <a:rPr lang="en-US" b="1" dirty="0">
                <a:solidFill>
                  <a:schemeClr val="tx1"/>
                </a:solidFill>
                <a:latin typeface="Moderat" pitchFamily="2" charset="77"/>
              </a:rPr>
              <a:t>Turning Digital Investment into Frontline Execution</a:t>
            </a:r>
          </a:p>
        </p:txBody>
      </p:sp>
      <p:sp>
        <p:nvSpPr>
          <p:cNvPr id="4" name="Text 1">
            <a:extLst>
              <a:ext uri="{FF2B5EF4-FFF2-40B4-BE49-F238E27FC236}">
                <a16:creationId xmlns:a16="http://schemas.microsoft.com/office/drawing/2014/main" id="{2595D22C-3AD6-9EA8-7FBC-30F9944159F7}"/>
              </a:ext>
            </a:extLst>
          </p:cNvPr>
          <p:cNvSpPr/>
          <p:nvPr/>
        </p:nvSpPr>
        <p:spPr>
          <a:xfrm>
            <a:off x="515938" y="1068714"/>
            <a:ext cx="11223390" cy="214802"/>
          </a:xfrm>
          <a:prstGeom prst="rect">
            <a:avLst/>
          </a:prstGeom>
          <a:noFill/>
          <a:ln/>
        </p:spPr>
        <p:txBody>
          <a:bodyPr wrap="square" lIns="0" tIns="0" rIns="0" bIns="0" rtlCol="0" anchor="t">
            <a:spAutoFit/>
          </a:bodyPr>
          <a:lstStyle/>
          <a:p>
            <a:pPr defTabSz="571500">
              <a:lnSpc>
                <a:spcPts val="1563"/>
              </a:lnSpc>
            </a:pPr>
            <a:r>
              <a:rPr lang="en-US" sz="1600" b="1" dirty="0">
                <a:solidFill>
                  <a:schemeClr val="accent1"/>
                </a:solidFill>
                <a:latin typeface="Moderat" pitchFamily="2" charset="77"/>
                <a:ea typeface="Source Serif 4" pitchFamily="34" charset="-122"/>
              </a:rPr>
              <a:t>Using </a:t>
            </a:r>
            <a:r>
              <a:rPr lang="en-US" sz="1600" b="1" dirty="0" err="1">
                <a:solidFill>
                  <a:schemeClr val="accent1"/>
                </a:solidFill>
                <a:latin typeface="Moderat" pitchFamily="2" charset="77"/>
                <a:ea typeface="Source Serif 4" pitchFamily="34" charset="-122"/>
              </a:rPr>
              <a:t>GranuLearn</a:t>
            </a:r>
            <a:r>
              <a:rPr lang="en-US" sz="1600" b="1" dirty="0">
                <a:solidFill>
                  <a:schemeClr val="accent1"/>
                </a:solidFill>
                <a:latin typeface="Moderat" pitchFamily="2" charset="77"/>
                <a:ea typeface="Source Serif 4" pitchFamily="34" charset="-122"/>
              </a:rPr>
              <a:t>® to Build Last-Mile Adoption at Scale</a:t>
            </a:r>
          </a:p>
        </p:txBody>
      </p:sp>
      <p:sp>
        <p:nvSpPr>
          <p:cNvPr id="3" name="Text 4">
            <a:extLst>
              <a:ext uri="{FF2B5EF4-FFF2-40B4-BE49-F238E27FC236}">
                <a16:creationId xmlns:a16="http://schemas.microsoft.com/office/drawing/2014/main" id="{D6965970-E23A-1E44-4D4B-A1CA4A9CA594}"/>
              </a:ext>
            </a:extLst>
          </p:cNvPr>
          <p:cNvSpPr/>
          <p:nvPr/>
        </p:nvSpPr>
        <p:spPr>
          <a:xfrm>
            <a:off x="530181" y="1399089"/>
            <a:ext cx="2965494" cy="207694"/>
          </a:xfrm>
          <a:prstGeom prst="rect">
            <a:avLst/>
          </a:prstGeom>
          <a:noFill/>
          <a:ln/>
        </p:spPr>
        <p:txBody>
          <a:bodyPr wrap="square" lIns="0" tIns="0" rIns="0" bIns="0" rtlCol="0" anchor="t">
            <a:spAutoFit/>
          </a:bodyPr>
          <a:lstStyle/>
          <a:p>
            <a:r>
              <a:rPr lang="en-US" sz="1600" b="1" dirty="0">
                <a:solidFill>
                  <a:schemeClr val="accent6"/>
                </a:solidFill>
                <a:latin typeface="Moderat" pitchFamily="2" charset="77"/>
                <a:ea typeface="Raleway" pitchFamily="34" charset="-122"/>
                <a:cs typeface="Raleway" pitchFamily="34" charset="-120"/>
              </a:rPr>
              <a:t>Business challenge</a:t>
            </a:r>
          </a:p>
        </p:txBody>
      </p:sp>
      <p:sp>
        <p:nvSpPr>
          <p:cNvPr id="7" name="Text 4">
            <a:extLst>
              <a:ext uri="{FF2B5EF4-FFF2-40B4-BE49-F238E27FC236}">
                <a16:creationId xmlns:a16="http://schemas.microsoft.com/office/drawing/2014/main" id="{8B0F6B34-E841-D32D-F90D-BF912198CE8A}"/>
              </a:ext>
            </a:extLst>
          </p:cNvPr>
          <p:cNvSpPr/>
          <p:nvPr/>
        </p:nvSpPr>
        <p:spPr>
          <a:xfrm>
            <a:off x="7852789" y="1399089"/>
            <a:ext cx="2965494" cy="207694"/>
          </a:xfrm>
          <a:prstGeom prst="rect">
            <a:avLst/>
          </a:prstGeom>
          <a:noFill/>
          <a:ln/>
        </p:spPr>
        <p:txBody>
          <a:bodyPr wrap="square" lIns="0" tIns="0" rIns="0" bIns="0" rtlCol="0" anchor="t">
            <a:spAutoFit/>
          </a:bodyPr>
          <a:lstStyle/>
          <a:p>
            <a:r>
              <a:rPr lang="en-US" sz="1600" b="1" dirty="0">
                <a:solidFill>
                  <a:schemeClr val="accent6"/>
                </a:solidFill>
                <a:latin typeface="Moderat" pitchFamily="2" charset="77"/>
                <a:ea typeface="Raleway" pitchFamily="34" charset="-122"/>
                <a:cs typeface="Raleway" pitchFamily="34" charset="-120"/>
              </a:rPr>
              <a:t>Business impact</a:t>
            </a:r>
          </a:p>
        </p:txBody>
      </p:sp>
      <p:sp>
        <p:nvSpPr>
          <p:cNvPr id="8" name="Rectangle 7">
            <a:extLst>
              <a:ext uri="{FF2B5EF4-FFF2-40B4-BE49-F238E27FC236}">
                <a16:creationId xmlns:a16="http://schemas.microsoft.com/office/drawing/2014/main" id="{685776C9-23D9-2BDC-2A90-581DC79B19B2}"/>
              </a:ext>
            </a:extLst>
          </p:cNvPr>
          <p:cNvSpPr/>
          <p:nvPr/>
        </p:nvSpPr>
        <p:spPr>
          <a:xfrm>
            <a:off x="533400" y="1654681"/>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Rectangle 19">
            <a:extLst>
              <a:ext uri="{FF2B5EF4-FFF2-40B4-BE49-F238E27FC236}">
                <a16:creationId xmlns:a16="http://schemas.microsoft.com/office/drawing/2014/main" id="{3F97407D-098D-2AE8-9099-DF537B22DFF5}"/>
              </a:ext>
            </a:extLst>
          </p:cNvPr>
          <p:cNvSpPr/>
          <p:nvPr/>
        </p:nvSpPr>
        <p:spPr>
          <a:xfrm>
            <a:off x="533400" y="2887299"/>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Rectangle 24">
            <a:extLst>
              <a:ext uri="{FF2B5EF4-FFF2-40B4-BE49-F238E27FC236}">
                <a16:creationId xmlns:a16="http://schemas.microsoft.com/office/drawing/2014/main" id="{F656F128-AFED-BDC3-CB49-CFD7F1CC9422}"/>
              </a:ext>
            </a:extLst>
          </p:cNvPr>
          <p:cNvSpPr/>
          <p:nvPr/>
        </p:nvSpPr>
        <p:spPr>
          <a:xfrm>
            <a:off x="533400" y="4119916"/>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Rectangle: Rounded Corners 25">
            <a:extLst>
              <a:ext uri="{FF2B5EF4-FFF2-40B4-BE49-F238E27FC236}">
                <a16:creationId xmlns:a16="http://schemas.microsoft.com/office/drawing/2014/main" id="{92DA2A36-9DBF-0D05-2173-165096C93357}"/>
              </a:ext>
            </a:extLst>
          </p:cNvPr>
          <p:cNvSpPr/>
          <p:nvPr/>
        </p:nvSpPr>
        <p:spPr>
          <a:xfrm>
            <a:off x="3920004" y="1536593"/>
            <a:ext cx="3823272" cy="3730732"/>
          </a:xfrm>
          <a:prstGeom prst="roundRect">
            <a:avLst>
              <a:gd name="adj" fmla="val 2478"/>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7" name="Text 8">
            <a:extLst>
              <a:ext uri="{FF2B5EF4-FFF2-40B4-BE49-F238E27FC236}">
                <a16:creationId xmlns:a16="http://schemas.microsoft.com/office/drawing/2014/main" id="{8797330C-4E54-C010-7391-F0CB228730CA}"/>
              </a:ext>
            </a:extLst>
          </p:cNvPr>
          <p:cNvSpPr/>
          <p:nvPr/>
        </p:nvSpPr>
        <p:spPr>
          <a:xfrm>
            <a:off x="723900" y="2012940"/>
            <a:ext cx="2914650" cy="430887"/>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Rapid GCC scale-out created </a:t>
            </a:r>
            <a:r>
              <a:rPr lang="en-US" sz="1400" b="1" dirty="0">
                <a:solidFill>
                  <a:schemeClr val="bg2">
                    <a:lumMod val="25000"/>
                  </a:schemeClr>
                </a:solidFill>
                <a:latin typeface="Moderat" panose="020B0604020202020204"/>
                <a:ea typeface="Lato" pitchFamily="34" charset="-122"/>
                <a:cs typeface="Lato" pitchFamily="34" charset="-120"/>
              </a:rPr>
              <a:t>long ramp-up times for mid-career hires</a:t>
            </a:r>
          </a:p>
        </p:txBody>
      </p:sp>
      <p:sp>
        <p:nvSpPr>
          <p:cNvPr id="28" name="Text 8">
            <a:extLst>
              <a:ext uri="{FF2B5EF4-FFF2-40B4-BE49-F238E27FC236}">
                <a16:creationId xmlns:a16="http://schemas.microsoft.com/office/drawing/2014/main" id="{8123C6D9-FACB-BE2B-C530-C5AF1E7D1F79}"/>
              </a:ext>
            </a:extLst>
          </p:cNvPr>
          <p:cNvSpPr/>
          <p:nvPr/>
        </p:nvSpPr>
        <p:spPr>
          <a:xfrm>
            <a:off x="723900" y="3045505"/>
            <a:ext cx="2914650" cy="830997"/>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Manual workarounds persisted across sales, service, and field supervision</a:t>
            </a:r>
          </a:p>
        </p:txBody>
      </p:sp>
      <p:sp>
        <p:nvSpPr>
          <p:cNvPr id="29" name="Text 8">
            <a:extLst>
              <a:ext uri="{FF2B5EF4-FFF2-40B4-BE49-F238E27FC236}">
                <a16:creationId xmlns:a16="http://schemas.microsoft.com/office/drawing/2014/main" id="{28AA23FC-D42C-9826-18F8-25B40CFFFE64}"/>
              </a:ext>
            </a:extLst>
          </p:cNvPr>
          <p:cNvSpPr/>
          <p:nvPr/>
        </p:nvSpPr>
        <p:spPr>
          <a:xfrm>
            <a:off x="723899" y="4478176"/>
            <a:ext cx="2949003" cy="430887"/>
          </a:xfrm>
          <a:prstGeom prst="rect">
            <a:avLst/>
          </a:prstGeom>
          <a:noFill/>
          <a:ln/>
        </p:spPr>
        <p:txBody>
          <a:bodyPr wrap="square" lIns="0" tIns="0" rIns="0" bIns="0" rtlCol="0" anchor="ctr">
            <a:spAutoFit/>
          </a:bodyPr>
          <a:lstStyle/>
          <a:p>
            <a:pPr>
              <a:spcBef>
                <a:spcPts val="400"/>
              </a:spcBef>
              <a:spcAft>
                <a:spcPts val="400"/>
              </a:spcAft>
            </a:pPr>
            <a:r>
              <a:rPr lang="en-US" sz="1400" b="1" dirty="0">
                <a:solidFill>
                  <a:schemeClr val="bg2">
                    <a:lumMod val="25000"/>
                  </a:schemeClr>
                </a:solidFill>
                <a:latin typeface="Moderat" panose="020B0604020202020204"/>
                <a:ea typeface="Lato" pitchFamily="34" charset="-122"/>
                <a:cs typeface="Lato" pitchFamily="34" charset="-120"/>
              </a:rPr>
              <a:t>Managers lacked real-time visibility due to incomplete or delayed data</a:t>
            </a:r>
            <a:endParaRPr lang="en-US" sz="1400" dirty="0">
              <a:solidFill>
                <a:schemeClr val="bg2">
                  <a:lumMod val="25000"/>
                </a:schemeClr>
              </a:solidFill>
              <a:latin typeface="Moderat" panose="020B0604020202020204"/>
              <a:ea typeface="Lato" pitchFamily="34" charset="-122"/>
              <a:cs typeface="Lato" pitchFamily="34" charset="-120"/>
            </a:endParaRPr>
          </a:p>
        </p:txBody>
      </p:sp>
      <p:sp>
        <p:nvSpPr>
          <p:cNvPr id="37" name="Rectangle 36">
            <a:extLst>
              <a:ext uri="{FF2B5EF4-FFF2-40B4-BE49-F238E27FC236}">
                <a16:creationId xmlns:a16="http://schemas.microsoft.com/office/drawing/2014/main" id="{AB847823-A293-DFEC-A024-8191876A1E34}"/>
              </a:ext>
            </a:extLst>
          </p:cNvPr>
          <p:cNvSpPr/>
          <p:nvPr/>
        </p:nvSpPr>
        <p:spPr>
          <a:xfrm>
            <a:off x="533400" y="1654681"/>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40" name="Rectangle 39">
            <a:extLst>
              <a:ext uri="{FF2B5EF4-FFF2-40B4-BE49-F238E27FC236}">
                <a16:creationId xmlns:a16="http://schemas.microsoft.com/office/drawing/2014/main" id="{A1D7C428-258E-2272-A4AF-EACE03A30FB9}"/>
              </a:ext>
            </a:extLst>
          </p:cNvPr>
          <p:cNvSpPr/>
          <p:nvPr/>
        </p:nvSpPr>
        <p:spPr>
          <a:xfrm rot="10800000">
            <a:off x="533400" y="2887299"/>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42" name="Rectangle 41">
            <a:extLst>
              <a:ext uri="{FF2B5EF4-FFF2-40B4-BE49-F238E27FC236}">
                <a16:creationId xmlns:a16="http://schemas.microsoft.com/office/drawing/2014/main" id="{81DDDA36-5125-AC52-E74A-2675CE0D820F}"/>
              </a:ext>
            </a:extLst>
          </p:cNvPr>
          <p:cNvSpPr/>
          <p:nvPr/>
        </p:nvSpPr>
        <p:spPr>
          <a:xfrm>
            <a:off x="533400" y="4119916"/>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43" name="Text 5">
            <a:extLst>
              <a:ext uri="{FF2B5EF4-FFF2-40B4-BE49-F238E27FC236}">
                <a16:creationId xmlns:a16="http://schemas.microsoft.com/office/drawing/2014/main" id="{9C7FB080-2F27-58D3-A92C-2911150D562F}"/>
              </a:ext>
            </a:extLst>
          </p:cNvPr>
          <p:cNvSpPr/>
          <p:nvPr/>
        </p:nvSpPr>
        <p:spPr>
          <a:xfrm>
            <a:off x="4083049" y="1766489"/>
            <a:ext cx="3413126" cy="2842692"/>
          </a:xfrm>
          <a:prstGeom prst="rect">
            <a:avLst/>
          </a:prstGeom>
          <a:noFill/>
          <a:ln/>
        </p:spPr>
        <p:txBody>
          <a:bodyPr wrap="square" lIns="0" tIns="36000" rIns="90000" bIns="36000" rtlCol="0" anchor="t">
            <a:spAutoFit/>
          </a:bodyPr>
          <a:lstStyle/>
          <a:p>
            <a:pPr defTabSz="571500">
              <a:spcBef>
                <a:spcPts val="600"/>
              </a:spcBef>
              <a:spcAft>
                <a:spcPts val="600"/>
              </a:spcAft>
              <a:buClr>
                <a:schemeClr val="accent5"/>
              </a:buClr>
              <a:buSzPct val="100000"/>
            </a:pPr>
            <a:r>
              <a:rPr lang="en-US" sz="1400" dirty="0">
                <a:solidFill>
                  <a:srgbClr val="4A4A45"/>
                </a:solidFill>
                <a:latin typeface="Moderat" pitchFamily="2" charset="77"/>
              </a:rPr>
              <a:t>Positioned </a:t>
            </a:r>
            <a:r>
              <a:rPr lang="en-US" sz="1400" dirty="0" err="1">
                <a:solidFill>
                  <a:srgbClr val="4A4A45"/>
                </a:solidFill>
                <a:latin typeface="Moderat" pitchFamily="2" charset="77"/>
              </a:rPr>
              <a:t>GranuLearn</a:t>
            </a:r>
            <a:r>
              <a:rPr lang="en-US" sz="1400" dirty="0">
                <a:solidFill>
                  <a:srgbClr val="4A4A45"/>
                </a:solidFill>
                <a:latin typeface="Moderat" pitchFamily="2" charset="77"/>
              </a:rPr>
              <a:t>® as a frontline capability engine, not a content platform:</a:t>
            </a:r>
          </a:p>
          <a:p>
            <a:pPr marL="285750" indent="-2857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Centralized, mobile-first LXP for sales and field roles</a:t>
            </a:r>
          </a:p>
          <a:p>
            <a:pPr marL="285750" indent="-2857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Role-specific, task-aligned learning pathways tied to real workflows</a:t>
            </a:r>
          </a:p>
          <a:p>
            <a:pPr marL="285750" indent="-2857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In-flow nudges integrated into CRM and field systems</a:t>
            </a:r>
          </a:p>
          <a:p>
            <a:pPr marL="285750" indent="-2857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Pilot → industrialize → scale model led by the GCC</a:t>
            </a:r>
          </a:p>
        </p:txBody>
      </p:sp>
      <p:sp>
        <p:nvSpPr>
          <p:cNvPr id="79" name="Rectangle: Rounded Corners 78">
            <a:extLst>
              <a:ext uri="{FF2B5EF4-FFF2-40B4-BE49-F238E27FC236}">
                <a16:creationId xmlns:a16="http://schemas.microsoft.com/office/drawing/2014/main" id="{6BD42775-ADDF-7F6F-60BC-701EE4553B63}"/>
              </a:ext>
            </a:extLst>
          </p:cNvPr>
          <p:cNvSpPr/>
          <p:nvPr/>
        </p:nvSpPr>
        <p:spPr>
          <a:xfrm>
            <a:off x="4083049" y="1414467"/>
            <a:ext cx="1955801" cy="253358"/>
          </a:xfrm>
          <a:prstGeom prst="roundRect">
            <a:avLst>
              <a:gd name="adj" fmla="val 2618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36000" bIns="36000" rtlCol="0" anchor="ctr"/>
          <a:lstStyle/>
          <a:p>
            <a:r>
              <a:rPr lang="en-US" sz="1600" b="1" dirty="0">
                <a:latin typeface="Moderat" pitchFamily="2" charset="77"/>
              </a:rPr>
              <a:t>Intervention</a:t>
            </a:r>
          </a:p>
        </p:txBody>
      </p:sp>
      <p:sp>
        <p:nvSpPr>
          <p:cNvPr id="80" name="Rectangle: Rounded Corners 79">
            <a:extLst>
              <a:ext uri="{FF2B5EF4-FFF2-40B4-BE49-F238E27FC236}">
                <a16:creationId xmlns:a16="http://schemas.microsoft.com/office/drawing/2014/main" id="{084121C0-7B80-AC3B-A494-C6C460B95AD7}"/>
              </a:ext>
            </a:extLst>
          </p:cNvPr>
          <p:cNvSpPr/>
          <p:nvPr/>
        </p:nvSpPr>
        <p:spPr>
          <a:xfrm>
            <a:off x="533400" y="5391150"/>
            <a:ext cx="11131831" cy="594362"/>
          </a:xfrm>
          <a:prstGeom prst="roundRect">
            <a:avLst>
              <a:gd name="adj" fmla="val 181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36000" bIns="36000" rtlCol="0" anchor="ctr"/>
          <a:lstStyle/>
          <a:p>
            <a:r>
              <a:rPr lang="en-US" sz="1400" b="1" dirty="0" err="1">
                <a:latin typeface="Moderat" pitchFamily="2" charset="77"/>
              </a:rPr>
              <a:t>GranuLearn</a:t>
            </a:r>
            <a:r>
              <a:rPr lang="en-US" sz="1400" b="1" dirty="0">
                <a:latin typeface="Moderat" pitchFamily="2" charset="77"/>
              </a:rPr>
              <a:t>® enables GCCs to convert digital tools into consistent frontline execution, faster decisions, and measurable commercial impact.</a:t>
            </a:r>
          </a:p>
        </p:txBody>
      </p:sp>
      <p:sp>
        <p:nvSpPr>
          <p:cNvPr id="9" name="Rectangle: Rounded Corners 40">
            <a:extLst>
              <a:ext uri="{FF2B5EF4-FFF2-40B4-BE49-F238E27FC236}">
                <a16:creationId xmlns:a16="http://schemas.microsoft.com/office/drawing/2014/main" id="{20A9B6FD-79AA-5396-C731-12825451E262}"/>
              </a:ext>
            </a:extLst>
          </p:cNvPr>
          <p:cNvSpPr/>
          <p:nvPr/>
        </p:nvSpPr>
        <p:spPr>
          <a:xfrm>
            <a:off x="7852788" y="1772663"/>
            <a:ext cx="3823271" cy="653530"/>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lvl="0" eaLnBrk="0" fontAlgn="base" hangingPunct="0">
              <a:spcBef>
                <a:spcPct val="0"/>
              </a:spcBef>
              <a:spcAft>
                <a:spcPct val="0"/>
              </a:spcAft>
            </a:pPr>
            <a:r>
              <a:rPr lang="en-US" altLang="en-US" sz="1400" b="1" dirty="0">
                <a:solidFill>
                  <a:srgbClr val="000000"/>
                </a:solidFill>
                <a:latin typeface="Arial" panose="020B0604020202020204" pitchFamily="34" charset="0"/>
              </a:rPr>
              <a:t>25–30% reduction</a:t>
            </a:r>
            <a:r>
              <a:rPr lang="en-US" altLang="en-US" sz="1400" dirty="0">
                <a:solidFill>
                  <a:srgbClr val="000000"/>
                </a:solidFill>
                <a:latin typeface="-webkit-standard"/>
              </a:rPr>
              <a:t> in manual errors within 6 months</a:t>
            </a:r>
            <a:endParaRPr lang="en-US" altLang="en-US" sz="1400" dirty="0">
              <a:solidFill>
                <a:schemeClr val="tx1"/>
              </a:solidFill>
              <a:latin typeface="Arial" panose="020B0604020202020204" pitchFamily="34" charset="0"/>
            </a:endParaRPr>
          </a:p>
        </p:txBody>
      </p:sp>
      <p:sp>
        <p:nvSpPr>
          <p:cNvPr id="10" name="Rectangle: Rounded Corners 50">
            <a:extLst>
              <a:ext uri="{FF2B5EF4-FFF2-40B4-BE49-F238E27FC236}">
                <a16:creationId xmlns:a16="http://schemas.microsoft.com/office/drawing/2014/main" id="{0BB79DC0-072F-BC41-031E-17D83733562D}"/>
              </a:ext>
            </a:extLst>
          </p:cNvPr>
          <p:cNvSpPr/>
          <p:nvPr/>
        </p:nvSpPr>
        <p:spPr>
          <a:xfrm>
            <a:off x="7852788" y="2482946"/>
            <a:ext cx="3823271" cy="653530"/>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lvl="0" eaLnBrk="0" fontAlgn="base" hangingPunct="0">
              <a:spcBef>
                <a:spcPct val="0"/>
              </a:spcBef>
              <a:spcAft>
                <a:spcPct val="0"/>
              </a:spcAft>
            </a:pPr>
            <a:r>
              <a:rPr lang="en-US" altLang="en-US" sz="1400" b="1" dirty="0">
                <a:solidFill>
                  <a:srgbClr val="000000"/>
                </a:solidFill>
                <a:latin typeface="Arial" panose="020B0604020202020204" pitchFamily="34" charset="0"/>
              </a:rPr>
              <a:t>40% improvement</a:t>
            </a:r>
            <a:r>
              <a:rPr lang="en-US" altLang="en-US" sz="1400" dirty="0">
                <a:solidFill>
                  <a:srgbClr val="000000"/>
                </a:solidFill>
                <a:latin typeface="-webkit-standard"/>
              </a:rPr>
              <a:t> in adoption of core digital workflows</a:t>
            </a:r>
            <a:endParaRPr lang="en-US" altLang="en-US" sz="1400" dirty="0">
              <a:solidFill>
                <a:schemeClr val="tx1"/>
              </a:solidFill>
              <a:latin typeface="Arial" panose="020B0604020202020204" pitchFamily="34" charset="0"/>
            </a:endParaRPr>
          </a:p>
        </p:txBody>
      </p:sp>
      <p:sp>
        <p:nvSpPr>
          <p:cNvPr id="11" name="Rectangle: Rounded Corners 55">
            <a:extLst>
              <a:ext uri="{FF2B5EF4-FFF2-40B4-BE49-F238E27FC236}">
                <a16:creationId xmlns:a16="http://schemas.microsoft.com/office/drawing/2014/main" id="{4AC08CBB-5DB7-B59A-B8B1-72B2916CCE94}"/>
              </a:ext>
            </a:extLst>
          </p:cNvPr>
          <p:cNvSpPr/>
          <p:nvPr/>
        </p:nvSpPr>
        <p:spPr>
          <a:xfrm>
            <a:off x="7852788" y="3193229"/>
            <a:ext cx="3823271" cy="653530"/>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lvl="0" eaLnBrk="0" fontAlgn="base" hangingPunct="0">
              <a:spcBef>
                <a:spcPct val="0"/>
              </a:spcBef>
              <a:spcAft>
                <a:spcPct val="0"/>
              </a:spcAft>
            </a:pPr>
            <a:r>
              <a:rPr lang="en-US" altLang="en-US" sz="1400" b="1" dirty="0">
                <a:solidFill>
                  <a:srgbClr val="000000"/>
                </a:solidFill>
                <a:latin typeface="Arial" panose="020B0604020202020204" pitchFamily="34" charset="0"/>
              </a:rPr>
              <a:t>35% faster</a:t>
            </a:r>
            <a:r>
              <a:rPr lang="en-US" altLang="en-US" sz="1400" dirty="0">
                <a:solidFill>
                  <a:srgbClr val="000000"/>
                </a:solidFill>
                <a:latin typeface="-webkit-standard"/>
              </a:rPr>
              <a:t> decision cycles through improved data usage</a:t>
            </a:r>
            <a:endParaRPr lang="en-US" altLang="en-US" sz="1400" dirty="0">
              <a:solidFill>
                <a:schemeClr val="tx1"/>
              </a:solidFill>
              <a:latin typeface="Arial" panose="020B0604020202020204" pitchFamily="34" charset="0"/>
            </a:endParaRPr>
          </a:p>
        </p:txBody>
      </p:sp>
      <p:sp>
        <p:nvSpPr>
          <p:cNvPr id="12" name="Rectangle: Rounded Corners 60">
            <a:extLst>
              <a:ext uri="{FF2B5EF4-FFF2-40B4-BE49-F238E27FC236}">
                <a16:creationId xmlns:a16="http://schemas.microsoft.com/office/drawing/2014/main" id="{FD6D65BA-9FA7-B1FC-77B8-37B74F8FA14B}"/>
              </a:ext>
            </a:extLst>
          </p:cNvPr>
          <p:cNvSpPr/>
          <p:nvPr/>
        </p:nvSpPr>
        <p:spPr>
          <a:xfrm>
            <a:off x="7852788" y="3903511"/>
            <a:ext cx="3823271" cy="653530"/>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lvl="0" eaLnBrk="0" fontAlgn="base" hangingPunct="0">
              <a:spcBef>
                <a:spcPct val="0"/>
              </a:spcBef>
              <a:spcAft>
                <a:spcPct val="0"/>
              </a:spcAft>
            </a:pPr>
            <a:r>
              <a:rPr lang="en-US" altLang="en-US" sz="1400" b="1" dirty="0">
                <a:solidFill>
                  <a:srgbClr val="000000"/>
                </a:solidFill>
                <a:latin typeface="Arial" panose="020B0604020202020204" pitchFamily="34" charset="0"/>
              </a:rPr>
              <a:t>30–40% improvement</a:t>
            </a:r>
            <a:r>
              <a:rPr lang="en-US" altLang="en-US" sz="1400" dirty="0">
                <a:solidFill>
                  <a:srgbClr val="000000"/>
                </a:solidFill>
                <a:latin typeface="-webkit-standard"/>
              </a:rPr>
              <a:t> in frontline time-to-productivity</a:t>
            </a:r>
            <a:endParaRPr lang="en-US" altLang="en-US" sz="1400" dirty="0">
              <a:solidFill>
                <a:schemeClr val="tx1"/>
              </a:solidFill>
              <a:latin typeface="Arial" panose="020B0604020202020204" pitchFamily="34" charset="0"/>
            </a:endParaRPr>
          </a:p>
        </p:txBody>
      </p:sp>
      <p:sp>
        <p:nvSpPr>
          <p:cNvPr id="13" name="Rectangle: Rounded Corners 65">
            <a:extLst>
              <a:ext uri="{FF2B5EF4-FFF2-40B4-BE49-F238E27FC236}">
                <a16:creationId xmlns:a16="http://schemas.microsoft.com/office/drawing/2014/main" id="{C6811DA0-5C89-A718-BCD5-125D19B89705}"/>
              </a:ext>
            </a:extLst>
          </p:cNvPr>
          <p:cNvSpPr/>
          <p:nvPr/>
        </p:nvSpPr>
        <p:spPr>
          <a:xfrm>
            <a:off x="7852789" y="4613794"/>
            <a:ext cx="3823273" cy="653530"/>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lvl="0" eaLnBrk="0" fontAlgn="base" hangingPunct="0">
              <a:spcBef>
                <a:spcPct val="0"/>
              </a:spcBef>
              <a:spcAft>
                <a:spcPct val="0"/>
              </a:spcAft>
            </a:pPr>
            <a:r>
              <a:rPr lang="en-US" altLang="en-US" sz="1400" b="1" dirty="0">
                <a:solidFill>
                  <a:srgbClr val="000000"/>
                </a:solidFill>
                <a:latin typeface="Arial" panose="020B0604020202020204" pitchFamily="34" charset="0"/>
              </a:rPr>
              <a:t>10–18% increase</a:t>
            </a:r>
            <a:r>
              <a:rPr lang="en-US" altLang="en-US" sz="1400" dirty="0">
                <a:solidFill>
                  <a:srgbClr val="000000"/>
                </a:solidFill>
                <a:latin typeface="-webkit-standard"/>
              </a:rPr>
              <a:t> in conversion ratios in key markets</a:t>
            </a:r>
            <a:endParaRPr lang="en-US" altLang="en-US" sz="1400" dirty="0">
              <a:solidFill>
                <a:schemeClr val="tx1"/>
              </a:solidFill>
              <a:latin typeface="Arial" panose="020B0604020202020204" pitchFamily="34" charset="0"/>
            </a:endParaRPr>
          </a:p>
        </p:txBody>
      </p:sp>
      <p:grpSp>
        <p:nvGrpSpPr>
          <p:cNvPr id="17" name="Group 16">
            <a:extLst>
              <a:ext uri="{FF2B5EF4-FFF2-40B4-BE49-F238E27FC236}">
                <a16:creationId xmlns:a16="http://schemas.microsoft.com/office/drawing/2014/main" id="{787DBCFC-7C66-5BA7-FC73-B5D492F83407}"/>
              </a:ext>
            </a:extLst>
          </p:cNvPr>
          <p:cNvGrpSpPr>
            <a:grpSpLocks noChangeAspect="1"/>
          </p:cNvGrpSpPr>
          <p:nvPr/>
        </p:nvGrpSpPr>
        <p:grpSpPr>
          <a:xfrm>
            <a:off x="7957391" y="1891610"/>
            <a:ext cx="415636" cy="415636"/>
            <a:chOff x="7936609" y="2000740"/>
            <a:chExt cx="457200" cy="457200"/>
          </a:xfrm>
        </p:grpSpPr>
        <p:sp>
          <p:nvSpPr>
            <p:cNvPr id="18" name="Oval 17">
              <a:extLst>
                <a:ext uri="{FF2B5EF4-FFF2-40B4-BE49-F238E27FC236}">
                  <a16:creationId xmlns:a16="http://schemas.microsoft.com/office/drawing/2014/main" id="{C48511E0-69C6-36CF-60AF-B6DBE14B04A8}"/>
                </a:ext>
              </a:extLst>
            </p:cNvPr>
            <p:cNvSpPr>
              <a:spLocks noChangeAspect="1"/>
            </p:cNvSpPr>
            <p:nvPr/>
          </p:nvSpPr>
          <p:spPr>
            <a:xfrm>
              <a:off x="7936609" y="2000740"/>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grpSp>
          <p:nvGrpSpPr>
            <p:cNvPr id="19" name="Group 18">
              <a:extLst>
                <a:ext uri="{FF2B5EF4-FFF2-40B4-BE49-F238E27FC236}">
                  <a16:creationId xmlns:a16="http://schemas.microsoft.com/office/drawing/2014/main" id="{70ABB91B-0AAD-8A01-7BEA-CE5BBACE6D7E}"/>
                </a:ext>
              </a:extLst>
            </p:cNvPr>
            <p:cNvGrpSpPr>
              <a:grpSpLocks noChangeAspect="1"/>
            </p:cNvGrpSpPr>
            <p:nvPr/>
          </p:nvGrpSpPr>
          <p:grpSpPr>
            <a:xfrm>
              <a:off x="8038210" y="2083291"/>
              <a:ext cx="253999" cy="253999"/>
              <a:chOff x="923925" y="577850"/>
              <a:chExt cx="253999" cy="253999"/>
            </a:xfrm>
            <a:solidFill>
              <a:schemeClr val="bg1"/>
            </a:solidFill>
          </p:grpSpPr>
          <p:sp>
            <p:nvSpPr>
              <p:cNvPr id="21" name="Freeform: Shape 157">
                <a:extLst>
                  <a:ext uri="{FF2B5EF4-FFF2-40B4-BE49-F238E27FC236}">
                    <a16:creationId xmlns:a16="http://schemas.microsoft.com/office/drawing/2014/main" id="{F036A320-5089-6C65-651A-8F14F6AD7130}"/>
                  </a:ext>
                </a:extLst>
              </p:cNvPr>
              <p:cNvSpPr/>
              <p:nvPr/>
            </p:nvSpPr>
            <p:spPr>
              <a:xfrm>
                <a:off x="1103903" y="653326"/>
                <a:ext cx="34873" cy="73916"/>
              </a:xfrm>
              <a:custGeom>
                <a:avLst/>
                <a:gdLst>
                  <a:gd name="csX0" fmla="*/ 26680 w 34873"/>
                  <a:gd name="csY0" fmla="*/ 63416 h 73916"/>
                  <a:gd name="csX1" fmla="*/ 26434 w 34873"/>
                  <a:gd name="csY1" fmla="*/ 69492 h 73916"/>
                  <a:gd name="csX2" fmla="*/ 30191 w 34873"/>
                  <a:gd name="csY2" fmla="*/ 73904 h 73916"/>
                  <a:gd name="csX3" fmla="*/ 30522 w 34873"/>
                  <a:gd name="csY3" fmla="*/ 73916 h 73916"/>
                  <a:gd name="csX4" fmla="*/ 34603 w 34873"/>
                  <a:gd name="csY4" fmla="*/ 70147 h 73916"/>
                  <a:gd name="csX5" fmla="*/ 34873 w 34873"/>
                  <a:gd name="csY5" fmla="*/ 63416 h 73916"/>
                  <a:gd name="csX6" fmla="*/ 6839 w 34873"/>
                  <a:gd name="csY6" fmla="*/ 1051 h 73916"/>
                  <a:gd name="csX7" fmla="*/ 1054 w 34873"/>
                  <a:gd name="csY7" fmla="*/ 1350 h 73916"/>
                  <a:gd name="csX8" fmla="*/ 1353 w 34873"/>
                  <a:gd name="csY8" fmla="*/ 7135 h 73916"/>
                  <a:gd name="csX9" fmla="*/ 26680 w 34873"/>
                  <a:gd name="csY9" fmla="*/ 63416 h 7391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34873" h="73916">
                    <a:moveTo>
                      <a:pt x="26680" y="63416"/>
                    </a:moveTo>
                    <a:cubicBezTo>
                      <a:pt x="26680" y="65461"/>
                      <a:pt x="26594" y="67489"/>
                      <a:pt x="26434" y="69492"/>
                    </a:cubicBezTo>
                    <a:cubicBezTo>
                      <a:pt x="26254" y="71745"/>
                      <a:pt x="27933" y="73724"/>
                      <a:pt x="30191" y="73904"/>
                    </a:cubicBezTo>
                    <a:cubicBezTo>
                      <a:pt x="30301" y="73912"/>
                      <a:pt x="30412" y="73916"/>
                      <a:pt x="30522" y="73916"/>
                    </a:cubicBezTo>
                    <a:cubicBezTo>
                      <a:pt x="32636" y="73916"/>
                      <a:pt x="34431" y="72294"/>
                      <a:pt x="34603" y="70147"/>
                    </a:cubicBezTo>
                    <a:cubicBezTo>
                      <a:pt x="34783" y="67927"/>
                      <a:pt x="34873" y="65682"/>
                      <a:pt x="34873" y="63416"/>
                    </a:cubicBezTo>
                    <a:cubicBezTo>
                      <a:pt x="34873" y="39844"/>
                      <a:pt x="24656" y="17111"/>
                      <a:pt x="6839" y="1051"/>
                    </a:cubicBezTo>
                    <a:cubicBezTo>
                      <a:pt x="5159" y="-460"/>
                      <a:pt x="2570" y="-325"/>
                      <a:pt x="1054" y="1350"/>
                    </a:cubicBezTo>
                    <a:cubicBezTo>
                      <a:pt x="-462" y="3030"/>
                      <a:pt x="-326" y="5619"/>
                      <a:pt x="1353" y="7135"/>
                    </a:cubicBezTo>
                    <a:cubicBezTo>
                      <a:pt x="17450" y="21650"/>
                      <a:pt x="26680" y="42162"/>
                      <a:pt x="26680" y="63416"/>
                    </a:cubicBezTo>
                    <a:close/>
                  </a:path>
                </a:pathLst>
              </a:custGeom>
              <a:grpFill/>
              <a:ln w="399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2" name="Freeform: Shape 158">
                <a:extLst>
                  <a:ext uri="{FF2B5EF4-FFF2-40B4-BE49-F238E27FC236}">
                    <a16:creationId xmlns:a16="http://schemas.microsoft.com/office/drawing/2014/main" id="{F88C4ED5-F462-0F82-416E-88BCE5316E8D}"/>
                  </a:ext>
                </a:extLst>
              </p:cNvPr>
              <p:cNvSpPr/>
              <p:nvPr/>
            </p:nvSpPr>
            <p:spPr>
              <a:xfrm>
                <a:off x="1023391" y="790487"/>
                <a:ext cx="55030" cy="11407"/>
              </a:xfrm>
              <a:custGeom>
                <a:avLst/>
                <a:gdLst>
                  <a:gd name="csX0" fmla="*/ 49824 w 55030"/>
                  <a:gd name="csY0" fmla="*/ 162 h 11407"/>
                  <a:gd name="csX1" fmla="*/ 5206 w 55030"/>
                  <a:gd name="csY1" fmla="*/ 153 h 11407"/>
                  <a:gd name="csX2" fmla="*/ 155 w 55030"/>
                  <a:gd name="csY2" fmla="*/ 2984 h 11407"/>
                  <a:gd name="csX3" fmla="*/ 2986 w 55030"/>
                  <a:gd name="csY3" fmla="*/ 8036 h 11407"/>
                  <a:gd name="csX4" fmla="*/ 27534 w 55030"/>
                  <a:gd name="csY4" fmla="*/ 11407 h 11407"/>
                  <a:gd name="csX5" fmla="*/ 52040 w 55030"/>
                  <a:gd name="csY5" fmla="*/ 8052 h 11407"/>
                  <a:gd name="csX6" fmla="*/ 54875 w 55030"/>
                  <a:gd name="csY6" fmla="*/ 3001 h 11407"/>
                  <a:gd name="csX7" fmla="*/ 49824 w 55030"/>
                  <a:gd name="csY7" fmla="*/ 162 h 1140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55030" h="11407">
                    <a:moveTo>
                      <a:pt x="49824" y="162"/>
                    </a:moveTo>
                    <a:cubicBezTo>
                      <a:pt x="35399" y="4217"/>
                      <a:pt x="19627" y="4213"/>
                      <a:pt x="5206" y="153"/>
                    </a:cubicBezTo>
                    <a:cubicBezTo>
                      <a:pt x="3035" y="-457"/>
                      <a:pt x="769" y="809"/>
                      <a:pt x="155" y="2984"/>
                    </a:cubicBezTo>
                    <a:cubicBezTo>
                      <a:pt x="-460" y="5160"/>
                      <a:pt x="810" y="7425"/>
                      <a:pt x="2986" y="8036"/>
                    </a:cubicBezTo>
                    <a:cubicBezTo>
                      <a:pt x="10925" y="10272"/>
                      <a:pt x="19184" y="11407"/>
                      <a:pt x="27534" y="11407"/>
                    </a:cubicBezTo>
                    <a:cubicBezTo>
                      <a:pt x="35866" y="11407"/>
                      <a:pt x="44109" y="10277"/>
                      <a:pt x="52040" y="8052"/>
                    </a:cubicBezTo>
                    <a:cubicBezTo>
                      <a:pt x="54220" y="7442"/>
                      <a:pt x="55490" y="5176"/>
                      <a:pt x="54875" y="3001"/>
                    </a:cubicBezTo>
                    <a:cubicBezTo>
                      <a:pt x="54265" y="817"/>
                      <a:pt x="52000" y="-453"/>
                      <a:pt x="49824" y="162"/>
                    </a:cubicBezTo>
                    <a:close/>
                  </a:path>
                </a:pathLst>
              </a:custGeom>
              <a:grpFill/>
              <a:ln w="399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3" name="Freeform: Shape 159">
                <a:extLst>
                  <a:ext uri="{FF2B5EF4-FFF2-40B4-BE49-F238E27FC236}">
                    <a16:creationId xmlns:a16="http://schemas.microsoft.com/office/drawing/2014/main" id="{6CD3936F-F290-874D-C790-F67172118DFE}"/>
                  </a:ext>
                </a:extLst>
              </p:cNvPr>
              <p:cNvSpPr/>
              <p:nvPr/>
            </p:nvSpPr>
            <p:spPr>
              <a:xfrm>
                <a:off x="963073" y="651585"/>
                <a:ext cx="36869" cy="82474"/>
              </a:xfrm>
              <a:custGeom>
                <a:avLst/>
                <a:gdLst>
                  <a:gd name="csX0" fmla="*/ 5199 w 36869"/>
                  <a:gd name="csY0" fmla="*/ 82475 h 82474"/>
                  <a:gd name="csX1" fmla="*/ 5887 w 36869"/>
                  <a:gd name="csY1" fmla="*/ 82417 h 82474"/>
                  <a:gd name="csX2" fmla="*/ 9242 w 36869"/>
                  <a:gd name="csY2" fmla="*/ 77694 h 82474"/>
                  <a:gd name="csX3" fmla="*/ 8194 w 36869"/>
                  <a:gd name="csY3" fmla="*/ 65158 h 82474"/>
                  <a:gd name="csX4" fmla="*/ 35417 w 36869"/>
                  <a:gd name="csY4" fmla="*/ 7225 h 82474"/>
                  <a:gd name="csX5" fmla="*/ 35900 w 36869"/>
                  <a:gd name="csY5" fmla="*/ 1453 h 82474"/>
                  <a:gd name="csX6" fmla="*/ 30128 w 36869"/>
                  <a:gd name="csY6" fmla="*/ 969 h 82474"/>
                  <a:gd name="csX7" fmla="*/ 0 w 36869"/>
                  <a:gd name="csY7" fmla="*/ 65158 h 82474"/>
                  <a:gd name="csX8" fmla="*/ 1168 w 36869"/>
                  <a:gd name="csY8" fmla="*/ 79062 h 82474"/>
                  <a:gd name="csX9" fmla="*/ 5199 w 36869"/>
                  <a:gd name="csY9" fmla="*/ 82475 h 8247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36869" h="82474">
                    <a:moveTo>
                      <a:pt x="5199" y="82475"/>
                    </a:moveTo>
                    <a:cubicBezTo>
                      <a:pt x="5424" y="82475"/>
                      <a:pt x="5654" y="82458"/>
                      <a:pt x="5887" y="82417"/>
                    </a:cubicBezTo>
                    <a:cubicBezTo>
                      <a:pt x="8116" y="82041"/>
                      <a:pt x="9619" y="79927"/>
                      <a:pt x="9242" y="77694"/>
                    </a:cubicBezTo>
                    <a:cubicBezTo>
                      <a:pt x="8546" y="73577"/>
                      <a:pt x="8194" y="69357"/>
                      <a:pt x="8194" y="65158"/>
                    </a:cubicBezTo>
                    <a:cubicBezTo>
                      <a:pt x="8194" y="42970"/>
                      <a:pt x="18116" y="21855"/>
                      <a:pt x="35417" y="7225"/>
                    </a:cubicBezTo>
                    <a:cubicBezTo>
                      <a:pt x="37145" y="5763"/>
                      <a:pt x="37363" y="3178"/>
                      <a:pt x="35900" y="1453"/>
                    </a:cubicBezTo>
                    <a:cubicBezTo>
                      <a:pt x="34442" y="-276"/>
                      <a:pt x="31852" y="-493"/>
                      <a:pt x="30128" y="969"/>
                    </a:cubicBezTo>
                    <a:cubicBezTo>
                      <a:pt x="10983" y="17160"/>
                      <a:pt x="0" y="40557"/>
                      <a:pt x="0" y="65158"/>
                    </a:cubicBezTo>
                    <a:cubicBezTo>
                      <a:pt x="0" y="69816"/>
                      <a:pt x="393" y="74490"/>
                      <a:pt x="1168" y="79062"/>
                    </a:cubicBezTo>
                    <a:cubicBezTo>
                      <a:pt x="1504" y="81061"/>
                      <a:pt x="3236" y="82475"/>
                      <a:pt x="5199" y="82475"/>
                    </a:cubicBezTo>
                    <a:close/>
                  </a:path>
                </a:pathLst>
              </a:custGeom>
              <a:grpFill/>
              <a:ln w="399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24" name="Freeform: Shape 160">
                <a:extLst>
                  <a:ext uri="{FF2B5EF4-FFF2-40B4-BE49-F238E27FC236}">
                    <a16:creationId xmlns:a16="http://schemas.microsoft.com/office/drawing/2014/main" id="{CCE3C99B-622C-97E8-AB17-E7D9D21F1B38}"/>
                  </a:ext>
                </a:extLst>
              </p:cNvPr>
              <p:cNvSpPr/>
              <p:nvPr/>
            </p:nvSpPr>
            <p:spPr>
              <a:xfrm>
                <a:off x="1001763" y="577850"/>
                <a:ext cx="98322" cy="111272"/>
              </a:xfrm>
              <a:custGeom>
                <a:avLst/>
                <a:gdLst>
                  <a:gd name="csX0" fmla="*/ 4097 w 98322"/>
                  <a:gd name="csY0" fmla="*/ 111272 h 111272"/>
                  <a:gd name="csX1" fmla="*/ 94226 w 98322"/>
                  <a:gd name="csY1" fmla="*/ 111272 h 111272"/>
                  <a:gd name="csX2" fmla="*/ 98323 w 98322"/>
                  <a:gd name="csY2" fmla="*/ 107176 h 111272"/>
                  <a:gd name="csX3" fmla="*/ 98323 w 98322"/>
                  <a:gd name="csY3" fmla="*/ 88617 h 111272"/>
                  <a:gd name="csX4" fmla="*/ 74381 w 98322"/>
                  <a:gd name="csY4" fmla="*/ 50911 h 111272"/>
                  <a:gd name="csX5" fmla="*/ 81571 w 98322"/>
                  <a:gd name="csY5" fmla="*/ 31308 h 111272"/>
                  <a:gd name="csX6" fmla="*/ 49112 w 98322"/>
                  <a:gd name="csY6" fmla="*/ 0 h 111272"/>
                  <a:gd name="csX7" fmla="*/ 16653 w 98322"/>
                  <a:gd name="csY7" fmla="*/ 31312 h 111272"/>
                  <a:gd name="csX8" fmla="*/ 23868 w 98322"/>
                  <a:gd name="csY8" fmla="*/ 50952 h 111272"/>
                  <a:gd name="csX9" fmla="*/ 0 w 98322"/>
                  <a:gd name="csY9" fmla="*/ 88617 h 111272"/>
                  <a:gd name="csX10" fmla="*/ 0 w 98322"/>
                  <a:gd name="csY10" fmla="*/ 107176 h 111272"/>
                  <a:gd name="csX11" fmla="*/ 4097 w 98322"/>
                  <a:gd name="csY11" fmla="*/ 111272 h 111272"/>
                  <a:gd name="csX12" fmla="*/ 49112 w 98322"/>
                  <a:gd name="csY12" fmla="*/ 8194 h 111272"/>
                  <a:gd name="csX13" fmla="*/ 73377 w 98322"/>
                  <a:gd name="csY13" fmla="*/ 31312 h 111272"/>
                  <a:gd name="csX14" fmla="*/ 49112 w 98322"/>
                  <a:gd name="csY14" fmla="*/ 54426 h 111272"/>
                  <a:gd name="csX15" fmla="*/ 24847 w 98322"/>
                  <a:gd name="csY15" fmla="*/ 31312 h 111272"/>
                  <a:gd name="csX16" fmla="*/ 49112 w 98322"/>
                  <a:gd name="csY16" fmla="*/ 8194 h 111272"/>
                  <a:gd name="csX17" fmla="*/ 44425 w 98322"/>
                  <a:gd name="csY17" fmla="*/ 62255 h 111272"/>
                  <a:gd name="csX18" fmla="*/ 49112 w 98322"/>
                  <a:gd name="csY18" fmla="*/ 62619 h 111272"/>
                  <a:gd name="csX19" fmla="*/ 53795 w 98322"/>
                  <a:gd name="csY19" fmla="*/ 62255 h 111272"/>
                  <a:gd name="csX20" fmla="*/ 53795 w 98322"/>
                  <a:gd name="csY20" fmla="*/ 80866 h 111272"/>
                  <a:gd name="csX21" fmla="*/ 49112 w 98322"/>
                  <a:gd name="csY21" fmla="*/ 86983 h 111272"/>
                  <a:gd name="csX22" fmla="*/ 44425 w 98322"/>
                  <a:gd name="csY22" fmla="*/ 80866 h 111272"/>
                  <a:gd name="csX23" fmla="*/ 8194 w 98322"/>
                  <a:gd name="csY23" fmla="*/ 88617 h 111272"/>
                  <a:gd name="csX24" fmla="*/ 30406 w 98322"/>
                  <a:gd name="csY24" fmla="*/ 56970 h 111272"/>
                  <a:gd name="csX25" fmla="*/ 30492 w 98322"/>
                  <a:gd name="csY25" fmla="*/ 56912 h 111272"/>
                  <a:gd name="csX26" fmla="*/ 36232 w 98322"/>
                  <a:gd name="csY26" fmla="*/ 60030 h 111272"/>
                  <a:gd name="csX27" fmla="*/ 36232 w 98322"/>
                  <a:gd name="csY27" fmla="*/ 82251 h 111272"/>
                  <a:gd name="csX28" fmla="*/ 37076 w 98322"/>
                  <a:gd name="csY28" fmla="*/ 84742 h 111272"/>
                  <a:gd name="csX29" fmla="*/ 45859 w 98322"/>
                  <a:gd name="csY29" fmla="*/ 96205 h 111272"/>
                  <a:gd name="csX30" fmla="*/ 49112 w 98322"/>
                  <a:gd name="csY30" fmla="*/ 97810 h 111272"/>
                  <a:gd name="csX31" fmla="*/ 52365 w 98322"/>
                  <a:gd name="csY31" fmla="*/ 96205 h 111272"/>
                  <a:gd name="csX32" fmla="*/ 61144 w 98322"/>
                  <a:gd name="csY32" fmla="*/ 84742 h 111272"/>
                  <a:gd name="csX33" fmla="*/ 61988 w 98322"/>
                  <a:gd name="csY33" fmla="*/ 82251 h 111272"/>
                  <a:gd name="csX34" fmla="*/ 61988 w 98322"/>
                  <a:gd name="csY34" fmla="*/ 60030 h 111272"/>
                  <a:gd name="csX35" fmla="*/ 67933 w 98322"/>
                  <a:gd name="csY35" fmla="*/ 56765 h 111272"/>
                  <a:gd name="csX36" fmla="*/ 68695 w 98322"/>
                  <a:gd name="csY36" fmla="*/ 57289 h 111272"/>
                  <a:gd name="csX37" fmla="*/ 90129 w 98322"/>
                  <a:gd name="csY37" fmla="*/ 88617 h 111272"/>
                  <a:gd name="csX38" fmla="*/ 90129 w 98322"/>
                  <a:gd name="csY38" fmla="*/ 103079 h 111272"/>
                  <a:gd name="csX39" fmla="*/ 76622 w 98322"/>
                  <a:gd name="csY39" fmla="*/ 103079 h 111272"/>
                  <a:gd name="csX40" fmla="*/ 76622 w 98322"/>
                  <a:gd name="csY40" fmla="*/ 95254 h 111272"/>
                  <a:gd name="csX41" fmla="*/ 72525 w 98322"/>
                  <a:gd name="csY41" fmla="*/ 91157 h 111272"/>
                  <a:gd name="csX42" fmla="*/ 68428 w 98322"/>
                  <a:gd name="csY42" fmla="*/ 95254 h 111272"/>
                  <a:gd name="csX43" fmla="*/ 68428 w 98322"/>
                  <a:gd name="csY43" fmla="*/ 103079 h 111272"/>
                  <a:gd name="csX44" fmla="*/ 29792 w 98322"/>
                  <a:gd name="csY44" fmla="*/ 103079 h 111272"/>
                  <a:gd name="csX45" fmla="*/ 29792 w 98322"/>
                  <a:gd name="csY45" fmla="*/ 95254 h 111272"/>
                  <a:gd name="csX46" fmla="*/ 25695 w 98322"/>
                  <a:gd name="csY46" fmla="*/ 91157 h 111272"/>
                  <a:gd name="csX47" fmla="*/ 21598 w 98322"/>
                  <a:gd name="csY47" fmla="*/ 95254 h 111272"/>
                  <a:gd name="csX48" fmla="*/ 21598 w 98322"/>
                  <a:gd name="csY48" fmla="*/ 103079 h 111272"/>
                  <a:gd name="csX49" fmla="*/ 8194 w 98322"/>
                  <a:gd name="csY49" fmla="*/ 103079 h 11127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Lst>
                <a:rect l="l" t="t" r="r" b="b"/>
                <a:pathLst>
                  <a:path w="98322" h="111272">
                    <a:moveTo>
                      <a:pt x="4097" y="111272"/>
                    </a:moveTo>
                    <a:lnTo>
                      <a:pt x="94226" y="111272"/>
                    </a:lnTo>
                    <a:cubicBezTo>
                      <a:pt x="96487" y="111272"/>
                      <a:pt x="98323" y="109437"/>
                      <a:pt x="98323" y="107176"/>
                    </a:cubicBezTo>
                    <a:lnTo>
                      <a:pt x="98323" y="88617"/>
                    </a:lnTo>
                    <a:cubicBezTo>
                      <a:pt x="98323" y="72718"/>
                      <a:pt x="89007" y="58203"/>
                      <a:pt x="74381" y="50911"/>
                    </a:cubicBezTo>
                    <a:cubicBezTo>
                      <a:pt x="78867" y="45540"/>
                      <a:pt x="81571" y="38727"/>
                      <a:pt x="81571" y="31308"/>
                    </a:cubicBezTo>
                    <a:cubicBezTo>
                      <a:pt x="81571" y="14044"/>
                      <a:pt x="67007" y="0"/>
                      <a:pt x="49112" y="0"/>
                    </a:cubicBezTo>
                    <a:cubicBezTo>
                      <a:pt x="31217" y="0"/>
                      <a:pt x="16653" y="14044"/>
                      <a:pt x="16653" y="31312"/>
                    </a:cubicBezTo>
                    <a:cubicBezTo>
                      <a:pt x="16653" y="38747"/>
                      <a:pt x="19365" y="45577"/>
                      <a:pt x="23868" y="50952"/>
                    </a:cubicBezTo>
                    <a:cubicBezTo>
                      <a:pt x="9255" y="58248"/>
                      <a:pt x="0" y="72648"/>
                      <a:pt x="0" y="88617"/>
                    </a:cubicBezTo>
                    <a:lnTo>
                      <a:pt x="0" y="107176"/>
                    </a:lnTo>
                    <a:cubicBezTo>
                      <a:pt x="0" y="109437"/>
                      <a:pt x="1835" y="111272"/>
                      <a:pt x="4097" y="111272"/>
                    </a:cubicBezTo>
                    <a:close/>
                    <a:moveTo>
                      <a:pt x="49112" y="8194"/>
                    </a:moveTo>
                    <a:cubicBezTo>
                      <a:pt x="62492" y="8194"/>
                      <a:pt x="73377" y="18562"/>
                      <a:pt x="73377" y="31312"/>
                    </a:cubicBezTo>
                    <a:cubicBezTo>
                      <a:pt x="73377" y="44057"/>
                      <a:pt x="62492" y="54426"/>
                      <a:pt x="49112" y="54426"/>
                    </a:cubicBezTo>
                    <a:cubicBezTo>
                      <a:pt x="35732" y="54426"/>
                      <a:pt x="24847" y="44057"/>
                      <a:pt x="24847" y="31312"/>
                    </a:cubicBezTo>
                    <a:cubicBezTo>
                      <a:pt x="24847" y="18562"/>
                      <a:pt x="35732" y="8194"/>
                      <a:pt x="49112" y="8194"/>
                    </a:cubicBezTo>
                    <a:close/>
                    <a:moveTo>
                      <a:pt x="44425" y="62255"/>
                    </a:moveTo>
                    <a:cubicBezTo>
                      <a:pt x="45958" y="62472"/>
                      <a:pt x="47514" y="62619"/>
                      <a:pt x="49112" y="62619"/>
                    </a:cubicBezTo>
                    <a:cubicBezTo>
                      <a:pt x="50706" y="62619"/>
                      <a:pt x="52263" y="62472"/>
                      <a:pt x="53795" y="62255"/>
                    </a:cubicBezTo>
                    <a:lnTo>
                      <a:pt x="53795" y="80866"/>
                    </a:lnTo>
                    <a:lnTo>
                      <a:pt x="49112" y="86983"/>
                    </a:lnTo>
                    <a:lnTo>
                      <a:pt x="44425" y="80866"/>
                    </a:lnTo>
                    <a:close/>
                    <a:moveTo>
                      <a:pt x="8194" y="88617"/>
                    </a:moveTo>
                    <a:cubicBezTo>
                      <a:pt x="8194" y="74778"/>
                      <a:pt x="16911" y="62353"/>
                      <a:pt x="30406" y="56970"/>
                    </a:cubicBezTo>
                    <a:cubicBezTo>
                      <a:pt x="30439" y="56957"/>
                      <a:pt x="30460" y="56929"/>
                      <a:pt x="30492" y="56912"/>
                    </a:cubicBezTo>
                    <a:cubicBezTo>
                      <a:pt x="32283" y="58129"/>
                      <a:pt x="34200" y="59182"/>
                      <a:pt x="36232" y="60030"/>
                    </a:cubicBezTo>
                    <a:lnTo>
                      <a:pt x="36232" y="82251"/>
                    </a:lnTo>
                    <a:cubicBezTo>
                      <a:pt x="36232" y="83152"/>
                      <a:pt x="36527" y="84029"/>
                      <a:pt x="37076" y="84742"/>
                    </a:cubicBezTo>
                    <a:lnTo>
                      <a:pt x="45859" y="96205"/>
                    </a:lnTo>
                    <a:cubicBezTo>
                      <a:pt x="46634" y="97216"/>
                      <a:pt x="47838" y="97810"/>
                      <a:pt x="49112" y="97810"/>
                    </a:cubicBezTo>
                    <a:cubicBezTo>
                      <a:pt x="50386" y="97810"/>
                      <a:pt x="51587" y="97216"/>
                      <a:pt x="52365" y="96205"/>
                    </a:cubicBezTo>
                    <a:lnTo>
                      <a:pt x="61144" y="84742"/>
                    </a:lnTo>
                    <a:cubicBezTo>
                      <a:pt x="61693" y="84029"/>
                      <a:pt x="61988" y="83152"/>
                      <a:pt x="61988" y="82251"/>
                    </a:cubicBezTo>
                    <a:lnTo>
                      <a:pt x="61988" y="60030"/>
                    </a:lnTo>
                    <a:cubicBezTo>
                      <a:pt x="64098" y="59145"/>
                      <a:pt x="66081" y="58039"/>
                      <a:pt x="67933" y="56765"/>
                    </a:cubicBezTo>
                    <a:cubicBezTo>
                      <a:pt x="68183" y="56945"/>
                      <a:pt x="68400" y="57162"/>
                      <a:pt x="68695" y="57289"/>
                    </a:cubicBezTo>
                    <a:cubicBezTo>
                      <a:pt x="81714" y="62828"/>
                      <a:pt x="90129" y="75127"/>
                      <a:pt x="90129" y="88617"/>
                    </a:cubicBezTo>
                    <a:lnTo>
                      <a:pt x="90129" y="103079"/>
                    </a:lnTo>
                    <a:lnTo>
                      <a:pt x="76622" y="103079"/>
                    </a:lnTo>
                    <a:lnTo>
                      <a:pt x="76622" y="95254"/>
                    </a:lnTo>
                    <a:cubicBezTo>
                      <a:pt x="76622" y="92993"/>
                      <a:pt x="74787" y="91157"/>
                      <a:pt x="72525" y="91157"/>
                    </a:cubicBezTo>
                    <a:cubicBezTo>
                      <a:pt x="70264" y="91157"/>
                      <a:pt x="68428" y="92993"/>
                      <a:pt x="68428" y="95254"/>
                    </a:cubicBezTo>
                    <a:lnTo>
                      <a:pt x="68428" y="103079"/>
                    </a:lnTo>
                    <a:lnTo>
                      <a:pt x="29792" y="103079"/>
                    </a:lnTo>
                    <a:lnTo>
                      <a:pt x="29792" y="95254"/>
                    </a:lnTo>
                    <a:cubicBezTo>
                      <a:pt x="29792" y="92993"/>
                      <a:pt x="27956" y="91157"/>
                      <a:pt x="25695" y="91157"/>
                    </a:cubicBezTo>
                    <a:cubicBezTo>
                      <a:pt x="23434" y="91157"/>
                      <a:pt x="21598" y="92993"/>
                      <a:pt x="21598" y="95254"/>
                    </a:cubicBezTo>
                    <a:lnTo>
                      <a:pt x="21598" y="103079"/>
                    </a:lnTo>
                    <a:lnTo>
                      <a:pt x="8194" y="103079"/>
                    </a:lnTo>
                    <a:close/>
                  </a:path>
                </a:pathLst>
              </a:custGeom>
              <a:grpFill/>
              <a:ln w="399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0" name="Freeform: Shape 161">
                <a:extLst>
                  <a:ext uri="{FF2B5EF4-FFF2-40B4-BE49-F238E27FC236}">
                    <a16:creationId xmlns:a16="http://schemas.microsoft.com/office/drawing/2014/main" id="{196C4840-A7FB-D77C-C2DE-0BE34005B7CB}"/>
                  </a:ext>
                </a:extLst>
              </p:cNvPr>
              <p:cNvSpPr/>
              <p:nvPr/>
            </p:nvSpPr>
            <p:spPr>
              <a:xfrm>
                <a:off x="923925" y="736432"/>
                <a:ext cx="98322" cy="95417"/>
              </a:xfrm>
              <a:custGeom>
                <a:avLst/>
                <a:gdLst>
                  <a:gd name="csX0" fmla="*/ 49161 w 98322"/>
                  <a:gd name="csY0" fmla="*/ 0 h 95417"/>
                  <a:gd name="csX1" fmla="*/ 0 w 98322"/>
                  <a:gd name="csY1" fmla="*/ 47711 h 95417"/>
                  <a:gd name="csX2" fmla="*/ 49161 w 98322"/>
                  <a:gd name="csY2" fmla="*/ 95418 h 95417"/>
                  <a:gd name="csX3" fmla="*/ 98323 w 98322"/>
                  <a:gd name="csY3" fmla="*/ 47711 h 95417"/>
                  <a:gd name="csX4" fmla="*/ 49161 w 98322"/>
                  <a:gd name="csY4" fmla="*/ 0 h 95417"/>
                  <a:gd name="csX5" fmla="*/ 49161 w 98322"/>
                  <a:gd name="csY5" fmla="*/ 87224 h 95417"/>
                  <a:gd name="csX6" fmla="*/ 8194 w 98322"/>
                  <a:gd name="csY6" fmla="*/ 47711 h 95417"/>
                  <a:gd name="csX7" fmla="*/ 49161 w 98322"/>
                  <a:gd name="csY7" fmla="*/ 8194 h 95417"/>
                  <a:gd name="csX8" fmla="*/ 90129 w 98322"/>
                  <a:gd name="csY8" fmla="*/ 47711 h 95417"/>
                  <a:gd name="csX9" fmla="*/ 49161 w 98322"/>
                  <a:gd name="csY9" fmla="*/ 87224 h 9541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98322" h="95417">
                    <a:moveTo>
                      <a:pt x="49161" y="0"/>
                    </a:moveTo>
                    <a:cubicBezTo>
                      <a:pt x="22053" y="0"/>
                      <a:pt x="0" y="21402"/>
                      <a:pt x="0" y="47711"/>
                    </a:cubicBezTo>
                    <a:cubicBezTo>
                      <a:pt x="0" y="74016"/>
                      <a:pt x="22053" y="95418"/>
                      <a:pt x="49161" y="95418"/>
                    </a:cubicBezTo>
                    <a:cubicBezTo>
                      <a:pt x="76270" y="95418"/>
                      <a:pt x="98323" y="74016"/>
                      <a:pt x="98323" y="47711"/>
                    </a:cubicBezTo>
                    <a:cubicBezTo>
                      <a:pt x="98323" y="21406"/>
                      <a:pt x="76270" y="0"/>
                      <a:pt x="49161" y="0"/>
                    </a:cubicBezTo>
                    <a:close/>
                    <a:moveTo>
                      <a:pt x="49161" y="87224"/>
                    </a:moveTo>
                    <a:cubicBezTo>
                      <a:pt x="26572" y="87224"/>
                      <a:pt x="8194" y="69498"/>
                      <a:pt x="8194" y="47711"/>
                    </a:cubicBezTo>
                    <a:cubicBezTo>
                      <a:pt x="8194" y="25924"/>
                      <a:pt x="26572" y="8194"/>
                      <a:pt x="49161" y="8194"/>
                    </a:cubicBezTo>
                    <a:cubicBezTo>
                      <a:pt x="71751" y="8194"/>
                      <a:pt x="90129" y="25920"/>
                      <a:pt x="90129" y="47711"/>
                    </a:cubicBezTo>
                    <a:cubicBezTo>
                      <a:pt x="90129" y="69502"/>
                      <a:pt x="71751" y="87224"/>
                      <a:pt x="49161" y="87224"/>
                    </a:cubicBezTo>
                    <a:close/>
                  </a:path>
                </a:pathLst>
              </a:custGeom>
              <a:grpFill/>
              <a:ln w="399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1" name="Freeform: Shape 162">
                <a:extLst>
                  <a:ext uri="{FF2B5EF4-FFF2-40B4-BE49-F238E27FC236}">
                    <a16:creationId xmlns:a16="http://schemas.microsoft.com/office/drawing/2014/main" id="{A9629600-A1E1-0493-401C-58191AE95166}"/>
                  </a:ext>
                </a:extLst>
              </p:cNvPr>
              <p:cNvSpPr/>
              <p:nvPr/>
            </p:nvSpPr>
            <p:spPr>
              <a:xfrm>
                <a:off x="958137" y="753417"/>
                <a:ext cx="29902" cy="61443"/>
              </a:xfrm>
              <a:custGeom>
                <a:avLst/>
                <a:gdLst>
                  <a:gd name="csX0" fmla="*/ 17944 w 29902"/>
                  <a:gd name="csY0" fmla="*/ 26039 h 61443"/>
                  <a:gd name="csX1" fmla="*/ 10025 w 29902"/>
                  <a:gd name="csY1" fmla="*/ 19292 h 61443"/>
                  <a:gd name="csX2" fmla="*/ 16092 w 29902"/>
                  <a:gd name="csY2" fmla="*/ 14650 h 61443"/>
                  <a:gd name="csX3" fmla="*/ 24335 w 29902"/>
                  <a:gd name="csY3" fmla="*/ 16875 h 61443"/>
                  <a:gd name="csX4" fmla="*/ 25842 w 29902"/>
                  <a:gd name="csY4" fmla="*/ 17735 h 61443"/>
                  <a:gd name="csX5" fmla="*/ 28682 w 29902"/>
                  <a:gd name="csY5" fmla="*/ 10242 h 61443"/>
                  <a:gd name="csX6" fmla="*/ 27600 w 29902"/>
                  <a:gd name="csY6" fmla="*/ 9607 h 61443"/>
                  <a:gd name="csX7" fmla="*/ 19070 w 29902"/>
                  <a:gd name="csY7" fmla="*/ 6997 h 61443"/>
                  <a:gd name="csX8" fmla="*/ 19070 w 29902"/>
                  <a:gd name="csY8" fmla="*/ 0 h 61443"/>
                  <a:gd name="csX9" fmla="*/ 11688 w 29902"/>
                  <a:gd name="csY9" fmla="*/ 0 h 61443"/>
                  <a:gd name="csX10" fmla="*/ 11688 w 29902"/>
                  <a:gd name="csY10" fmla="*/ 7460 h 61443"/>
                  <a:gd name="csX11" fmla="*/ 930 w 29902"/>
                  <a:gd name="csY11" fmla="*/ 20148 h 61443"/>
                  <a:gd name="csX12" fmla="*/ 13609 w 29902"/>
                  <a:gd name="csY12" fmla="*/ 33852 h 61443"/>
                  <a:gd name="csX13" fmla="*/ 20734 w 29902"/>
                  <a:gd name="csY13" fmla="*/ 40947 h 61443"/>
                  <a:gd name="csX14" fmla="*/ 13741 w 29902"/>
                  <a:gd name="csY14" fmla="*/ 46445 h 61443"/>
                  <a:gd name="csX15" fmla="*/ 4306 w 29902"/>
                  <a:gd name="csY15" fmla="*/ 43631 h 61443"/>
                  <a:gd name="csX16" fmla="*/ 2724 w 29902"/>
                  <a:gd name="csY16" fmla="*/ 42574 h 61443"/>
                  <a:gd name="csX17" fmla="*/ 0 w 29902"/>
                  <a:gd name="csY17" fmla="*/ 50194 h 61443"/>
                  <a:gd name="csX18" fmla="*/ 909 w 29902"/>
                  <a:gd name="csY18" fmla="*/ 50845 h 61443"/>
                  <a:gd name="csX19" fmla="*/ 11188 w 29902"/>
                  <a:gd name="csY19" fmla="*/ 54180 h 61443"/>
                  <a:gd name="csX20" fmla="*/ 11188 w 29902"/>
                  <a:gd name="csY20" fmla="*/ 61443 h 61443"/>
                  <a:gd name="csX21" fmla="*/ 18644 w 29902"/>
                  <a:gd name="csY21" fmla="*/ 61443 h 61443"/>
                  <a:gd name="csX22" fmla="*/ 18644 w 29902"/>
                  <a:gd name="csY22" fmla="*/ 53766 h 61443"/>
                  <a:gd name="csX23" fmla="*/ 29902 w 29902"/>
                  <a:gd name="csY23" fmla="*/ 40439 h 61443"/>
                  <a:gd name="csX24" fmla="*/ 17944 w 29902"/>
                  <a:gd name="csY24" fmla="*/ 26039 h 6144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Lst>
                <a:rect l="l" t="t" r="r" b="b"/>
                <a:pathLst>
                  <a:path w="29902" h="61443">
                    <a:moveTo>
                      <a:pt x="17944" y="26039"/>
                    </a:moveTo>
                    <a:cubicBezTo>
                      <a:pt x="11803" y="23499"/>
                      <a:pt x="10025" y="21983"/>
                      <a:pt x="10025" y="19292"/>
                    </a:cubicBezTo>
                    <a:cubicBezTo>
                      <a:pt x="10025" y="17051"/>
                      <a:pt x="11618" y="14650"/>
                      <a:pt x="16092" y="14650"/>
                    </a:cubicBezTo>
                    <a:cubicBezTo>
                      <a:pt x="20431" y="14650"/>
                      <a:pt x="23167" y="16207"/>
                      <a:pt x="24335" y="16875"/>
                    </a:cubicBezTo>
                    <a:lnTo>
                      <a:pt x="25842" y="17735"/>
                    </a:lnTo>
                    <a:lnTo>
                      <a:pt x="28682" y="10242"/>
                    </a:lnTo>
                    <a:lnTo>
                      <a:pt x="27600" y="9607"/>
                    </a:lnTo>
                    <a:cubicBezTo>
                      <a:pt x="25085" y="8132"/>
                      <a:pt x="22282" y="7272"/>
                      <a:pt x="19070" y="6997"/>
                    </a:cubicBezTo>
                    <a:lnTo>
                      <a:pt x="19070" y="0"/>
                    </a:lnTo>
                    <a:lnTo>
                      <a:pt x="11688" y="0"/>
                    </a:lnTo>
                    <a:lnTo>
                      <a:pt x="11688" y="7460"/>
                    </a:lnTo>
                    <a:cubicBezTo>
                      <a:pt x="5109" y="8997"/>
                      <a:pt x="930" y="13863"/>
                      <a:pt x="930" y="20148"/>
                    </a:cubicBezTo>
                    <a:cubicBezTo>
                      <a:pt x="930" y="27821"/>
                      <a:pt x="7034" y="31271"/>
                      <a:pt x="13609" y="33852"/>
                    </a:cubicBezTo>
                    <a:cubicBezTo>
                      <a:pt x="18669" y="35900"/>
                      <a:pt x="20734" y="37957"/>
                      <a:pt x="20734" y="40947"/>
                    </a:cubicBezTo>
                    <a:cubicBezTo>
                      <a:pt x="20734" y="44237"/>
                      <a:pt x="17923" y="46445"/>
                      <a:pt x="13741" y="46445"/>
                    </a:cubicBezTo>
                    <a:cubicBezTo>
                      <a:pt x="10422" y="46445"/>
                      <a:pt x="6985" y="45421"/>
                      <a:pt x="4306" y="43631"/>
                    </a:cubicBezTo>
                    <a:lnTo>
                      <a:pt x="2724" y="42574"/>
                    </a:lnTo>
                    <a:lnTo>
                      <a:pt x="0" y="50194"/>
                    </a:lnTo>
                    <a:lnTo>
                      <a:pt x="909" y="50845"/>
                    </a:lnTo>
                    <a:cubicBezTo>
                      <a:pt x="3392" y="52619"/>
                      <a:pt x="7309" y="53873"/>
                      <a:pt x="11188" y="54180"/>
                    </a:cubicBezTo>
                    <a:lnTo>
                      <a:pt x="11188" y="61443"/>
                    </a:lnTo>
                    <a:lnTo>
                      <a:pt x="18644" y="61443"/>
                    </a:lnTo>
                    <a:lnTo>
                      <a:pt x="18644" y="53766"/>
                    </a:lnTo>
                    <a:cubicBezTo>
                      <a:pt x="25429" y="52160"/>
                      <a:pt x="29902" y="46937"/>
                      <a:pt x="29902" y="40439"/>
                    </a:cubicBezTo>
                    <a:cubicBezTo>
                      <a:pt x="29898" y="33766"/>
                      <a:pt x="26322" y="29460"/>
                      <a:pt x="17944" y="26039"/>
                    </a:cubicBezTo>
                    <a:close/>
                  </a:path>
                </a:pathLst>
              </a:custGeom>
              <a:grpFill/>
              <a:ln w="399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2" name="Freeform: Shape 163">
                <a:extLst>
                  <a:ext uri="{FF2B5EF4-FFF2-40B4-BE49-F238E27FC236}">
                    <a16:creationId xmlns:a16="http://schemas.microsoft.com/office/drawing/2014/main" id="{60DC1ADB-7332-0753-8A57-2AB8E18C1A1E}"/>
                  </a:ext>
                </a:extLst>
              </p:cNvPr>
              <p:cNvSpPr/>
              <p:nvPr/>
            </p:nvSpPr>
            <p:spPr>
              <a:xfrm>
                <a:off x="1079602" y="736432"/>
                <a:ext cx="98322" cy="95417"/>
              </a:xfrm>
              <a:custGeom>
                <a:avLst/>
                <a:gdLst>
                  <a:gd name="csX0" fmla="*/ 49161 w 98322"/>
                  <a:gd name="csY0" fmla="*/ 0 h 95417"/>
                  <a:gd name="csX1" fmla="*/ 0 w 98322"/>
                  <a:gd name="csY1" fmla="*/ 47711 h 95417"/>
                  <a:gd name="csX2" fmla="*/ 49161 w 98322"/>
                  <a:gd name="csY2" fmla="*/ 95418 h 95417"/>
                  <a:gd name="csX3" fmla="*/ 98323 w 98322"/>
                  <a:gd name="csY3" fmla="*/ 47711 h 95417"/>
                  <a:gd name="csX4" fmla="*/ 49161 w 98322"/>
                  <a:gd name="csY4" fmla="*/ 0 h 95417"/>
                  <a:gd name="csX5" fmla="*/ 49161 w 98322"/>
                  <a:gd name="csY5" fmla="*/ 87224 h 95417"/>
                  <a:gd name="csX6" fmla="*/ 8194 w 98322"/>
                  <a:gd name="csY6" fmla="*/ 47711 h 95417"/>
                  <a:gd name="csX7" fmla="*/ 49161 w 98322"/>
                  <a:gd name="csY7" fmla="*/ 8194 h 95417"/>
                  <a:gd name="csX8" fmla="*/ 90129 w 98322"/>
                  <a:gd name="csY8" fmla="*/ 47711 h 95417"/>
                  <a:gd name="csX9" fmla="*/ 49161 w 98322"/>
                  <a:gd name="csY9" fmla="*/ 87224 h 9541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98322" h="95417">
                    <a:moveTo>
                      <a:pt x="49161" y="0"/>
                    </a:moveTo>
                    <a:cubicBezTo>
                      <a:pt x="22053" y="0"/>
                      <a:pt x="0" y="21402"/>
                      <a:pt x="0" y="47711"/>
                    </a:cubicBezTo>
                    <a:cubicBezTo>
                      <a:pt x="0" y="74016"/>
                      <a:pt x="22053" y="95418"/>
                      <a:pt x="49161" y="95418"/>
                    </a:cubicBezTo>
                    <a:cubicBezTo>
                      <a:pt x="76270" y="95418"/>
                      <a:pt x="98323" y="74016"/>
                      <a:pt x="98323" y="47711"/>
                    </a:cubicBezTo>
                    <a:cubicBezTo>
                      <a:pt x="98323" y="21406"/>
                      <a:pt x="76270" y="0"/>
                      <a:pt x="49161" y="0"/>
                    </a:cubicBezTo>
                    <a:close/>
                    <a:moveTo>
                      <a:pt x="49161" y="87224"/>
                    </a:moveTo>
                    <a:cubicBezTo>
                      <a:pt x="26572" y="87224"/>
                      <a:pt x="8194" y="69498"/>
                      <a:pt x="8194" y="47711"/>
                    </a:cubicBezTo>
                    <a:cubicBezTo>
                      <a:pt x="8194" y="25924"/>
                      <a:pt x="26572" y="8194"/>
                      <a:pt x="49161" y="8194"/>
                    </a:cubicBezTo>
                    <a:cubicBezTo>
                      <a:pt x="71751" y="8194"/>
                      <a:pt x="90129" y="25920"/>
                      <a:pt x="90129" y="47711"/>
                    </a:cubicBezTo>
                    <a:cubicBezTo>
                      <a:pt x="90129" y="69502"/>
                      <a:pt x="71751" y="87224"/>
                      <a:pt x="49161" y="87224"/>
                    </a:cubicBezTo>
                    <a:close/>
                  </a:path>
                </a:pathLst>
              </a:custGeom>
              <a:grpFill/>
              <a:ln w="399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3" name="Freeform: Shape 164">
                <a:extLst>
                  <a:ext uri="{FF2B5EF4-FFF2-40B4-BE49-F238E27FC236}">
                    <a16:creationId xmlns:a16="http://schemas.microsoft.com/office/drawing/2014/main" id="{798634C9-5279-09E8-96B3-D972D52A33C3}"/>
                  </a:ext>
                </a:extLst>
              </p:cNvPr>
              <p:cNvSpPr/>
              <p:nvPr/>
            </p:nvSpPr>
            <p:spPr>
              <a:xfrm>
                <a:off x="1124666" y="754658"/>
                <a:ext cx="22128" cy="43065"/>
              </a:xfrm>
              <a:custGeom>
                <a:avLst/>
                <a:gdLst>
                  <a:gd name="csX0" fmla="*/ 8194 w 22128"/>
                  <a:gd name="csY0" fmla="*/ 27317 h 43065"/>
                  <a:gd name="csX1" fmla="*/ 8194 w 22128"/>
                  <a:gd name="csY1" fmla="*/ 4097 h 43065"/>
                  <a:gd name="csX2" fmla="*/ 4097 w 22128"/>
                  <a:gd name="csY2" fmla="*/ 0 h 43065"/>
                  <a:gd name="csX3" fmla="*/ 0 w 22128"/>
                  <a:gd name="csY3" fmla="*/ 4097 h 43065"/>
                  <a:gd name="csX4" fmla="*/ 0 w 22128"/>
                  <a:gd name="csY4" fmla="*/ 29484 h 43065"/>
                  <a:gd name="csX5" fmla="*/ 1790 w 22128"/>
                  <a:gd name="csY5" fmla="*/ 32873 h 43065"/>
                  <a:gd name="csX6" fmla="*/ 15723 w 22128"/>
                  <a:gd name="csY6" fmla="*/ 42357 h 43065"/>
                  <a:gd name="csX7" fmla="*/ 18026 w 22128"/>
                  <a:gd name="csY7" fmla="*/ 43065 h 43065"/>
                  <a:gd name="csX8" fmla="*/ 21418 w 22128"/>
                  <a:gd name="csY8" fmla="*/ 41271 h 43065"/>
                  <a:gd name="csX9" fmla="*/ 20336 w 22128"/>
                  <a:gd name="csY9" fmla="*/ 35580 h 4306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22128" h="43065">
                    <a:moveTo>
                      <a:pt x="8194" y="27317"/>
                    </a:moveTo>
                    <a:lnTo>
                      <a:pt x="8194" y="4097"/>
                    </a:lnTo>
                    <a:cubicBezTo>
                      <a:pt x="8194" y="1835"/>
                      <a:pt x="6358" y="0"/>
                      <a:pt x="4097" y="0"/>
                    </a:cubicBezTo>
                    <a:cubicBezTo>
                      <a:pt x="1835" y="0"/>
                      <a:pt x="0" y="1835"/>
                      <a:pt x="0" y="4097"/>
                    </a:cubicBezTo>
                    <a:lnTo>
                      <a:pt x="0" y="29484"/>
                    </a:lnTo>
                    <a:cubicBezTo>
                      <a:pt x="0" y="30841"/>
                      <a:pt x="672" y="32111"/>
                      <a:pt x="1790" y="32873"/>
                    </a:cubicBezTo>
                    <a:lnTo>
                      <a:pt x="15723" y="42357"/>
                    </a:lnTo>
                    <a:cubicBezTo>
                      <a:pt x="16428" y="42836"/>
                      <a:pt x="17231" y="43065"/>
                      <a:pt x="18026" y="43065"/>
                    </a:cubicBezTo>
                    <a:cubicBezTo>
                      <a:pt x="19337" y="43065"/>
                      <a:pt x="20623" y="42438"/>
                      <a:pt x="21418" y="41271"/>
                    </a:cubicBezTo>
                    <a:cubicBezTo>
                      <a:pt x="22692" y="39399"/>
                      <a:pt x="22205" y="36850"/>
                      <a:pt x="20336" y="35580"/>
                    </a:cubicBezTo>
                    <a:close/>
                  </a:path>
                </a:pathLst>
              </a:custGeom>
              <a:grpFill/>
              <a:ln w="399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34" name="Group 33">
            <a:extLst>
              <a:ext uri="{FF2B5EF4-FFF2-40B4-BE49-F238E27FC236}">
                <a16:creationId xmlns:a16="http://schemas.microsoft.com/office/drawing/2014/main" id="{FA2FDF4C-D230-0090-64D9-DFD3F20F000C}"/>
              </a:ext>
            </a:extLst>
          </p:cNvPr>
          <p:cNvGrpSpPr>
            <a:grpSpLocks noChangeAspect="1"/>
          </p:cNvGrpSpPr>
          <p:nvPr/>
        </p:nvGrpSpPr>
        <p:grpSpPr>
          <a:xfrm>
            <a:off x="7957391" y="2601893"/>
            <a:ext cx="415636" cy="415636"/>
            <a:chOff x="7936609" y="2842779"/>
            <a:chExt cx="457200" cy="457200"/>
          </a:xfrm>
        </p:grpSpPr>
        <p:sp>
          <p:nvSpPr>
            <p:cNvPr id="35" name="Oval 34">
              <a:extLst>
                <a:ext uri="{FF2B5EF4-FFF2-40B4-BE49-F238E27FC236}">
                  <a16:creationId xmlns:a16="http://schemas.microsoft.com/office/drawing/2014/main" id="{4C3B453C-B552-CD3E-75D5-835FF3DF2271}"/>
                </a:ext>
              </a:extLst>
            </p:cNvPr>
            <p:cNvSpPr>
              <a:spLocks noChangeAspect="1"/>
            </p:cNvSpPr>
            <p:nvPr/>
          </p:nvSpPr>
          <p:spPr>
            <a:xfrm>
              <a:off x="7936609" y="2842779"/>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sp>
          <p:nvSpPr>
            <p:cNvPr id="36" name="Pic">
              <a:extLst>
                <a:ext uri="{FF2B5EF4-FFF2-40B4-BE49-F238E27FC236}">
                  <a16:creationId xmlns:a16="http://schemas.microsoft.com/office/drawing/2014/main" id="{4E4CF6D3-130E-6F7B-5909-41787F29B2C8}"/>
                </a:ext>
              </a:extLst>
            </p:cNvPr>
            <p:cNvSpPr>
              <a:spLocks noChangeAspect="1"/>
            </p:cNvSpPr>
            <p:nvPr/>
          </p:nvSpPr>
          <p:spPr>
            <a:xfrm>
              <a:off x="8063313" y="2939868"/>
              <a:ext cx="203793" cy="263023"/>
            </a:xfrm>
            <a:custGeom>
              <a:avLst/>
              <a:gdLst>
                <a:gd name="csX0" fmla="*/ 184383 w 185266"/>
                <a:gd name="csY0" fmla="*/ 46792 h 239112"/>
                <a:gd name="csX1" fmla="*/ 161464 w 185266"/>
                <a:gd name="csY1" fmla="*/ 24066 h 239112"/>
                <a:gd name="csX2" fmla="*/ 158224 w 185266"/>
                <a:gd name="csY2" fmla="*/ 23431 h 239112"/>
                <a:gd name="csX3" fmla="*/ 156394 w 185266"/>
                <a:gd name="csY3" fmla="*/ 26179 h 239112"/>
                <a:gd name="csX4" fmla="*/ 156394 w 185266"/>
                <a:gd name="csY4" fmla="*/ 36607 h 239112"/>
                <a:gd name="csX5" fmla="*/ 107221 w 185266"/>
                <a:gd name="csY5" fmla="*/ 56833 h 239112"/>
                <a:gd name="csX6" fmla="*/ 107221 w 185266"/>
                <a:gd name="csY6" fmla="*/ 28868 h 239112"/>
                <a:gd name="csX7" fmla="*/ 117609 w 185266"/>
                <a:gd name="csY7" fmla="*/ 28868 h 239112"/>
                <a:gd name="csX8" fmla="*/ 120357 w 185266"/>
                <a:gd name="csY8" fmla="*/ 27037 h 239112"/>
                <a:gd name="csX9" fmla="*/ 119722 w 185266"/>
                <a:gd name="csY9" fmla="*/ 23798 h 239112"/>
                <a:gd name="csX10" fmla="*/ 96996 w 185266"/>
                <a:gd name="csY10" fmla="*/ 878 h 239112"/>
                <a:gd name="csX11" fmla="*/ 94883 w 185266"/>
                <a:gd name="csY11" fmla="*/ 0 h 239112"/>
                <a:gd name="csX12" fmla="*/ 92770 w 185266"/>
                <a:gd name="csY12" fmla="*/ 878 h 239112"/>
                <a:gd name="csX13" fmla="*/ 70043 w 185266"/>
                <a:gd name="csY13" fmla="*/ 23798 h 239112"/>
                <a:gd name="csX14" fmla="*/ 69408 w 185266"/>
                <a:gd name="csY14" fmla="*/ 27037 h 239112"/>
                <a:gd name="csX15" fmla="*/ 72157 w 185266"/>
                <a:gd name="csY15" fmla="*/ 28868 h 239112"/>
                <a:gd name="csX16" fmla="*/ 82545 w 185266"/>
                <a:gd name="csY16" fmla="*/ 28868 h 239112"/>
                <a:gd name="csX17" fmla="*/ 82545 w 185266"/>
                <a:gd name="csY17" fmla="*/ 56833 h 239112"/>
                <a:gd name="csX18" fmla="*/ 78179 w 185266"/>
                <a:gd name="csY18" fmla="*/ 53092 h 239112"/>
                <a:gd name="csX19" fmla="*/ 33372 w 185266"/>
                <a:gd name="csY19" fmla="*/ 36607 h 239112"/>
                <a:gd name="csX20" fmla="*/ 33372 w 185266"/>
                <a:gd name="csY20" fmla="*/ 26179 h 239112"/>
                <a:gd name="csX21" fmla="*/ 31542 w 185266"/>
                <a:gd name="csY21" fmla="*/ 23431 h 239112"/>
                <a:gd name="csX22" fmla="*/ 28302 w 185266"/>
                <a:gd name="csY22" fmla="*/ 24066 h 239112"/>
                <a:gd name="csX23" fmla="*/ 5383 w 185266"/>
                <a:gd name="csY23" fmla="*/ 46792 h 239112"/>
                <a:gd name="csX24" fmla="*/ 4500 w 185266"/>
                <a:gd name="csY24" fmla="*/ 48905 h 239112"/>
                <a:gd name="csX25" fmla="*/ 5383 w 185266"/>
                <a:gd name="csY25" fmla="*/ 51018 h 239112"/>
                <a:gd name="csX26" fmla="*/ 28302 w 185266"/>
                <a:gd name="csY26" fmla="*/ 73744 h 239112"/>
                <a:gd name="csX27" fmla="*/ 31542 w 185266"/>
                <a:gd name="csY27" fmla="*/ 74379 h 239112"/>
                <a:gd name="csX28" fmla="*/ 33372 w 185266"/>
                <a:gd name="csY28" fmla="*/ 71631 h 239112"/>
                <a:gd name="csX29" fmla="*/ 33372 w 185266"/>
                <a:gd name="csY29" fmla="*/ 61312 h 239112"/>
                <a:gd name="csX30" fmla="*/ 78155 w 185266"/>
                <a:gd name="csY30" fmla="*/ 92224 h 239112"/>
                <a:gd name="csX31" fmla="*/ 75431 w 185266"/>
                <a:gd name="csY31" fmla="*/ 92224 h 239112"/>
                <a:gd name="csX32" fmla="*/ 72454 w 185266"/>
                <a:gd name="csY32" fmla="*/ 95200 h 239112"/>
                <a:gd name="csX33" fmla="*/ 72454 w 185266"/>
                <a:gd name="csY33" fmla="*/ 109458 h 239112"/>
                <a:gd name="csX34" fmla="*/ 75431 w 185266"/>
                <a:gd name="csY34" fmla="*/ 112435 h 239112"/>
                <a:gd name="csX35" fmla="*/ 80972 w 185266"/>
                <a:gd name="csY35" fmla="*/ 112435 h 239112"/>
                <a:gd name="csX36" fmla="*/ 80972 w 185266"/>
                <a:gd name="csY36" fmla="*/ 121414 h 239112"/>
                <a:gd name="csX37" fmla="*/ 64899 w 185266"/>
                <a:gd name="csY37" fmla="*/ 127873 h 239112"/>
                <a:gd name="csX38" fmla="*/ 48399 w 185266"/>
                <a:gd name="csY38" fmla="*/ 127873 h 239112"/>
                <a:gd name="csX39" fmla="*/ 45422 w 185266"/>
                <a:gd name="csY39" fmla="*/ 130850 h 239112"/>
                <a:gd name="csX40" fmla="*/ 48399 w 185266"/>
                <a:gd name="csY40" fmla="*/ 133826 h 239112"/>
                <a:gd name="csX41" fmla="*/ 56465 w 185266"/>
                <a:gd name="csY41" fmla="*/ 133826 h 239112"/>
                <a:gd name="csX42" fmla="*/ 39023 w 185266"/>
                <a:gd name="csY42" fmla="*/ 158472 h 239112"/>
                <a:gd name="csX43" fmla="*/ 25127 w 185266"/>
                <a:gd name="csY43" fmla="*/ 158472 h 239112"/>
                <a:gd name="csX44" fmla="*/ 22151 w 185266"/>
                <a:gd name="csY44" fmla="*/ 161449 h 239112"/>
                <a:gd name="csX45" fmla="*/ 25127 w 185266"/>
                <a:gd name="csY45" fmla="*/ 164425 h 239112"/>
                <a:gd name="csX46" fmla="*/ 37128 w 185266"/>
                <a:gd name="csY46" fmla="*/ 164425 h 239112"/>
                <a:gd name="csX47" fmla="*/ 35213 w 185266"/>
                <a:gd name="csY47" fmla="*/ 179442 h 239112"/>
                <a:gd name="csX48" fmla="*/ 35982 w 185266"/>
                <a:gd name="csY48" fmla="*/ 189012 h 239112"/>
                <a:gd name="csX49" fmla="*/ 15538 w 185266"/>
                <a:gd name="csY49" fmla="*/ 189012 h 239112"/>
                <a:gd name="csX50" fmla="*/ 12561 w 185266"/>
                <a:gd name="csY50" fmla="*/ 191988 h 239112"/>
                <a:gd name="csX51" fmla="*/ 15538 w 185266"/>
                <a:gd name="csY51" fmla="*/ 194965 h 239112"/>
                <a:gd name="csX52" fmla="*/ 37262 w 185266"/>
                <a:gd name="csY52" fmla="*/ 194965 h 239112"/>
                <a:gd name="csX53" fmla="*/ 50676 w 185266"/>
                <a:gd name="csY53" fmla="*/ 219487 h 239112"/>
                <a:gd name="csX54" fmla="*/ 33010 w 185266"/>
                <a:gd name="csY54" fmla="*/ 219487 h 239112"/>
                <a:gd name="csX55" fmla="*/ 30034 w 185266"/>
                <a:gd name="csY55" fmla="*/ 222463 h 239112"/>
                <a:gd name="csX56" fmla="*/ 33010 w 185266"/>
                <a:gd name="csY56" fmla="*/ 225440 h 239112"/>
                <a:gd name="csX57" fmla="*/ 56902 w 185266"/>
                <a:gd name="csY57" fmla="*/ 225440 h 239112"/>
                <a:gd name="csX58" fmla="*/ 94878 w 185266"/>
                <a:gd name="csY58" fmla="*/ 239112 h 239112"/>
                <a:gd name="csX59" fmla="*/ 154548 w 185266"/>
                <a:gd name="csY59" fmla="*/ 179442 h 239112"/>
                <a:gd name="csX60" fmla="*/ 108793 w 185266"/>
                <a:gd name="csY60" fmla="*/ 121414 h 239112"/>
                <a:gd name="csX61" fmla="*/ 108793 w 185266"/>
                <a:gd name="csY61" fmla="*/ 112435 h 239112"/>
                <a:gd name="csX62" fmla="*/ 114335 w 185266"/>
                <a:gd name="csY62" fmla="*/ 112435 h 239112"/>
                <a:gd name="csX63" fmla="*/ 117311 w 185266"/>
                <a:gd name="csY63" fmla="*/ 109458 h 239112"/>
                <a:gd name="csX64" fmla="*/ 117311 w 185266"/>
                <a:gd name="csY64" fmla="*/ 95200 h 239112"/>
                <a:gd name="csX65" fmla="*/ 114335 w 185266"/>
                <a:gd name="csY65" fmla="*/ 92224 h 239112"/>
                <a:gd name="csX66" fmla="*/ 111611 w 185266"/>
                <a:gd name="csY66" fmla="*/ 92224 h 239112"/>
                <a:gd name="csX67" fmla="*/ 156394 w 185266"/>
                <a:gd name="csY67" fmla="*/ 61312 h 239112"/>
                <a:gd name="csX68" fmla="*/ 156394 w 185266"/>
                <a:gd name="csY68" fmla="*/ 71631 h 239112"/>
                <a:gd name="csX69" fmla="*/ 158224 w 185266"/>
                <a:gd name="csY69" fmla="*/ 74379 h 239112"/>
                <a:gd name="csX70" fmla="*/ 161464 w 185266"/>
                <a:gd name="csY70" fmla="*/ 73744 h 239112"/>
                <a:gd name="csX71" fmla="*/ 184383 w 185266"/>
                <a:gd name="csY71" fmla="*/ 51018 h 239112"/>
                <a:gd name="csX72" fmla="*/ 185266 w 185266"/>
                <a:gd name="csY72" fmla="*/ 48905 h 239112"/>
                <a:gd name="csX73" fmla="*/ 184383 w 185266"/>
                <a:gd name="csY73" fmla="*/ 46792 h 239112"/>
                <a:gd name="csX74" fmla="*/ 79291 w 185266"/>
                <a:gd name="csY74" fmla="*/ 22915 h 239112"/>
                <a:gd name="csX75" fmla="*/ 94873 w 185266"/>
                <a:gd name="csY75" fmla="*/ 7198 h 239112"/>
                <a:gd name="csX76" fmla="*/ 110455 w 185266"/>
                <a:gd name="csY76" fmla="*/ 22915 h 239112"/>
                <a:gd name="csX77" fmla="*/ 104234 w 185266"/>
                <a:gd name="csY77" fmla="*/ 22915 h 239112"/>
                <a:gd name="csX78" fmla="*/ 101258 w 185266"/>
                <a:gd name="csY78" fmla="*/ 25891 h 239112"/>
                <a:gd name="csX79" fmla="*/ 101258 w 185266"/>
                <a:gd name="csY79" fmla="*/ 83473 h 239112"/>
                <a:gd name="csX80" fmla="*/ 88478 w 185266"/>
                <a:gd name="csY80" fmla="*/ 62974 h 239112"/>
                <a:gd name="csX81" fmla="*/ 88478 w 185266"/>
                <a:gd name="csY81" fmla="*/ 25891 h 239112"/>
                <a:gd name="csX82" fmla="*/ 85502 w 185266"/>
                <a:gd name="csY82" fmla="*/ 22915 h 239112"/>
                <a:gd name="csX83" fmla="*/ 30758 w 185266"/>
                <a:gd name="csY83" fmla="*/ 55295 h 239112"/>
                <a:gd name="csX84" fmla="*/ 30386 w 185266"/>
                <a:gd name="csY84" fmla="*/ 55295 h 239112"/>
                <a:gd name="csX85" fmla="*/ 27409 w 185266"/>
                <a:gd name="csY85" fmla="*/ 58271 h 239112"/>
                <a:gd name="csX86" fmla="*/ 27409 w 185266"/>
                <a:gd name="csY86" fmla="*/ 64492 h 239112"/>
                <a:gd name="csX87" fmla="*/ 11693 w 185266"/>
                <a:gd name="csY87" fmla="*/ 48910 h 239112"/>
                <a:gd name="csX88" fmla="*/ 27409 w 185266"/>
                <a:gd name="csY88" fmla="*/ 33328 h 239112"/>
                <a:gd name="csX89" fmla="*/ 27409 w 185266"/>
                <a:gd name="csY89" fmla="*/ 39549 h 239112"/>
                <a:gd name="csX90" fmla="*/ 30386 w 185266"/>
                <a:gd name="csY90" fmla="*/ 42525 h 239112"/>
                <a:gd name="csX91" fmla="*/ 30867 w 185266"/>
                <a:gd name="csY91" fmla="*/ 42525 h 239112"/>
                <a:gd name="csX92" fmla="*/ 98142 w 185266"/>
                <a:gd name="csY92" fmla="*/ 92234 h 239112"/>
                <a:gd name="csX93" fmla="*/ 84589 w 185266"/>
                <a:gd name="csY93" fmla="*/ 92234 h 239112"/>
                <a:gd name="csX94" fmla="*/ 30758 w 185266"/>
                <a:gd name="csY94" fmla="*/ 55295 h 239112"/>
                <a:gd name="csX95" fmla="*/ 148595 w 185266"/>
                <a:gd name="csY95" fmla="*/ 179442 h 239112"/>
                <a:gd name="csX96" fmla="*/ 94878 w 185266"/>
                <a:gd name="csY96" fmla="*/ 233159 h 239112"/>
                <a:gd name="csX97" fmla="*/ 41161 w 185266"/>
                <a:gd name="csY97" fmla="*/ 179442 h 239112"/>
                <a:gd name="csX98" fmla="*/ 94878 w 185266"/>
                <a:gd name="csY98" fmla="*/ 125725 h 239112"/>
                <a:gd name="csX99" fmla="*/ 148595 w 185266"/>
                <a:gd name="csY99" fmla="*/ 179442 h 239112"/>
                <a:gd name="csX100" fmla="*/ 102840 w 185266"/>
                <a:gd name="csY100" fmla="*/ 120308 h 239112"/>
                <a:gd name="csX101" fmla="*/ 94878 w 185266"/>
                <a:gd name="csY101" fmla="*/ 119777 h 239112"/>
                <a:gd name="csX102" fmla="*/ 86916 w 185266"/>
                <a:gd name="csY102" fmla="*/ 120308 h 239112"/>
                <a:gd name="csX103" fmla="*/ 86916 w 185266"/>
                <a:gd name="csY103" fmla="*/ 112440 h 239112"/>
                <a:gd name="csX104" fmla="*/ 102840 w 185266"/>
                <a:gd name="csY104" fmla="*/ 112440 h 239112"/>
                <a:gd name="csX105" fmla="*/ 111358 w 185266"/>
                <a:gd name="csY105" fmla="*/ 106482 h 239112"/>
                <a:gd name="csX106" fmla="*/ 78398 w 185266"/>
                <a:gd name="csY106" fmla="*/ 106482 h 239112"/>
                <a:gd name="csX107" fmla="*/ 78398 w 185266"/>
                <a:gd name="csY107" fmla="*/ 98177 h 239112"/>
                <a:gd name="csX108" fmla="*/ 111358 w 185266"/>
                <a:gd name="csY108" fmla="*/ 98177 h 239112"/>
                <a:gd name="csX109" fmla="*/ 162347 w 185266"/>
                <a:gd name="csY109" fmla="*/ 64492 h 239112"/>
                <a:gd name="csX110" fmla="*/ 162347 w 185266"/>
                <a:gd name="csY110" fmla="*/ 58276 h 239112"/>
                <a:gd name="csX111" fmla="*/ 159370 w 185266"/>
                <a:gd name="csY111" fmla="*/ 55300 h 239112"/>
                <a:gd name="csX112" fmla="*/ 158998 w 185266"/>
                <a:gd name="csY112" fmla="*/ 55300 h 239112"/>
                <a:gd name="csX113" fmla="*/ 107221 w 185266"/>
                <a:gd name="csY113" fmla="*/ 87566 h 239112"/>
                <a:gd name="csX114" fmla="*/ 107221 w 185266"/>
                <a:gd name="csY114" fmla="*/ 65241 h 239112"/>
                <a:gd name="csX115" fmla="*/ 158889 w 185266"/>
                <a:gd name="csY115" fmla="*/ 42520 h 239112"/>
                <a:gd name="csX116" fmla="*/ 159370 w 185266"/>
                <a:gd name="csY116" fmla="*/ 42520 h 239112"/>
                <a:gd name="csX117" fmla="*/ 162347 w 185266"/>
                <a:gd name="csY117" fmla="*/ 39544 h 239112"/>
                <a:gd name="csX118" fmla="*/ 162347 w 185266"/>
                <a:gd name="csY118" fmla="*/ 33323 h 239112"/>
                <a:gd name="csX119" fmla="*/ 178058 w 185266"/>
                <a:gd name="csY119" fmla="*/ 48905 h 239112"/>
                <a:gd name="csX120" fmla="*/ 48230 w 185266"/>
                <a:gd name="csY120" fmla="*/ 179442 h 239112"/>
                <a:gd name="csX121" fmla="*/ 94878 w 185266"/>
                <a:gd name="csY121" fmla="*/ 226090 h 239112"/>
                <a:gd name="csX122" fmla="*/ 141526 w 185266"/>
                <a:gd name="csY122" fmla="*/ 179442 h 239112"/>
                <a:gd name="csX123" fmla="*/ 94878 w 185266"/>
                <a:gd name="csY123" fmla="*/ 132794 h 239112"/>
                <a:gd name="csX124" fmla="*/ 48230 w 185266"/>
                <a:gd name="csY124" fmla="*/ 179442 h 239112"/>
                <a:gd name="csX125" fmla="*/ 135453 w 185266"/>
                <a:gd name="csY125" fmla="*/ 176466 h 239112"/>
                <a:gd name="csX126" fmla="*/ 129788 w 185266"/>
                <a:gd name="csY126" fmla="*/ 176466 h 239112"/>
                <a:gd name="csX127" fmla="*/ 126811 w 185266"/>
                <a:gd name="csY127" fmla="*/ 179442 h 239112"/>
                <a:gd name="csX128" fmla="*/ 129788 w 185266"/>
                <a:gd name="csY128" fmla="*/ 182419 h 239112"/>
                <a:gd name="csX129" fmla="*/ 135453 w 185266"/>
                <a:gd name="csY129" fmla="*/ 182419 h 239112"/>
                <a:gd name="csX130" fmla="*/ 97854 w 185266"/>
                <a:gd name="csY130" fmla="*/ 220018 h 239112"/>
                <a:gd name="csX131" fmla="*/ 97854 w 185266"/>
                <a:gd name="csY131" fmla="*/ 214357 h 239112"/>
                <a:gd name="csX132" fmla="*/ 94878 w 185266"/>
                <a:gd name="csY132" fmla="*/ 211381 h 239112"/>
                <a:gd name="csX133" fmla="*/ 91901 w 185266"/>
                <a:gd name="csY133" fmla="*/ 214357 h 239112"/>
                <a:gd name="csX134" fmla="*/ 91901 w 185266"/>
                <a:gd name="csY134" fmla="*/ 220023 h 239112"/>
                <a:gd name="csX135" fmla="*/ 54302 w 185266"/>
                <a:gd name="csY135" fmla="*/ 182424 h 239112"/>
                <a:gd name="csX136" fmla="*/ 59968 w 185266"/>
                <a:gd name="csY136" fmla="*/ 182424 h 239112"/>
                <a:gd name="csX137" fmla="*/ 62944 w 185266"/>
                <a:gd name="csY137" fmla="*/ 179447 h 239112"/>
                <a:gd name="csX138" fmla="*/ 59968 w 185266"/>
                <a:gd name="csY138" fmla="*/ 176470 h 239112"/>
                <a:gd name="csX139" fmla="*/ 54302 w 185266"/>
                <a:gd name="csY139" fmla="*/ 176470 h 239112"/>
                <a:gd name="csX140" fmla="*/ 91901 w 185266"/>
                <a:gd name="csY140" fmla="*/ 138872 h 239112"/>
                <a:gd name="csX141" fmla="*/ 91901 w 185266"/>
                <a:gd name="csY141" fmla="*/ 144537 h 239112"/>
                <a:gd name="csX142" fmla="*/ 94878 w 185266"/>
                <a:gd name="csY142" fmla="*/ 147513 h 239112"/>
                <a:gd name="csX143" fmla="*/ 97854 w 185266"/>
                <a:gd name="csY143" fmla="*/ 144537 h 239112"/>
                <a:gd name="csX144" fmla="*/ 97854 w 185266"/>
                <a:gd name="csY144" fmla="*/ 138872 h 239112"/>
                <a:gd name="csX145" fmla="*/ 135453 w 185266"/>
                <a:gd name="csY145" fmla="*/ 176466 h 239112"/>
                <a:gd name="csX146" fmla="*/ 94878 w 185266"/>
                <a:gd name="csY146" fmla="*/ 169361 h 239112"/>
                <a:gd name="csX147" fmla="*/ 84797 w 185266"/>
                <a:gd name="csY147" fmla="*/ 179442 h 239112"/>
                <a:gd name="csX148" fmla="*/ 85055 w 185266"/>
                <a:gd name="csY148" fmla="*/ 181675 h 239112"/>
                <a:gd name="csX149" fmla="*/ 66486 w 185266"/>
                <a:gd name="csY149" fmla="*/ 192395 h 239112"/>
                <a:gd name="csX150" fmla="*/ 65395 w 185266"/>
                <a:gd name="csY150" fmla="*/ 196463 h 239112"/>
                <a:gd name="csX151" fmla="*/ 67975 w 185266"/>
                <a:gd name="csY151" fmla="*/ 197951 h 239112"/>
                <a:gd name="csX152" fmla="*/ 69458 w 185266"/>
                <a:gd name="csY152" fmla="*/ 197554 h 239112"/>
                <a:gd name="csX153" fmla="*/ 88032 w 185266"/>
                <a:gd name="csY153" fmla="*/ 186829 h 239112"/>
                <a:gd name="csX154" fmla="*/ 94868 w 185266"/>
                <a:gd name="csY154" fmla="*/ 189523 h 239112"/>
                <a:gd name="csX155" fmla="*/ 104949 w 185266"/>
                <a:gd name="csY155" fmla="*/ 179442 h 239112"/>
                <a:gd name="csX156" fmla="*/ 94878 w 185266"/>
                <a:gd name="csY156" fmla="*/ 169361 h 239112"/>
                <a:gd name="csX157" fmla="*/ 94878 w 185266"/>
                <a:gd name="csY157" fmla="*/ 183570 h 239112"/>
                <a:gd name="csX158" fmla="*/ 90750 w 185266"/>
                <a:gd name="csY158" fmla="*/ 179442 h 239112"/>
                <a:gd name="csX159" fmla="*/ 94878 w 185266"/>
                <a:gd name="csY159" fmla="*/ 175315 h 239112"/>
                <a:gd name="csX160" fmla="*/ 99005 w 185266"/>
                <a:gd name="csY160" fmla="*/ 179442 h 239112"/>
                <a:gd name="csX161" fmla="*/ 94878 w 185266"/>
                <a:gd name="csY161" fmla="*/ 183570 h 239112"/>
                <a:gd name="csX162" fmla="*/ 12179 w 185266"/>
                <a:gd name="csY162" fmla="*/ 136327 h 239112"/>
                <a:gd name="csX163" fmla="*/ 9203 w 185266"/>
                <a:gd name="csY163" fmla="*/ 133350 h 239112"/>
                <a:gd name="csX164" fmla="*/ 12179 w 185266"/>
                <a:gd name="csY164" fmla="*/ 130373 h 239112"/>
                <a:gd name="csX165" fmla="*/ 34354 w 185266"/>
                <a:gd name="csY165" fmla="*/ 130373 h 239112"/>
                <a:gd name="csX166" fmla="*/ 37331 w 185266"/>
                <a:gd name="csY166" fmla="*/ 133350 h 239112"/>
                <a:gd name="csX167" fmla="*/ 34354 w 185266"/>
                <a:gd name="csY167" fmla="*/ 136327 h 239112"/>
                <a:gd name="csX168" fmla="*/ 0 w 185266"/>
                <a:gd name="csY168" fmla="*/ 149875 h 239112"/>
                <a:gd name="csX169" fmla="*/ 2977 w 185266"/>
                <a:gd name="csY169" fmla="*/ 146898 h 239112"/>
                <a:gd name="csX170" fmla="*/ 30416 w 185266"/>
                <a:gd name="csY170" fmla="*/ 146898 h 239112"/>
                <a:gd name="csX171" fmla="*/ 33392 w 185266"/>
                <a:gd name="csY171" fmla="*/ 149875 h 239112"/>
                <a:gd name="csX172" fmla="*/ 30416 w 185266"/>
                <a:gd name="csY172" fmla="*/ 152851 h 239112"/>
                <a:gd name="csX173" fmla="*/ 2977 w 185266"/>
                <a:gd name="csY173" fmla="*/ 152851 h 239112"/>
                <a:gd name="csX174" fmla="*/ 0 w 185266"/>
                <a:gd name="csY174" fmla="*/ 149875 h 239112"/>
                <a:gd name="csX175" fmla="*/ 22964 w 185266"/>
                <a:gd name="csY175" fmla="*/ 179333 h 239112"/>
                <a:gd name="csX176" fmla="*/ 3170 w 185266"/>
                <a:gd name="csY176" fmla="*/ 179333 h 239112"/>
                <a:gd name="csX177" fmla="*/ 193 w 185266"/>
                <a:gd name="csY177" fmla="*/ 176356 h 239112"/>
                <a:gd name="csX178" fmla="*/ 3170 w 185266"/>
                <a:gd name="csY178" fmla="*/ 173380 h 239112"/>
                <a:gd name="csX179" fmla="*/ 22964 w 185266"/>
                <a:gd name="csY179" fmla="*/ 173380 h 239112"/>
                <a:gd name="csX180" fmla="*/ 25941 w 185266"/>
                <a:gd name="csY180" fmla="*/ 176356 h 239112"/>
                <a:gd name="csX181" fmla="*/ 22964 w 185266"/>
                <a:gd name="csY181" fmla="*/ 179333 h 239112"/>
                <a:gd name="csX182" fmla="*/ 30217 w 185266"/>
                <a:gd name="csY182" fmla="*/ 210056 h 239112"/>
                <a:gd name="csX183" fmla="*/ 14937 w 185266"/>
                <a:gd name="csY183" fmla="*/ 210056 h 239112"/>
                <a:gd name="csX184" fmla="*/ 11961 w 185266"/>
                <a:gd name="csY184" fmla="*/ 207079 h 239112"/>
                <a:gd name="csX185" fmla="*/ 14937 w 185266"/>
                <a:gd name="csY185" fmla="*/ 204103 h 239112"/>
                <a:gd name="csX186" fmla="*/ 30217 w 185266"/>
                <a:gd name="csY186" fmla="*/ 204103 h 239112"/>
                <a:gd name="csX187" fmla="*/ 33194 w 185266"/>
                <a:gd name="csY187" fmla="*/ 207079 h 239112"/>
                <a:gd name="csX188" fmla="*/ 30217 w 185266"/>
                <a:gd name="csY188" fmla="*/ 210056 h 23911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Lst>
              <a:rect l="l" t="t" r="r" b="b"/>
              <a:pathLst>
                <a:path w="185266" h="239112">
                  <a:moveTo>
                    <a:pt x="184383" y="46792"/>
                  </a:moveTo>
                  <a:lnTo>
                    <a:pt x="161464" y="24066"/>
                  </a:lnTo>
                  <a:cubicBezTo>
                    <a:pt x="160610" y="23217"/>
                    <a:pt x="159330" y="22969"/>
                    <a:pt x="158224" y="23431"/>
                  </a:cubicBezTo>
                  <a:cubicBezTo>
                    <a:pt x="157113" y="23892"/>
                    <a:pt x="156394" y="24978"/>
                    <a:pt x="156394" y="26179"/>
                  </a:cubicBezTo>
                  <a:lnTo>
                    <a:pt x="156394" y="36607"/>
                  </a:lnTo>
                  <a:cubicBezTo>
                    <a:pt x="138137" y="37212"/>
                    <a:pt x="120670" y="44440"/>
                    <a:pt x="107221" y="56833"/>
                  </a:cubicBezTo>
                  <a:lnTo>
                    <a:pt x="107221" y="28868"/>
                  </a:lnTo>
                  <a:lnTo>
                    <a:pt x="117609" y="28868"/>
                  </a:lnTo>
                  <a:cubicBezTo>
                    <a:pt x="118809" y="28868"/>
                    <a:pt x="119896" y="28143"/>
                    <a:pt x="120357" y="27037"/>
                  </a:cubicBezTo>
                  <a:cubicBezTo>
                    <a:pt x="120819" y="25931"/>
                    <a:pt x="120571" y="24651"/>
                    <a:pt x="119722" y="23798"/>
                  </a:cubicBezTo>
                  <a:lnTo>
                    <a:pt x="96996" y="878"/>
                  </a:lnTo>
                  <a:cubicBezTo>
                    <a:pt x="96436" y="313"/>
                    <a:pt x="95677" y="0"/>
                    <a:pt x="94883" y="0"/>
                  </a:cubicBezTo>
                  <a:cubicBezTo>
                    <a:pt x="94089" y="0"/>
                    <a:pt x="93330" y="317"/>
                    <a:pt x="92770" y="878"/>
                  </a:cubicBezTo>
                  <a:lnTo>
                    <a:pt x="70043" y="23798"/>
                  </a:lnTo>
                  <a:cubicBezTo>
                    <a:pt x="69195" y="24651"/>
                    <a:pt x="68947" y="25931"/>
                    <a:pt x="69408" y="27037"/>
                  </a:cubicBezTo>
                  <a:cubicBezTo>
                    <a:pt x="69870" y="28143"/>
                    <a:pt x="70956" y="28868"/>
                    <a:pt x="72157" y="28868"/>
                  </a:cubicBezTo>
                  <a:lnTo>
                    <a:pt x="82545" y="28868"/>
                  </a:lnTo>
                  <a:lnTo>
                    <a:pt x="82545" y="56833"/>
                  </a:lnTo>
                  <a:cubicBezTo>
                    <a:pt x="81141" y="55533"/>
                    <a:pt x="79688" y="54283"/>
                    <a:pt x="78179" y="53092"/>
                  </a:cubicBezTo>
                  <a:cubicBezTo>
                    <a:pt x="65207" y="42803"/>
                    <a:pt x="49763" y="37133"/>
                    <a:pt x="33372" y="36607"/>
                  </a:cubicBezTo>
                  <a:lnTo>
                    <a:pt x="33372" y="26179"/>
                  </a:lnTo>
                  <a:cubicBezTo>
                    <a:pt x="33372" y="24978"/>
                    <a:pt x="32648" y="23892"/>
                    <a:pt x="31542" y="23431"/>
                  </a:cubicBezTo>
                  <a:cubicBezTo>
                    <a:pt x="30430" y="22969"/>
                    <a:pt x="29155" y="23217"/>
                    <a:pt x="28302" y="24066"/>
                  </a:cubicBezTo>
                  <a:lnTo>
                    <a:pt x="5383" y="46792"/>
                  </a:lnTo>
                  <a:cubicBezTo>
                    <a:pt x="4817" y="47352"/>
                    <a:pt x="4500" y="48111"/>
                    <a:pt x="4500" y="48905"/>
                  </a:cubicBezTo>
                  <a:cubicBezTo>
                    <a:pt x="4500" y="49699"/>
                    <a:pt x="4817" y="50458"/>
                    <a:pt x="5383" y="51018"/>
                  </a:cubicBezTo>
                  <a:lnTo>
                    <a:pt x="28302" y="73744"/>
                  </a:lnTo>
                  <a:cubicBezTo>
                    <a:pt x="29155" y="74593"/>
                    <a:pt x="30435" y="74841"/>
                    <a:pt x="31542" y="74379"/>
                  </a:cubicBezTo>
                  <a:cubicBezTo>
                    <a:pt x="32653" y="73918"/>
                    <a:pt x="33372" y="72832"/>
                    <a:pt x="33372" y="71631"/>
                  </a:cubicBezTo>
                  <a:lnTo>
                    <a:pt x="33372" y="61312"/>
                  </a:lnTo>
                  <a:cubicBezTo>
                    <a:pt x="52928" y="62299"/>
                    <a:pt x="70262" y="74325"/>
                    <a:pt x="78155" y="92224"/>
                  </a:cubicBezTo>
                  <a:lnTo>
                    <a:pt x="75431" y="92224"/>
                  </a:lnTo>
                  <a:cubicBezTo>
                    <a:pt x="73789" y="92224"/>
                    <a:pt x="72454" y="93558"/>
                    <a:pt x="72454" y="95200"/>
                  </a:cubicBezTo>
                  <a:lnTo>
                    <a:pt x="72454" y="109458"/>
                  </a:lnTo>
                  <a:cubicBezTo>
                    <a:pt x="72454" y="111100"/>
                    <a:pt x="73789" y="112435"/>
                    <a:pt x="75431" y="112435"/>
                  </a:cubicBezTo>
                  <a:lnTo>
                    <a:pt x="80972" y="112435"/>
                  </a:lnTo>
                  <a:lnTo>
                    <a:pt x="80972" y="121414"/>
                  </a:lnTo>
                  <a:cubicBezTo>
                    <a:pt x="75252" y="122783"/>
                    <a:pt x="69850" y="124981"/>
                    <a:pt x="64899" y="127873"/>
                  </a:cubicBezTo>
                  <a:lnTo>
                    <a:pt x="48399" y="127873"/>
                  </a:lnTo>
                  <a:cubicBezTo>
                    <a:pt x="46757" y="127873"/>
                    <a:pt x="45422" y="129208"/>
                    <a:pt x="45422" y="130850"/>
                  </a:cubicBezTo>
                  <a:cubicBezTo>
                    <a:pt x="45422" y="132492"/>
                    <a:pt x="46757" y="133826"/>
                    <a:pt x="48399" y="133826"/>
                  </a:cubicBezTo>
                  <a:lnTo>
                    <a:pt x="56465" y="133826"/>
                  </a:lnTo>
                  <a:cubicBezTo>
                    <a:pt x="48721" y="140360"/>
                    <a:pt x="42659" y="148823"/>
                    <a:pt x="39023" y="158472"/>
                  </a:cubicBezTo>
                  <a:lnTo>
                    <a:pt x="25127" y="158472"/>
                  </a:lnTo>
                  <a:cubicBezTo>
                    <a:pt x="23485" y="158472"/>
                    <a:pt x="22151" y="159807"/>
                    <a:pt x="22151" y="161449"/>
                  </a:cubicBezTo>
                  <a:cubicBezTo>
                    <a:pt x="22151" y="163091"/>
                    <a:pt x="23485" y="164425"/>
                    <a:pt x="25127" y="164425"/>
                  </a:cubicBezTo>
                  <a:lnTo>
                    <a:pt x="37128" y="164425"/>
                  </a:lnTo>
                  <a:cubicBezTo>
                    <a:pt x="35878" y="169228"/>
                    <a:pt x="35213" y="174258"/>
                    <a:pt x="35213" y="179442"/>
                  </a:cubicBezTo>
                  <a:cubicBezTo>
                    <a:pt x="35213" y="182696"/>
                    <a:pt x="35481" y="185891"/>
                    <a:pt x="35982" y="189012"/>
                  </a:cubicBezTo>
                  <a:lnTo>
                    <a:pt x="15538" y="189012"/>
                  </a:lnTo>
                  <a:cubicBezTo>
                    <a:pt x="13896" y="189012"/>
                    <a:pt x="12561" y="190346"/>
                    <a:pt x="12561" y="191988"/>
                  </a:cubicBezTo>
                  <a:cubicBezTo>
                    <a:pt x="12561" y="193630"/>
                    <a:pt x="13896" y="194965"/>
                    <a:pt x="15538" y="194965"/>
                  </a:cubicBezTo>
                  <a:lnTo>
                    <a:pt x="37262" y="194965"/>
                  </a:lnTo>
                  <a:cubicBezTo>
                    <a:pt x="39757" y="204217"/>
                    <a:pt x="44420" y="212581"/>
                    <a:pt x="50676" y="219487"/>
                  </a:cubicBezTo>
                  <a:lnTo>
                    <a:pt x="33010" y="219487"/>
                  </a:lnTo>
                  <a:cubicBezTo>
                    <a:pt x="31368" y="219487"/>
                    <a:pt x="30034" y="220821"/>
                    <a:pt x="30034" y="222463"/>
                  </a:cubicBezTo>
                  <a:cubicBezTo>
                    <a:pt x="30034" y="224105"/>
                    <a:pt x="31368" y="225440"/>
                    <a:pt x="33010" y="225440"/>
                  </a:cubicBezTo>
                  <a:lnTo>
                    <a:pt x="56902" y="225440"/>
                  </a:lnTo>
                  <a:cubicBezTo>
                    <a:pt x="67231" y="233978"/>
                    <a:pt x="80466" y="239112"/>
                    <a:pt x="94878" y="239112"/>
                  </a:cubicBezTo>
                  <a:cubicBezTo>
                    <a:pt x="127779" y="239112"/>
                    <a:pt x="154548" y="212343"/>
                    <a:pt x="154548" y="179442"/>
                  </a:cubicBezTo>
                  <a:cubicBezTo>
                    <a:pt x="154548" y="151328"/>
                    <a:pt x="135007" y="127700"/>
                    <a:pt x="108793" y="121414"/>
                  </a:cubicBezTo>
                  <a:lnTo>
                    <a:pt x="108793" y="112435"/>
                  </a:lnTo>
                  <a:lnTo>
                    <a:pt x="114335" y="112435"/>
                  </a:lnTo>
                  <a:cubicBezTo>
                    <a:pt x="115977" y="112435"/>
                    <a:pt x="117311" y="111100"/>
                    <a:pt x="117311" y="109458"/>
                  </a:cubicBezTo>
                  <a:lnTo>
                    <a:pt x="117311" y="95200"/>
                  </a:lnTo>
                  <a:cubicBezTo>
                    <a:pt x="117311" y="93558"/>
                    <a:pt x="115977" y="92224"/>
                    <a:pt x="114335" y="92224"/>
                  </a:cubicBezTo>
                  <a:lnTo>
                    <a:pt x="111611" y="92224"/>
                  </a:lnTo>
                  <a:cubicBezTo>
                    <a:pt x="119504" y="74325"/>
                    <a:pt x="136838" y="62294"/>
                    <a:pt x="156394" y="61312"/>
                  </a:cubicBezTo>
                  <a:lnTo>
                    <a:pt x="156394" y="71631"/>
                  </a:lnTo>
                  <a:cubicBezTo>
                    <a:pt x="156394" y="72832"/>
                    <a:pt x="157118" y="73918"/>
                    <a:pt x="158224" y="74379"/>
                  </a:cubicBezTo>
                  <a:cubicBezTo>
                    <a:pt x="159335" y="74841"/>
                    <a:pt x="160610" y="74593"/>
                    <a:pt x="161464" y="73744"/>
                  </a:cubicBezTo>
                  <a:lnTo>
                    <a:pt x="184383" y="51018"/>
                  </a:lnTo>
                  <a:cubicBezTo>
                    <a:pt x="184949" y="50458"/>
                    <a:pt x="185266" y="49699"/>
                    <a:pt x="185266" y="48905"/>
                  </a:cubicBezTo>
                  <a:cubicBezTo>
                    <a:pt x="185266" y="48111"/>
                    <a:pt x="184944" y="47352"/>
                    <a:pt x="184383" y="46792"/>
                  </a:cubicBezTo>
                  <a:close/>
                  <a:moveTo>
                    <a:pt x="79291" y="22915"/>
                  </a:moveTo>
                  <a:lnTo>
                    <a:pt x="94873" y="7198"/>
                  </a:lnTo>
                  <a:lnTo>
                    <a:pt x="110455" y="22915"/>
                  </a:lnTo>
                  <a:lnTo>
                    <a:pt x="104234" y="22915"/>
                  </a:lnTo>
                  <a:cubicBezTo>
                    <a:pt x="102592" y="22915"/>
                    <a:pt x="101258" y="24249"/>
                    <a:pt x="101258" y="25891"/>
                  </a:cubicBezTo>
                  <a:lnTo>
                    <a:pt x="101258" y="83473"/>
                  </a:lnTo>
                  <a:cubicBezTo>
                    <a:pt x="98112" y="76036"/>
                    <a:pt x="93791" y="69101"/>
                    <a:pt x="88478" y="62974"/>
                  </a:cubicBezTo>
                  <a:lnTo>
                    <a:pt x="88478" y="25891"/>
                  </a:lnTo>
                  <a:cubicBezTo>
                    <a:pt x="88478" y="24249"/>
                    <a:pt x="87144" y="22915"/>
                    <a:pt x="85502" y="22915"/>
                  </a:cubicBezTo>
                  <a:close/>
                  <a:moveTo>
                    <a:pt x="30758" y="55295"/>
                  </a:moveTo>
                  <a:lnTo>
                    <a:pt x="30386" y="55295"/>
                  </a:lnTo>
                  <a:cubicBezTo>
                    <a:pt x="28744" y="55295"/>
                    <a:pt x="27409" y="56629"/>
                    <a:pt x="27409" y="58271"/>
                  </a:cubicBezTo>
                  <a:lnTo>
                    <a:pt x="27409" y="64492"/>
                  </a:lnTo>
                  <a:lnTo>
                    <a:pt x="11693" y="48910"/>
                  </a:lnTo>
                  <a:lnTo>
                    <a:pt x="27409" y="33328"/>
                  </a:lnTo>
                  <a:lnTo>
                    <a:pt x="27409" y="39549"/>
                  </a:lnTo>
                  <a:cubicBezTo>
                    <a:pt x="27409" y="41191"/>
                    <a:pt x="28744" y="42525"/>
                    <a:pt x="30386" y="42525"/>
                  </a:cubicBezTo>
                  <a:lnTo>
                    <a:pt x="30867" y="42525"/>
                  </a:lnTo>
                  <a:cubicBezTo>
                    <a:pt x="61932" y="42525"/>
                    <a:pt x="89069" y="62781"/>
                    <a:pt x="98142" y="92234"/>
                  </a:cubicBezTo>
                  <a:lnTo>
                    <a:pt x="84589" y="92234"/>
                  </a:lnTo>
                  <a:cubicBezTo>
                    <a:pt x="75977" y="70048"/>
                    <a:pt x="54610" y="55295"/>
                    <a:pt x="30758" y="55295"/>
                  </a:cubicBezTo>
                  <a:close/>
                  <a:moveTo>
                    <a:pt x="148595" y="179442"/>
                  </a:moveTo>
                  <a:cubicBezTo>
                    <a:pt x="148595" y="209059"/>
                    <a:pt x="124500" y="233159"/>
                    <a:pt x="94878" y="233159"/>
                  </a:cubicBezTo>
                  <a:cubicBezTo>
                    <a:pt x="65256" y="233159"/>
                    <a:pt x="41161" y="209064"/>
                    <a:pt x="41161" y="179442"/>
                  </a:cubicBezTo>
                  <a:cubicBezTo>
                    <a:pt x="41161" y="149820"/>
                    <a:pt x="65256" y="125725"/>
                    <a:pt x="94878" y="125725"/>
                  </a:cubicBezTo>
                  <a:cubicBezTo>
                    <a:pt x="124500" y="125725"/>
                    <a:pt x="148595" y="149825"/>
                    <a:pt x="148595" y="179442"/>
                  </a:cubicBezTo>
                  <a:close/>
                  <a:moveTo>
                    <a:pt x="102840" y="120308"/>
                  </a:moveTo>
                  <a:cubicBezTo>
                    <a:pt x="100236" y="119960"/>
                    <a:pt x="97577" y="119777"/>
                    <a:pt x="94878" y="119777"/>
                  </a:cubicBezTo>
                  <a:cubicBezTo>
                    <a:pt x="92179" y="119777"/>
                    <a:pt x="89520" y="119960"/>
                    <a:pt x="86916" y="120308"/>
                  </a:cubicBezTo>
                  <a:lnTo>
                    <a:pt x="86916" y="112440"/>
                  </a:lnTo>
                  <a:lnTo>
                    <a:pt x="102840" y="112440"/>
                  </a:lnTo>
                  <a:close/>
                  <a:moveTo>
                    <a:pt x="111358" y="106482"/>
                  </a:moveTo>
                  <a:lnTo>
                    <a:pt x="78398" y="106482"/>
                  </a:lnTo>
                  <a:lnTo>
                    <a:pt x="78398" y="98177"/>
                  </a:lnTo>
                  <a:lnTo>
                    <a:pt x="111358" y="98177"/>
                  </a:lnTo>
                  <a:close/>
                  <a:moveTo>
                    <a:pt x="162347" y="64492"/>
                  </a:moveTo>
                  <a:lnTo>
                    <a:pt x="162347" y="58276"/>
                  </a:lnTo>
                  <a:cubicBezTo>
                    <a:pt x="162347" y="56634"/>
                    <a:pt x="161012" y="55300"/>
                    <a:pt x="159370" y="55300"/>
                  </a:cubicBezTo>
                  <a:lnTo>
                    <a:pt x="158998" y="55300"/>
                  </a:lnTo>
                  <a:cubicBezTo>
                    <a:pt x="136862" y="55300"/>
                    <a:pt x="116870" y="68009"/>
                    <a:pt x="107221" y="87566"/>
                  </a:cubicBezTo>
                  <a:lnTo>
                    <a:pt x="107221" y="65241"/>
                  </a:lnTo>
                  <a:cubicBezTo>
                    <a:pt x="120576" y="50790"/>
                    <a:pt x="139338" y="42520"/>
                    <a:pt x="158889" y="42520"/>
                  </a:cubicBezTo>
                  <a:lnTo>
                    <a:pt x="159370" y="42520"/>
                  </a:lnTo>
                  <a:cubicBezTo>
                    <a:pt x="161012" y="42520"/>
                    <a:pt x="162347" y="41186"/>
                    <a:pt x="162347" y="39544"/>
                  </a:cubicBezTo>
                  <a:lnTo>
                    <a:pt x="162347" y="33323"/>
                  </a:lnTo>
                  <a:lnTo>
                    <a:pt x="178058" y="48905"/>
                  </a:lnTo>
                  <a:close/>
                  <a:moveTo>
                    <a:pt x="48230" y="179442"/>
                  </a:moveTo>
                  <a:cubicBezTo>
                    <a:pt x="48230" y="205165"/>
                    <a:pt x="69155" y="226090"/>
                    <a:pt x="94878" y="226090"/>
                  </a:cubicBezTo>
                  <a:cubicBezTo>
                    <a:pt x="120600" y="226090"/>
                    <a:pt x="141526" y="205165"/>
                    <a:pt x="141526" y="179442"/>
                  </a:cubicBezTo>
                  <a:cubicBezTo>
                    <a:pt x="141526" y="153720"/>
                    <a:pt x="120600" y="132794"/>
                    <a:pt x="94878" y="132794"/>
                  </a:cubicBezTo>
                  <a:cubicBezTo>
                    <a:pt x="69155" y="132794"/>
                    <a:pt x="48230" y="153720"/>
                    <a:pt x="48230" y="179442"/>
                  </a:cubicBezTo>
                  <a:close/>
                  <a:moveTo>
                    <a:pt x="135453" y="176466"/>
                  </a:moveTo>
                  <a:lnTo>
                    <a:pt x="129788" y="176466"/>
                  </a:lnTo>
                  <a:cubicBezTo>
                    <a:pt x="128146" y="176466"/>
                    <a:pt x="126811" y="177800"/>
                    <a:pt x="126811" y="179442"/>
                  </a:cubicBezTo>
                  <a:cubicBezTo>
                    <a:pt x="126811" y="181084"/>
                    <a:pt x="128146" y="182419"/>
                    <a:pt x="129788" y="182419"/>
                  </a:cubicBezTo>
                  <a:lnTo>
                    <a:pt x="135453" y="182419"/>
                  </a:lnTo>
                  <a:cubicBezTo>
                    <a:pt x="133995" y="202491"/>
                    <a:pt x="117926" y="218559"/>
                    <a:pt x="97854" y="220018"/>
                  </a:cubicBezTo>
                  <a:lnTo>
                    <a:pt x="97854" y="214357"/>
                  </a:lnTo>
                  <a:cubicBezTo>
                    <a:pt x="97854" y="212715"/>
                    <a:pt x="96520" y="211381"/>
                    <a:pt x="94878" y="211381"/>
                  </a:cubicBezTo>
                  <a:cubicBezTo>
                    <a:pt x="93236" y="211381"/>
                    <a:pt x="91901" y="212715"/>
                    <a:pt x="91901" y="214357"/>
                  </a:cubicBezTo>
                  <a:lnTo>
                    <a:pt x="91901" y="220023"/>
                  </a:lnTo>
                  <a:cubicBezTo>
                    <a:pt x="71829" y="218564"/>
                    <a:pt x="55761" y="202496"/>
                    <a:pt x="54302" y="182424"/>
                  </a:cubicBezTo>
                  <a:lnTo>
                    <a:pt x="59968" y="182424"/>
                  </a:lnTo>
                  <a:cubicBezTo>
                    <a:pt x="61610" y="182424"/>
                    <a:pt x="62944" y="181089"/>
                    <a:pt x="62944" y="179447"/>
                  </a:cubicBezTo>
                  <a:cubicBezTo>
                    <a:pt x="62944" y="177805"/>
                    <a:pt x="61610" y="176470"/>
                    <a:pt x="59968" y="176470"/>
                  </a:cubicBezTo>
                  <a:lnTo>
                    <a:pt x="54302" y="176470"/>
                  </a:lnTo>
                  <a:cubicBezTo>
                    <a:pt x="55761" y="156399"/>
                    <a:pt x="71829" y="140330"/>
                    <a:pt x="91901" y="138872"/>
                  </a:cubicBezTo>
                  <a:lnTo>
                    <a:pt x="91901" y="144537"/>
                  </a:lnTo>
                  <a:cubicBezTo>
                    <a:pt x="91901" y="146179"/>
                    <a:pt x="93236" y="147513"/>
                    <a:pt x="94878" y="147513"/>
                  </a:cubicBezTo>
                  <a:cubicBezTo>
                    <a:pt x="96520" y="147513"/>
                    <a:pt x="97854" y="146179"/>
                    <a:pt x="97854" y="144537"/>
                  </a:cubicBezTo>
                  <a:lnTo>
                    <a:pt x="97854" y="138872"/>
                  </a:lnTo>
                  <a:cubicBezTo>
                    <a:pt x="117921" y="140325"/>
                    <a:pt x="133995" y="156399"/>
                    <a:pt x="135453" y="176466"/>
                  </a:cubicBezTo>
                  <a:close/>
                  <a:moveTo>
                    <a:pt x="94878" y="169361"/>
                  </a:moveTo>
                  <a:cubicBezTo>
                    <a:pt x="89317" y="169361"/>
                    <a:pt x="84797" y="173886"/>
                    <a:pt x="84797" y="179442"/>
                  </a:cubicBezTo>
                  <a:cubicBezTo>
                    <a:pt x="84797" y="180211"/>
                    <a:pt x="84892" y="180955"/>
                    <a:pt x="85055" y="181675"/>
                  </a:cubicBezTo>
                  <a:lnTo>
                    <a:pt x="66486" y="192395"/>
                  </a:lnTo>
                  <a:cubicBezTo>
                    <a:pt x="65063" y="193219"/>
                    <a:pt x="64577" y="195039"/>
                    <a:pt x="65395" y="196463"/>
                  </a:cubicBezTo>
                  <a:cubicBezTo>
                    <a:pt x="65946" y="197416"/>
                    <a:pt x="66948" y="197951"/>
                    <a:pt x="67975" y="197951"/>
                  </a:cubicBezTo>
                  <a:cubicBezTo>
                    <a:pt x="68481" y="197951"/>
                    <a:pt x="68992" y="197822"/>
                    <a:pt x="69458" y="197554"/>
                  </a:cubicBezTo>
                  <a:lnTo>
                    <a:pt x="88032" y="186829"/>
                  </a:lnTo>
                  <a:cubicBezTo>
                    <a:pt x="89833" y="188496"/>
                    <a:pt x="92229" y="189523"/>
                    <a:pt x="94868" y="189523"/>
                  </a:cubicBezTo>
                  <a:cubicBezTo>
                    <a:pt x="100429" y="189523"/>
                    <a:pt x="104949" y="184998"/>
                    <a:pt x="104949" y="179442"/>
                  </a:cubicBezTo>
                  <a:cubicBezTo>
                    <a:pt x="104949" y="173886"/>
                    <a:pt x="100434" y="169361"/>
                    <a:pt x="94878" y="169361"/>
                  </a:cubicBezTo>
                  <a:close/>
                  <a:moveTo>
                    <a:pt x="94878" y="183570"/>
                  </a:moveTo>
                  <a:cubicBezTo>
                    <a:pt x="92601" y="183570"/>
                    <a:pt x="90750" y="181719"/>
                    <a:pt x="90750" y="179442"/>
                  </a:cubicBezTo>
                  <a:cubicBezTo>
                    <a:pt x="90750" y="177165"/>
                    <a:pt x="92601" y="175315"/>
                    <a:pt x="94878" y="175315"/>
                  </a:cubicBezTo>
                  <a:cubicBezTo>
                    <a:pt x="97155" y="175315"/>
                    <a:pt x="99005" y="177165"/>
                    <a:pt x="99005" y="179442"/>
                  </a:cubicBezTo>
                  <a:cubicBezTo>
                    <a:pt x="99005" y="181719"/>
                    <a:pt x="97155" y="183570"/>
                    <a:pt x="94878" y="183570"/>
                  </a:cubicBezTo>
                  <a:close/>
                  <a:moveTo>
                    <a:pt x="12179" y="136327"/>
                  </a:moveTo>
                  <a:cubicBezTo>
                    <a:pt x="10537" y="136327"/>
                    <a:pt x="9203" y="134992"/>
                    <a:pt x="9203" y="133350"/>
                  </a:cubicBezTo>
                  <a:cubicBezTo>
                    <a:pt x="9203" y="131708"/>
                    <a:pt x="10537" y="130373"/>
                    <a:pt x="12179" y="130373"/>
                  </a:cubicBezTo>
                  <a:lnTo>
                    <a:pt x="34354" y="130373"/>
                  </a:lnTo>
                  <a:cubicBezTo>
                    <a:pt x="35997" y="130373"/>
                    <a:pt x="37331" y="131708"/>
                    <a:pt x="37331" y="133350"/>
                  </a:cubicBezTo>
                  <a:cubicBezTo>
                    <a:pt x="37331" y="134992"/>
                    <a:pt x="35997" y="136327"/>
                    <a:pt x="34354" y="136327"/>
                  </a:cubicBezTo>
                  <a:close/>
                  <a:moveTo>
                    <a:pt x="0" y="149875"/>
                  </a:moveTo>
                  <a:cubicBezTo>
                    <a:pt x="0" y="148233"/>
                    <a:pt x="1334" y="146898"/>
                    <a:pt x="2977" y="146898"/>
                  </a:cubicBezTo>
                  <a:lnTo>
                    <a:pt x="30416" y="146898"/>
                  </a:lnTo>
                  <a:cubicBezTo>
                    <a:pt x="32058" y="146898"/>
                    <a:pt x="33392" y="148233"/>
                    <a:pt x="33392" y="149875"/>
                  </a:cubicBezTo>
                  <a:cubicBezTo>
                    <a:pt x="33392" y="151517"/>
                    <a:pt x="32058" y="152851"/>
                    <a:pt x="30416" y="152851"/>
                  </a:cubicBezTo>
                  <a:lnTo>
                    <a:pt x="2977" y="152851"/>
                  </a:lnTo>
                  <a:cubicBezTo>
                    <a:pt x="1334" y="152851"/>
                    <a:pt x="0" y="151517"/>
                    <a:pt x="0" y="149875"/>
                  </a:cubicBezTo>
                  <a:close/>
                  <a:moveTo>
                    <a:pt x="22964" y="179333"/>
                  </a:moveTo>
                  <a:lnTo>
                    <a:pt x="3170" y="179333"/>
                  </a:lnTo>
                  <a:cubicBezTo>
                    <a:pt x="1528" y="179333"/>
                    <a:pt x="193" y="177998"/>
                    <a:pt x="193" y="176356"/>
                  </a:cubicBezTo>
                  <a:cubicBezTo>
                    <a:pt x="193" y="174714"/>
                    <a:pt x="1528" y="173380"/>
                    <a:pt x="3170" y="173380"/>
                  </a:cubicBezTo>
                  <a:lnTo>
                    <a:pt x="22964" y="173380"/>
                  </a:lnTo>
                  <a:cubicBezTo>
                    <a:pt x="24606" y="173380"/>
                    <a:pt x="25941" y="174714"/>
                    <a:pt x="25941" y="176356"/>
                  </a:cubicBezTo>
                  <a:cubicBezTo>
                    <a:pt x="25941" y="177998"/>
                    <a:pt x="24606" y="179333"/>
                    <a:pt x="22964" y="179333"/>
                  </a:cubicBezTo>
                  <a:close/>
                  <a:moveTo>
                    <a:pt x="30217" y="210056"/>
                  </a:moveTo>
                  <a:lnTo>
                    <a:pt x="14937" y="210056"/>
                  </a:lnTo>
                  <a:cubicBezTo>
                    <a:pt x="13295" y="210056"/>
                    <a:pt x="11961" y="208722"/>
                    <a:pt x="11961" y="207079"/>
                  </a:cubicBezTo>
                  <a:cubicBezTo>
                    <a:pt x="11961" y="205437"/>
                    <a:pt x="13295" y="204103"/>
                    <a:pt x="14937" y="204103"/>
                  </a:cubicBezTo>
                  <a:lnTo>
                    <a:pt x="30217" y="204103"/>
                  </a:lnTo>
                  <a:cubicBezTo>
                    <a:pt x="31859" y="204103"/>
                    <a:pt x="33194" y="205437"/>
                    <a:pt x="33194" y="207079"/>
                  </a:cubicBezTo>
                  <a:cubicBezTo>
                    <a:pt x="33194" y="208722"/>
                    <a:pt x="31859" y="210056"/>
                    <a:pt x="30217" y="210056"/>
                  </a:cubicBezTo>
                  <a:close/>
                </a:path>
              </a:pathLst>
            </a:custGeom>
            <a:solidFill>
              <a:schemeClr val="bg1"/>
            </a:solid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38" name="Group 37">
            <a:extLst>
              <a:ext uri="{FF2B5EF4-FFF2-40B4-BE49-F238E27FC236}">
                <a16:creationId xmlns:a16="http://schemas.microsoft.com/office/drawing/2014/main" id="{3D5784A2-A42F-81F5-FBAA-34E67A94AF62}"/>
              </a:ext>
            </a:extLst>
          </p:cNvPr>
          <p:cNvGrpSpPr>
            <a:grpSpLocks noChangeAspect="1"/>
          </p:cNvGrpSpPr>
          <p:nvPr/>
        </p:nvGrpSpPr>
        <p:grpSpPr>
          <a:xfrm>
            <a:off x="7957391" y="3312176"/>
            <a:ext cx="415636" cy="415636"/>
            <a:chOff x="7936609" y="3684818"/>
            <a:chExt cx="457200" cy="457200"/>
          </a:xfrm>
        </p:grpSpPr>
        <p:sp>
          <p:nvSpPr>
            <p:cNvPr id="39" name="Oval 38">
              <a:extLst>
                <a:ext uri="{FF2B5EF4-FFF2-40B4-BE49-F238E27FC236}">
                  <a16:creationId xmlns:a16="http://schemas.microsoft.com/office/drawing/2014/main" id="{341F4261-2858-2D56-2153-22995263DE66}"/>
                </a:ext>
              </a:extLst>
            </p:cNvPr>
            <p:cNvSpPr>
              <a:spLocks noChangeAspect="1"/>
            </p:cNvSpPr>
            <p:nvPr/>
          </p:nvSpPr>
          <p:spPr>
            <a:xfrm>
              <a:off x="7936609" y="3684818"/>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grpSp>
          <p:nvGrpSpPr>
            <p:cNvPr id="41" name="Pic">
              <a:extLst>
                <a:ext uri="{FF2B5EF4-FFF2-40B4-BE49-F238E27FC236}">
                  <a16:creationId xmlns:a16="http://schemas.microsoft.com/office/drawing/2014/main" id="{A1778E5E-4874-7639-A5CC-8392DA0DA512}"/>
                </a:ext>
              </a:extLst>
            </p:cNvPr>
            <p:cNvGrpSpPr>
              <a:grpSpLocks noChangeAspect="1"/>
            </p:cNvGrpSpPr>
            <p:nvPr/>
          </p:nvGrpSpPr>
          <p:grpSpPr>
            <a:xfrm>
              <a:off x="8050753" y="3776794"/>
              <a:ext cx="228912" cy="254201"/>
              <a:chOff x="946873" y="1471953"/>
              <a:chExt cx="208102" cy="231092"/>
            </a:xfrm>
            <a:solidFill>
              <a:schemeClr val="bg1"/>
            </a:solidFill>
          </p:grpSpPr>
          <p:sp>
            <p:nvSpPr>
              <p:cNvPr id="44" name="Freeform: Shape 171">
                <a:extLst>
                  <a:ext uri="{FF2B5EF4-FFF2-40B4-BE49-F238E27FC236}">
                    <a16:creationId xmlns:a16="http://schemas.microsoft.com/office/drawing/2014/main" id="{AA1AB0CB-46B9-1BA2-8BB4-E97DBF39C6B0}"/>
                  </a:ext>
                </a:extLst>
              </p:cNvPr>
              <p:cNvSpPr/>
              <p:nvPr/>
            </p:nvSpPr>
            <p:spPr>
              <a:xfrm>
                <a:off x="946873" y="1471953"/>
                <a:ext cx="208102" cy="231092"/>
              </a:xfrm>
              <a:custGeom>
                <a:avLst/>
                <a:gdLst>
                  <a:gd name="csX0" fmla="*/ 10851 w 208102"/>
                  <a:gd name="csY0" fmla="*/ 214183 h 231092"/>
                  <a:gd name="csX1" fmla="*/ 75147 w 208102"/>
                  <a:gd name="csY1" fmla="*/ 214183 h 231092"/>
                  <a:gd name="csX2" fmla="*/ 81472 w 208102"/>
                  <a:gd name="csY2" fmla="*/ 218302 h 231092"/>
                  <a:gd name="csX3" fmla="*/ 99682 w 208102"/>
                  <a:gd name="csY3" fmla="*/ 231092 h 231092"/>
                  <a:gd name="csX4" fmla="*/ 117874 w 208102"/>
                  <a:gd name="csY4" fmla="*/ 218299 h 231092"/>
                  <a:gd name="csX5" fmla="*/ 124199 w 208102"/>
                  <a:gd name="csY5" fmla="*/ 214183 h 231092"/>
                  <a:gd name="csX6" fmla="*/ 188497 w 208102"/>
                  <a:gd name="csY6" fmla="*/ 214183 h 231092"/>
                  <a:gd name="csX7" fmla="*/ 199348 w 208102"/>
                  <a:gd name="csY7" fmla="*/ 203332 h 231092"/>
                  <a:gd name="csX8" fmla="*/ 199348 w 208102"/>
                  <a:gd name="csY8" fmla="*/ 92706 h 231092"/>
                  <a:gd name="csX9" fmla="*/ 188497 w 208102"/>
                  <a:gd name="csY9" fmla="*/ 81855 h 231092"/>
                  <a:gd name="csX10" fmla="*/ 175425 w 208102"/>
                  <a:gd name="csY10" fmla="*/ 81855 h 231092"/>
                  <a:gd name="csX11" fmla="*/ 175425 w 208102"/>
                  <a:gd name="csY11" fmla="*/ 79583 h 231092"/>
                  <a:gd name="csX12" fmla="*/ 166835 w 208102"/>
                  <a:gd name="csY12" fmla="*/ 70995 h 231092"/>
                  <a:gd name="csX13" fmla="*/ 151899 w 208102"/>
                  <a:gd name="csY13" fmla="*/ 70995 h 231092"/>
                  <a:gd name="csX14" fmla="*/ 164201 w 208102"/>
                  <a:gd name="csY14" fmla="*/ 53694 h 231092"/>
                  <a:gd name="csX15" fmla="*/ 164958 w 208102"/>
                  <a:gd name="csY15" fmla="*/ 53835 h 231092"/>
                  <a:gd name="csX16" fmla="*/ 165459 w 208102"/>
                  <a:gd name="csY16" fmla="*/ 53807 h 231092"/>
                  <a:gd name="csX17" fmla="*/ 184516 w 208102"/>
                  <a:gd name="csY17" fmla="*/ 51757 h 231092"/>
                  <a:gd name="csX18" fmla="*/ 188984 w 208102"/>
                  <a:gd name="csY18" fmla="*/ 49314 h 231092"/>
                  <a:gd name="csX19" fmla="*/ 207505 w 208102"/>
                  <a:gd name="csY19" fmla="*/ 24757 h 231092"/>
                  <a:gd name="csX20" fmla="*/ 207683 w 208102"/>
                  <a:gd name="csY20" fmla="*/ 21427 h 231092"/>
                  <a:gd name="csX21" fmla="*/ 204444 w 208102"/>
                  <a:gd name="csY21" fmla="*/ 19735 h 231092"/>
                  <a:gd name="csX22" fmla="*/ 185160 w 208102"/>
                  <a:gd name="csY22" fmla="*/ 21500 h 231092"/>
                  <a:gd name="csX23" fmla="*/ 181917 w 208102"/>
                  <a:gd name="csY23" fmla="*/ 2742 h 231092"/>
                  <a:gd name="csX24" fmla="*/ 179394 w 208102"/>
                  <a:gd name="csY24" fmla="*/ 93 h 231092"/>
                  <a:gd name="csX25" fmla="*/ 176247 w 208102"/>
                  <a:gd name="csY25" fmla="*/ 1176 h 231092"/>
                  <a:gd name="csX26" fmla="*/ 157725 w 208102"/>
                  <a:gd name="csY26" fmla="*/ 25731 h 231092"/>
                  <a:gd name="csX27" fmla="*/ 156599 w 208102"/>
                  <a:gd name="csY27" fmla="*/ 30699 h 231092"/>
                  <a:gd name="csX28" fmla="*/ 159866 w 208102"/>
                  <a:gd name="csY28" fmla="*/ 49588 h 231092"/>
                  <a:gd name="csX29" fmla="*/ 160342 w 208102"/>
                  <a:gd name="csY29" fmla="*/ 50851 h 231092"/>
                  <a:gd name="csX30" fmla="*/ 146018 w 208102"/>
                  <a:gd name="csY30" fmla="*/ 70995 h 231092"/>
                  <a:gd name="csX31" fmla="*/ 121491 w 208102"/>
                  <a:gd name="csY31" fmla="*/ 70995 h 231092"/>
                  <a:gd name="csX32" fmla="*/ 99675 w 208102"/>
                  <a:gd name="csY32" fmla="*/ 81071 h 231092"/>
                  <a:gd name="csX33" fmla="*/ 77856 w 208102"/>
                  <a:gd name="csY33" fmla="*/ 70995 h 231092"/>
                  <a:gd name="csX34" fmla="*/ 32534 w 208102"/>
                  <a:gd name="csY34" fmla="*/ 70995 h 231092"/>
                  <a:gd name="csX35" fmla="*/ 23946 w 208102"/>
                  <a:gd name="csY35" fmla="*/ 79583 h 231092"/>
                  <a:gd name="csX36" fmla="*/ 23946 w 208102"/>
                  <a:gd name="csY36" fmla="*/ 81855 h 231092"/>
                  <a:gd name="csX37" fmla="*/ 10851 w 208102"/>
                  <a:gd name="csY37" fmla="*/ 81855 h 231092"/>
                  <a:gd name="csX38" fmla="*/ 0 w 208102"/>
                  <a:gd name="csY38" fmla="*/ 92706 h 231092"/>
                  <a:gd name="csX39" fmla="*/ 0 w 208102"/>
                  <a:gd name="csY39" fmla="*/ 203332 h 231092"/>
                  <a:gd name="csX40" fmla="*/ 10851 w 208102"/>
                  <a:gd name="csY40" fmla="*/ 214183 h 231092"/>
                  <a:gd name="csX41" fmla="*/ 161551 w 208102"/>
                  <a:gd name="csY41" fmla="*/ 28621 h 231092"/>
                  <a:gd name="csX42" fmla="*/ 177803 w 208102"/>
                  <a:gd name="csY42" fmla="*/ 7076 h 231092"/>
                  <a:gd name="csX43" fmla="*/ 180438 w 208102"/>
                  <a:gd name="csY43" fmla="*/ 22314 h 231092"/>
                  <a:gd name="csX44" fmla="*/ 186030 w 208102"/>
                  <a:gd name="csY44" fmla="*/ 26533 h 231092"/>
                  <a:gd name="csX45" fmla="*/ 201409 w 208102"/>
                  <a:gd name="csY45" fmla="*/ 24881 h 231092"/>
                  <a:gd name="csX46" fmla="*/ 185153 w 208102"/>
                  <a:gd name="csY46" fmla="*/ 46431 h 231092"/>
                  <a:gd name="csX47" fmla="*/ 184004 w 208102"/>
                  <a:gd name="csY47" fmla="*/ 46993 h 231092"/>
                  <a:gd name="csX48" fmla="*/ 164588 w 208102"/>
                  <a:gd name="csY48" fmla="*/ 48771 h 231092"/>
                  <a:gd name="csX49" fmla="*/ 161322 w 208102"/>
                  <a:gd name="csY49" fmla="*/ 29884 h 231092"/>
                  <a:gd name="csX50" fmla="*/ 161551 w 208102"/>
                  <a:gd name="csY50" fmla="*/ 28621 h 231092"/>
                  <a:gd name="csX51" fmla="*/ 28738 w 208102"/>
                  <a:gd name="csY51" fmla="*/ 79583 h 231092"/>
                  <a:gd name="csX52" fmla="*/ 32534 w 208102"/>
                  <a:gd name="csY52" fmla="*/ 75787 h 231092"/>
                  <a:gd name="csX53" fmla="*/ 77856 w 208102"/>
                  <a:gd name="csY53" fmla="*/ 75787 h 231092"/>
                  <a:gd name="csX54" fmla="*/ 97162 w 208102"/>
                  <a:gd name="csY54" fmla="*/ 85622 h 231092"/>
                  <a:gd name="csX55" fmla="*/ 97737 w 208102"/>
                  <a:gd name="csY55" fmla="*/ 86413 h 231092"/>
                  <a:gd name="csX56" fmla="*/ 99675 w 208102"/>
                  <a:gd name="csY56" fmla="*/ 87398 h 231092"/>
                  <a:gd name="csX57" fmla="*/ 99677 w 208102"/>
                  <a:gd name="csY57" fmla="*/ 87398 h 231092"/>
                  <a:gd name="csX58" fmla="*/ 101615 w 208102"/>
                  <a:gd name="csY58" fmla="*/ 86409 h 231092"/>
                  <a:gd name="csX59" fmla="*/ 102186 w 208102"/>
                  <a:gd name="csY59" fmla="*/ 85620 h 231092"/>
                  <a:gd name="csX60" fmla="*/ 121491 w 208102"/>
                  <a:gd name="csY60" fmla="*/ 75787 h 231092"/>
                  <a:gd name="csX61" fmla="*/ 142610 w 208102"/>
                  <a:gd name="csY61" fmla="*/ 75787 h 231092"/>
                  <a:gd name="csX62" fmla="*/ 117456 w 208102"/>
                  <a:gd name="csY62" fmla="*/ 111162 h 231092"/>
                  <a:gd name="csX63" fmla="*/ 102081 w 208102"/>
                  <a:gd name="csY63" fmla="*/ 106141 h 231092"/>
                  <a:gd name="csX64" fmla="*/ 102081 w 208102"/>
                  <a:gd name="csY64" fmla="*/ 102342 h 231092"/>
                  <a:gd name="csX65" fmla="*/ 99684 w 208102"/>
                  <a:gd name="csY65" fmla="*/ 99946 h 231092"/>
                  <a:gd name="csX66" fmla="*/ 97288 w 208102"/>
                  <a:gd name="csY66" fmla="*/ 102342 h 231092"/>
                  <a:gd name="csX67" fmla="*/ 97288 w 208102"/>
                  <a:gd name="csY67" fmla="*/ 106142 h 231092"/>
                  <a:gd name="csX68" fmla="*/ 66314 w 208102"/>
                  <a:gd name="csY68" fmla="*/ 137099 h 231092"/>
                  <a:gd name="csX69" fmla="*/ 62531 w 208102"/>
                  <a:gd name="csY69" fmla="*/ 137099 h 231092"/>
                  <a:gd name="csX70" fmla="*/ 60135 w 208102"/>
                  <a:gd name="csY70" fmla="*/ 139495 h 231092"/>
                  <a:gd name="csX71" fmla="*/ 62531 w 208102"/>
                  <a:gd name="csY71" fmla="*/ 141892 h 231092"/>
                  <a:gd name="csX72" fmla="*/ 66316 w 208102"/>
                  <a:gd name="csY72" fmla="*/ 141892 h 231092"/>
                  <a:gd name="csX73" fmla="*/ 97288 w 208102"/>
                  <a:gd name="csY73" fmla="*/ 172851 h 231092"/>
                  <a:gd name="csX74" fmla="*/ 97288 w 208102"/>
                  <a:gd name="csY74" fmla="*/ 176649 h 231092"/>
                  <a:gd name="csX75" fmla="*/ 99684 w 208102"/>
                  <a:gd name="csY75" fmla="*/ 179045 h 231092"/>
                  <a:gd name="csX76" fmla="*/ 102081 w 208102"/>
                  <a:gd name="csY76" fmla="*/ 176649 h 231092"/>
                  <a:gd name="csX77" fmla="*/ 102081 w 208102"/>
                  <a:gd name="csY77" fmla="*/ 172851 h 231092"/>
                  <a:gd name="csX78" fmla="*/ 133069 w 208102"/>
                  <a:gd name="csY78" fmla="*/ 141892 h 231092"/>
                  <a:gd name="csX79" fmla="*/ 136838 w 208102"/>
                  <a:gd name="csY79" fmla="*/ 141892 h 231092"/>
                  <a:gd name="csX80" fmla="*/ 139234 w 208102"/>
                  <a:gd name="csY80" fmla="*/ 139495 h 231092"/>
                  <a:gd name="csX81" fmla="*/ 136838 w 208102"/>
                  <a:gd name="csY81" fmla="*/ 137099 h 231092"/>
                  <a:gd name="csX82" fmla="*/ 133072 w 208102"/>
                  <a:gd name="csY82" fmla="*/ 137099 h 231092"/>
                  <a:gd name="csX83" fmla="*/ 121333 w 208102"/>
                  <a:gd name="csY83" fmla="*/ 113981 h 231092"/>
                  <a:gd name="csX84" fmla="*/ 148492 w 208102"/>
                  <a:gd name="csY84" fmla="*/ 75787 h 231092"/>
                  <a:gd name="csX85" fmla="*/ 166835 w 208102"/>
                  <a:gd name="csY85" fmla="*/ 75787 h 231092"/>
                  <a:gd name="csX86" fmla="*/ 170633 w 208102"/>
                  <a:gd name="csY86" fmla="*/ 79583 h 231092"/>
                  <a:gd name="csX87" fmla="*/ 170633 w 208102"/>
                  <a:gd name="csY87" fmla="*/ 187492 h 231092"/>
                  <a:gd name="csX88" fmla="*/ 115361 w 208102"/>
                  <a:gd name="csY88" fmla="*/ 187492 h 231092"/>
                  <a:gd name="csX89" fmla="*/ 99684 w 208102"/>
                  <a:gd name="csY89" fmla="*/ 196598 h 231092"/>
                  <a:gd name="csX90" fmla="*/ 84011 w 208102"/>
                  <a:gd name="csY90" fmla="*/ 187492 h 231092"/>
                  <a:gd name="csX91" fmla="*/ 28738 w 208102"/>
                  <a:gd name="csY91" fmla="*/ 187492 h 231092"/>
                  <a:gd name="csX92" fmla="*/ 125928 w 208102"/>
                  <a:gd name="csY92" fmla="*/ 141892 h 231092"/>
                  <a:gd name="csX93" fmla="*/ 128277 w 208102"/>
                  <a:gd name="csY93" fmla="*/ 141892 h 231092"/>
                  <a:gd name="csX94" fmla="*/ 102081 w 208102"/>
                  <a:gd name="csY94" fmla="*/ 168059 h 231092"/>
                  <a:gd name="csX95" fmla="*/ 102081 w 208102"/>
                  <a:gd name="csY95" fmla="*/ 165739 h 231092"/>
                  <a:gd name="csX96" fmla="*/ 99684 w 208102"/>
                  <a:gd name="csY96" fmla="*/ 163343 h 231092"/>
                  <a:gd name="csX97" fmla="*/ 97288 w 208102"/>
                  <a:gd name="csY97" fmla="*/ 165739 h 231092"/>
                  <a:gd name="csX98" fmla="*/ 97288 w 208102"/>
                  <a:gd name="csY98" fmla="*/ 168058 h 231092"/>
                  <a:gd name="csX99" fmla="*/ 71108 w 208102"/>
                  <a:gd name="csY99" fmla="*/ 141892 h 231092"/>
                  <a:gd name="csX100" fmla="*/ 73443 w 208102"/>
                  <a:gd name="csY100" fmla="*/ 141892 h 231092"/>
                  <a:gd name="csX101" fmla="*/ 75839 w 208102"/>
                  <a:gd name="csY101" fmla="*/ 139495 h 231092"/>
                  <a:gd name="csX102" fmla="*/ 73443 w 208102"/>
                  <a:gd name="csY102" fmla="*/ 137099 h 231092"/>
                  <a:gd name="csX103" fmla="*/ 71106 w 208102"/>
                  <a:gd name="csY103" fmla="*/ 137099 h 231092"/>
                  <a:gd name="csX104" fmla="*/ 97288 w 208102"/>
                  <a:gd name="csY104" fmla="*/ 110935 h 231092"/>
                  <a:gd name="csX105" fmla="*/ 97288 w 208102"/>
                  <a:gd name="csY105" fmla="*/ 113254 h 231092"/>
                  <a:gd name="csX106" fmla="*/ 99684 w 208102"/>
                  <a:gd name="csY106" fmla="*/ 115650 h 231092"/>
                  <a:gd name="csX107" fmla="*/ 102081 w 208102"/>
                  <a:gd name="csY107" fmla="*/ 113254 h 231092"/>
                  <a:gd name="csX108" fmla="*/ 102081 w 208102"/>
                  <a:gd name="csY108" fmla="*/ 110934 h 231092"/>
                  <a:gd name="csX109" fmla="*/ 114675 w 208102"/>
                  <a:gd name="csY109" fmla="*/ 115073 h 231092"/>
                  <a:gd name="csX110" fmla="*/ 98294 w 208102"/>
                  <a:gd name="csY110" fmla="*/ 138110 h 231092"/>
                  <a:gd name="csX111" fmla="*/ 98861 w 208102"/>
                  <a:gd name="csY111" fmla="*/ 141452 h 231092"/>
                  <a:gd name="csX112" fmla="*/ 100246 w 208102"/>
                  <a:gd name="csY112" fmla="*/ 141894 h 231092"/>
                  <a:gd name="csX113" fmla="*/ 102202 w 208102"/>
                  <a:gd name="csY113" fmla="*/ 140885 h 231092"/>
                  <a:gd name="csX114" fmla="*/ 118541 w 208102"/>
                  <a:gd name="csY114" fmla="*/ 117908 h 231092"/>
                  <a:gd name="csX115" fmla="*/ 128279 w 208102"/>
                  <a:gd name="csY115" fmla="*/ 137099 h 231092"/>
                  <a:gd name="csX116" fmla="*/ 125928 w 208102"/>
                  <a:gd name="csY116" fmla="*/ 137099 h 231092"/>
                  <a:gd name="csX117" fmla="*/ 123532 w 208102"/>
                  <a:gd name="csY117" fmla="*/ 139495 h 231092"/>
                  <a:gd name="csX118" fmla="*/ 125928 w 208102"/>
                  <a:gd name="csY118" fmla="*/ 141892 h 231092"/>
                  <a:gd name="csX119" fmla="*/ 4792 w 208102"/>
                  <a:gd name="csY119" fmla="*/ 92706 h 231092"/>
                  <a:gd name="csX120" fmla="*/ 10851 w 208102"/>
                  <a:gd name="csY120" fmla="*/ 86647 h 231092"/>
                  <a:gd name="csX121" fmla="*/ 23946 w 208102"/>
                  <a:gd name="csY121" fmla="*/ 86647 h 231092"/>
                  <a:gd name="csX122" fmla="*/ 23946 w 208102"/>
                  <a:gd name="csY122" fmla="*/ 189889 h 231092"/>
                  <a:gd name="csX123" fmla="*/ 26342 w 208102"/>
                  <a:gd name="csY123" fmla="*/ 192285 h 231092"/>
                  <a:gd name="csX124" fmla="*/ 84011 w 208102"/>
                  <a:gd name="csY124" fmla="*/ 192285 h 231092"/>
                  <a:gd name="csX125" fmla="*/ 97288 w 208102"/>
                  <a:gd name="csY125" fmla="*/ 205602 h 231092"/>
                  <a:gd name="csX126" fmla="*/ 99684 w 208102"/>
                  <a:gd name="csY126" fmla="*/ 207998 h 231092"/>
                  <a:gd name="csX127" fmla="*/ 102081 w 208102"/>
                  <a:gd name="csY127" fmla="*/ 205602 h 231092"/>
                  <a:gd name="csX128" fmla="*/ 115361 w 208102"/>
                  <a:gd name="csY128" fmla="*/ 192285 h 231092"/>
                  <a:gd name="csX129" fmla="*/ 173029 w 208102"/>
                  <a:gd name="csY129" fmla="*/ 192285 h 231092"/>
                  <a:gd name="csX130" fmla="*/ 175425 w 208102"/>
                  <a:gd name="csY130" fmla="*/ 189889 h 231092"/>
                  <a:gd name="csX131" fmla="*/ 175425 w 208102"/>
                  <a:gd name="csY131" fmla="*/ 86647 h 231092"/>
                  <a:gd name="csX132" fmla="*/ 188497 w 208102"/>
                  <a:gd name="csY132" fmla="*/ 86647 h 231092"/>
                  <a:gd name="csX133" fmla="*/ 194555 w 208102"/>
                  <a:gd name="csY133" fmla="*/ 92706 h 231092"/>
                  <a:gd name="csX134" fmla="*/ 194555 w 208102"/>
                  <a:gd name="csY134" fmla="*/ 203332 h 231092"/>
                  <a:gd name="csX135" fmla="*/ 188497 w 208102"/>
                  <a:gd name="csY135" fmla="*/ 209391 h 231092"/>
                  <a:gd name="csX136" fmla="*/ 124199 w 208102"/>
                  <a:gd name="csY136" fmla="*/ 209391 h 231092"/>
                  <a:gd name="csX137" fmla="*/ 113362 w 208102"/>
                  <a:gd name="csY137" fmla="*/ 216689 h 231092"/>
                  <a:gd name="csX138" fmla="*/ 99666 w 208102"/>
                  <a:gd name="csY138" fmla="*/ 226300 h 231092"/>
                  <a:gd name="csX139" fmla="*/ 85986 w 208102"/>
                  <a:gd name="csY139" fmla="*/ 216689 h 231092"/>
                  <a:gd name="csX140" fmla="*/ 75147 w 208102"/>
                  <a:gd name="csY140" fmla="*/ 209391 h 231092"/>
                  <a:gd name="csX141" fmla="*/ 10851 w 208102"/>
                  <a:gd name="csY141" fmla="*/ 209391 h 231092"/>
                  <a:gd name="csX142" fmla="*/ 4792 w 208102"/>
                  <a:gd name="csY142" fmla="*/ 203332 h 23109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Lst>
                <a:rect l="l" t="t" r="r" b="b"/>
                <a:pathLst>
                  <a:path w="208102" h="231092">
                    <a:moveTo>
                      <a:pt x="10851" y="214183"/>
                    </a:moveTo>
                    <a:lnTo>
                      <a:pt x="75147" y="214183"/>
                    </a:lnTo>
                    <a:cubicBezTo>
                      <a:pt x="78051" y="214183"/>
                      <a:pt x="80594" y="215838"/>
                      <a:pt x="81472" y="218302"/>
                    </a:cubicBezTo>
                    <a:cubicBezTo>
                      <a:pt x="84205" y="225951"/>
                      <a:pt x="91518" y="231092"/>
                      <a:pt x="99682" y="231092"/>
                    </a:cubicBezTo>
                    <a:cubicBezTo>
                      <a:pt x="107833" y="231092"/>
                      <a:pt x="115143" y="225951"/>
                      <a:pt x="117874" y="218299"/>
                    </a:cubicBezTo>
                    <a:cubicBezTo>
                      <a:pt x="118754" y="215838"/>
                      <a:pt x="121295" y="214183"/>
                      <a:pt x="124199" y="214183"/>
                    </a:cubicBezTo>
                    <a:lnTo>
                      <a:pt x="188497" y="214183"/>
                    </a:lnTo>
                    <a:cubicBezTo>
                      <a:pt x="194480" y="214183"/>
                      <a:pt x="199348" y="209316"/>
                      <a:pt x="199348" y="203332"/>
                    </a:cubicBezTo>
                    <a:lnTo>
                      <a:pt x="199348" y="92706"/>
                    </a:lnTo>
                    <a:cubicBezTo>
                      <a:pt x="199348" y="86722"/>
                      <a:pt x="194480" y="81855"/>
                      <a:pt x="188497" y="81855"/>
                    </a:cubicBezTo>
                    <a:lnTo>
                      <a:pt x="175425" y="81855"/>
                    </a:lnTo>
                    <a:lnTo>
                      <a:pt x="175425" y="79583"/>
                    </a:lnTo>
                    <a:cubicBezTo>
                      <a:pt x="175425" y="74846"/>
                      <a:pt x="171571" y="70995"/>
                      <a:pt x="166835" y="70995"/>
                    </a:cubicBezTo>
                    <a:lnTo>
                      <a:pt x="151899" y="70995"/>
                    </a:lnTo>
                    <a:lnTo>
                      <a:pt x="164201" y="53694"/>
                    </a:lnTo>
                    <a:cubicBezTo>
                      <a:pt x="164456" y="53735"/>
                      <a:pt x="164698" y="53835"/>
                      <a:pt x="164958" y="53835"/>
                    </a:cubicBezTo>
                    <a:cubicBezTo>
                      <a:pt x="165124" y="53835"/>
                      <a:pt x="165290" y="53826"/>
                      <a:pt x="165459" y="53807"/>
                    </a:cubicBezTo>
                    <a:lnTo>
                      <a:pt x="184516" y="51757"/>
                    </a:lnTo>
                    <a:cubicBezTo>
                      <a:pt x="186360" y="51560"/>
                      <a:pt x="187947" y="50690"/>
                      <a:pt x="188984" y="49314"/>
                    </a:cubicBezTo>
                    <a:lnTo>
                      <a:pt x="207505" y="24757"/>
                    </a:lnTo>
                    <a:cubicBezTo>
                      <a:pt x="208233" y="23793"/>
                      <a:pt x="208301" y="22518"/>
                      <a:pt x="207683" y="21427"/>
                    </a:cubicBezTo>
                    <a:cubicBezTo>
                      <a:pt x="207019" y="20255"/>
                      <a:pt x="205715" y="19569"/>
                      <a:pt x="204444" y="19735"/>
                    </a:cubicBezTo>
                    <a:lnTo>
                      <a:pt x="185160" y="21500"/>
                    </a:lnTo>
                    <a:lnTo>
                      <a:pt x="181917" y="2742"/>
                    </a:lnTo>
                    <a:cubicBezTo>
                      <a:pt x="181692" y="1445"/>
                      <a:pt x="180700" y="407"/>
                      <a:pt x="179394" y="93"/>
                    </a:cubicBezTo>
                    <a:cubicBezTo>
                      <a:pt x="178175" y="-202"/>
                      <a:pt x="176972" y="217"/>
                      <a:pt x="176247" y="1176"/>
                    </a:cubicBezTo>
                    <a:lnTo>
                      <a:pt x="157725" y="25731"/>
                    </a:lnTo>
                    <a:cubicBezTo>
                      <a:pt x="156684" y="27109"/>
                      <a:pt x="156284" y="28873"/>
                      <a:pt x="156599" y="30699"/>
                    </a:cubicBezTo>
                    <a:lnTo>
                      <a:pt x="159866" y="49588"/>
                    </a:lnTo>
                    <a:cubicBezTo>
                      <a:pt x="159944" y="50040"/>
                      <a:pt x="160144" y="50446"/>
                      <a:pt x="160342" y="50851"/>
                    </a:cubicBezTo>
                    <a:lnTo>
                      <a:pt x="146018" y="70995"/>
                    </a:lnTo>
                    <a:lnTo>
                      <a:pt x="121491" y="70995"/>
                    </a:lnTo>
                    <a:cubicBezTo>
                      <a:pt x="113088" y="70995"/>
                      <a:pt x="105088" y="74725"/>
                      <a:pt x="99675" y="81071"/>
                    </a:cubicBezTo>
                    <a:cubicBezTo>
                      <a:pt x="94260" y="74725"/>
                      <a:pt x="86259" y="70995"/>
                      <a:pt x="77856" y="70995"/>
                    </a:cubicBezTo>
                    <a:lnTo>
                      <a:pt x="32534" y="70995"/>
                    </a:lnTo>
                    <a:cubicBezTo>
                      <a:pt x="27798" y="70995"/>
                      <a:pt x="23946" y="74846"/>
                      <a:pt x="23946" y="79583"/>
                    </a:cubicBezTo>
                    <a:lnTo>
                      <a:pt x="23946" y="81855"/>
                    </a:lnTo>
                    <a:lnTo>
                      <a:pt x="10851" y="81855"/>
                    </a:lnTo>
                    <a:cubicBezTo>
                      <a:pt x="4867" y="81855"/>
                      <a:pt x="0" y="86722"/>
                      <a:pt x="0" y="92706"/>
                    </a:cubicBezTo>
                    <a:lnTo>
                      <a:pt x="0" y="203332"/>
                    </a:lnTo>
                    <a:cubicBezTo>
                      <a:pt x="0" y="209316"/>
                      <a:pt x="4867" y="214183"/>
                      <a:pt x="10851" y="214183"/>
                    </a:cubicBezTo>
                    <a:close/>
                    <a:moveTo>
                      <a:pt x="161551" y="28621"/>
                    </a:moveTo>
                    <a:lnTo>
                      <a:pt x="177803" y="7076"/>
                    </a:lnTo>
                    <a:lnTo>
                      <a:pt x="180438" y="22314"/>
                    </a:lnTo>
                    <a:cubicBezTo>
                      <a:pt x="180880" y="24881"/>
                      <a:pt x="183456" y="26840"/>
                      <a:pt x="186030" y="26533"/>
                    </a:cubicBezTo>
                    <a:lnTo>
                      <a:pt x="201409" y="24881"/>
                    </a:lnTo>
                    <a:lnTo>
                      <a:pt x="185153" y="46431"/>
                    </a:lnTo>
                    <a:cubicBezTo>
                      <a:pt x="184858" y="46824"/>
                      <a:pt x="184367" y="46953"/>
                      <a:pt x="184004" y="46993"/>
                    </a:cubicBezTo>
                    <a:lnTo>
                      <a:pt x="164588" y="48771"/>
                    </a:lnTo>
                    <a:lnTo>
                      <a:pt x="161322" y="29884"/>
                    </a:lnTo>
                    <a:cubicBezTo>
                      <a:pt x="161235" y="29379"/>
                      <a:pt x="161315" y="28930"/>
                      <a:pt x="161551" y="28621"/>
                    </a:cubicBezTo>
                    <a:close/>
                    <a:moveTo>
                      <a:pt x="28738" y="79583"/>
                    </a:moveTo>
                    <a:cubicBezTo>
                      <a:pt x="28738" y="77491"/>
                      <a:pt x="30442" y="75787"/>
                      <a:pt x="32534" y="75787"/>
                    </a:cubicBezTo>
                    <a:lnTo>
                      <a:pt x="77856" y="75787"/>
                    </a:lnTo>
                    <a:cubicBezTo>
                      <a:pt x="85469" y="75787"/>
                      <a:pt x="92685" y="79463"/>
                      <a:pt x="97162" y="85622"/>
                    </a:cubicBezTo>
                    <a:lnTo>
                      <a:pt x="97737" y="86413"/>
                    </a:lnTo>
                    <a:cubicBezTo>
                      <a:pt x="98189" y="87031"/>
                      <a:pt x="98910" y="87398"/>
                      <a:pt x="99675" y="87398"/>
                    </a:cubicBezTo>
                    <a:lnTo>
                      <a:pt x="99677" y="87398"/>
                    </a:lnTo>
                    <a:cubicBezTo>
                      <a:pt x="100445" y="87398"/>
                      <a:pt x="101166" y="87029"/>
                      <a:pt x="101615" y="86409"/>
                    </a:cubicBezTo>
                    <a:lnTo>
                      <a:pt x="102186" y="85620"/>
                    </a:lnTo>
                    <a:cubicBezTo>
                      <a:pt x="106663" y="79463"/>
                      <a:pt x="113879" y="75787"/>
                      <a:pt x="121491" y="75787"/>
                    </a:cubicBezTo>
                    <a:lnTo>
                      <a:pt x="142610" y="75787"/>
                    </a:lnTo>
                    <a:lnTo>
                      <a:pt x="117456" y="111162"/>
                    </a:lnTo>
                    <a:cubicBezTo>
                      <a:pt x="112936" y="108324"/>
                      <a:pt x="107703" y="106540"/>
                      <a:pt x="102081" y="106141"/>
                    </a:cubicBezTo>
                    <a:lnTo>
                      <a:pt x="102081" y="102342"/>
                    </a:lnTo>
                    <a:cubicBezTo>
                      <a:pt x="102081" y="101018"/>
                      <a:pt x="101009" y="99946"/>
                      <a:pt x="99684" y="99946"/>
                    </a:cubicBezTo>
                    <a:cubicBezTo>
                      <a:pt x="98360" y="99946"/>
                      <a:pt x="97288" y="101018"/>
                      <a:pt x="97288" y="102342"/>
                    </a:cubicBezTo>
                    <a:lnTo>
                      <a:pt x="97288" y="106142"/>
                    </a:lnTo>
                    <a:cubicBezTo>
                      <a:pt x="80727" y="107326"/>
                      <a:pt x="67485" y="120559"/>
                      <a:pt x="66314" y="137099"/>
                    </a:cubicBezTo>
                    <a:lnTo>
                      <a:pt x="62531" y="137099"/>
                    </a:lnTo>
                    <a:cubicBezTo>
                      <a:pt x="61207" y="137099"/>
                      <a:pt x="60135" y="138171"/>
                      <a:pt x="60135" y="139495"/>
                    </a:cubicBezTo>
                    <a:cubicBezTo>
                      <a:pt x="60135" y="140820"/>
                      <a:pt x="61207" y="141892"/>
                      <a:pt x="62531" y="141892"/>
                    </a:cubicBezTo>
                    <a:lnTo>
                      <a:pt x="66316" y="141892"/>
                    </a:lnTo>
                    <a:cubicBezTo>
                      <a:pt x="67507" y="158437"/>
                      <a:pt x="80741" y="171666"/>
                      <a:pt x="97288" y="172851"/>
                    </a:cubicBezTo>
                    <a:lnTo>
                      <a:pt x="97288" y="176649"/>
                    </a:lnTo>
                    <a:cubicBezTo>
                      <a:pt x="97288" y="177973"/>
                      <a:pt x="98360" y="179045"/>
                      <a:pt x="99684" y="179045"/>
                    </a:cubicBezTo>
                    <a:cubicBezTo>
                      <a:pt x="101009" y="179045"/>
                      <a:pt x="102081" y="177973"/>
                      <a:pt x="102081" y="176649"/>
                    </a:cubicBezTo>
                    <a:lnTo>
                      <a:pt x="102081" y="172851"/>
                    </a:lnTo>
                    <a:cubicBezTo>
                      <a:pt x="118635" y="171676"/>
                      <a:pt x="131878" y="158443"/>
                      <a:pt x="133069" y="141892"/>
                    </a:cubicBezTo>
                    <a:lnTo>
                      <a:pt x="136838" y="141892"/>
                    </a:lnTo>
                    <a:cubicBezTo>
                      <a:pt x="138162" y="141892"/>
                      <a:pt x="139234" y="140820"/>
                      <a:pt x="139234" y="139495"/>
                    </a:cubicBezTo>
                    <a:cubicBezTo>
                      <a:pt x="139234" y="138171"/>
                      <a:pt x="138162" y="137099"/>
                      <a:pt x="136838" y="137099"/>
                    </a:cubicBezTo>
                    <a:lnTo>
                      <a:pt x="133072" y="137099"/>
                    </a:lnTo>
                    <a:cubicBezTo>
                      <a:pt x="132417" y="127855"/>
                      <a:pt x="128007" y="119640"/>
                      <a:pt x="121333" y="113981"/>
                    </a:cubicBezTo>
                    <a:lnTo>
                      <a:pt x="148492" y="75787"/>
                    </a:lnTo>
                    <a:lnTo>
                      <a:pt x="166835" y="75787"/>
                    </a:lnTo>
                    <a:cubicBezTo>
                      <a:pt x="168929" y="75787"/>
                      <a:pt x="170633" y="77491"/>
                      <a:pt x="170633" y="79583"/>
                    </a:cubicBezTo>
                    <a:lnTo>
                      <a:pt x="170633" y="187492"/>
                    </a:lnTo>
                    <a:lnTo>
                      <a:pt x="115361" y="187492"/>
                    </a:lnTo>
                    <a:cubicBezTo>
                      <a:pt x="108663" y="187492"/>
                      <a:pt x="102806" y="191162"/>
                      <a:pt x="99684" y="196598"/>
                    </a:cubicBezTo>
                    <a:cubicBezTo>
                      <a:pt x="96563" y="191162"/>
                      <a:pt x="90706" y="187492"/>
                      <a:pt x="84011" y="187492"/>
                    </a:cubicBezTo>
                    <a:lnTo>
                      <a:pt x="28738" y="187492"/>
                    </a:lnTo>
                    <a:close/>
                    <a:moveTo>
                      <a:pt x="125928" y="141892"/>
                    </a:moveTo>
                    <a:lnTo>
                      <a:pt x="128277" y="141892"/>
                    </a:lnTo>
                    <a:cubicBezTo>
                      <a:pt x="127108" y="155802"/>
                      <a:pt x="115994" y="166905"/>
                      <a:pt x="102081" y="168059"/>
                    </a:cubicBezTo>
                    <a:lnTo>
                      <a:pt x="102081" y="165739"/>
                    </a:lnTo>
                    <a:cubicBezTo>
                      <a:pt x="102081" y="164415"/>
                      <a:pt x="101009" y="163343"/>
                      <a:pt x="99684" y="163343"/>
                    </a:cubicBezTo>
                    <a:cubicBezTo>
                      <a:pt x="98360" y="163343"/>
                      <a:pt x="97288" y="164415"/>
                      <a:pt x="97288" y="165739"/>
                    </a:cubicBezTo>
                    <a:lnTo>
                      <a:pt x="97288" y="168058"/>
                    </a:lnTo>
                    <a:cubicBezTo>
                      <a:pt x="83381" y="166896"/>
                      <a:pt x="72277" y="155796"/>
                      <a:pt x="71108" y="141892"/>
                    </a:cubicBezTo>
                    <a:lnTo>
                      <a:pt x="73443" y="141892"/>
                    </a:lnTo>
                    <a:cubicBezTo>
                      <a:pt x="74767" y="141892"/>
                      <a:pt x="75839" y="140820"/>
                      <a:pt x="75839" y="139495"/>
                    </a:cubicBezTo>
                    <a:cubicBezTo>
                      <a:pt x="75839" y="138171"/>
                      <a:pt x="74767" y="137099"/>
                      <a:pt x="73443" y="137099"/>
                    </a:cubicBezTo>
                    <a:lnTo>
                      <a:pt x="71106" y="137099"/>
                    </a:lnTo>
                    <a:cubicBezTo>
                      <a:pt x="72256" y="123199"/>
                      <a:pt x="83367" y="112095"/>
                      <a:pt x="97288" y="110935"/>
                    </a:cubicBezTo>
                    <a:lnTo>
                      <a:pt x="97288" y="113254"/>
                    </a:lnTo>
                    <a:cubicBezTo>
                      <a:pt x="97288" y="114578"/>
                      <a:pt x="98360" y="115650"/>
                      <a:pt x="99684" y="115650"/>
                    </a:cubicBezTo>
                    <a:cubicBezTo>
                      <a:pt x="101009" y="115650"/>
                      <a:pt x="102081" y="114578"/>
                      <a:pt x="102081" y="113254"/>
                    </a:cubicBezTo>
                    <a:lnTo>
                      <a:pt x="102081" y="110934"/>
                    </a:lnTo>
                    <a:cubicBezTo>
                      <a:pt x="106672" y="111314"/>
                      <a:pt x="110948" y="112783"/>
                      <a:pt x="114675" y="115073"/>
                    </a:cubicBezTo>
                    <a:lnTo>
                      <a:pt x="98294" y="138110"/>
                    </a:lnTo>
                    <a:cubicBezTo>
                      <a:pt x="97529" y="139186"/>
                      <a:pt x="97782" y="140684"/>
                      <a:pt x="98861" y="141452"/>
                    </a:cubicBezTo>
                    <a:cubicBezTo>
                      <a:pt x="99282" y="141751"/>
                      <a:pt x="99766" y="141894"/>
                      <a:pt x="100246" y="141894"/>
                    </a:cubicBezTo>
                    <a:cubicBezTo>
                      <a:pt x="100995" y="141894"/>
                      <a:pt x="101734" y="141543"/>
                      <a:pt x="102202" y="140885"/>
                    </a:cubicBezTo>
                    <a:lnTo>
                      <a:pt x="118541" y="117908"/>
                    </a:lnTo>
                    <a:cubicBezTo>
                      <a:pt x="124006" y="122676"/>
                      <a:pt x="127647" y="129461"/>
                      <a:pt x="128279" y="137099"/>
                    </a:cubicBezTo>
                    <a:lnTo>
                      <a:pt x="125928" y="137099"/>
                    </a:lnTo>
                    <a:cubicBezTo>
                      <a:pt x="124604" y="137099"/>
                      <a:pt x="123532" y="138171"/>
                      <a:pt x="123532" y="139495"/>
                    </a:cubicBezTo>
                    <a:cubicBezTo>
                      <a:pt x="123532" y="140820"/>
                      <a:pt x="124604" y="141892"/>
                      <a:pt x="125928" y="141892"/>
                    </a:cubicBezTo>
                    <a:close/>
                    <a:moveTo>
                      <a:pt x="4792" y="92706"/>
                    </a:moveTo>
                    <a:cubicBezTo>
                      <a:pt x="4792" y="89364"/>
                      <a:pt x="7509" y="86647"/>
                      <a:pt x="10851" y="86647"/>
                    </a:cubicBezTo>
                    <a:lnTo>
                      <a:pt x="23946" y="86647"/>
                    </a:lnTo>
                    <a:lnTo>
                      <a:pt x="23946" y="189889"/>
                    </a:lnTo>
                    <a:cubicBezTo>
                      <a:pt x="23946" y="191213"/>
                      <a:pt x="25018" y="192285"/>
                      <a:pt x="26342" y="192285"/>
                    </a:cubicBezTo>
                    <a:lnTo>
                      <a:pt x="84011" y="192285"/>
                    </a:lnTo>
                    <a:cubicBezTo>
                      <a:pt x="91333" y="192285"/>
                      <a:pt x="97288" y="198259"/>
                      <a:pt x="97288" y="205602"/>
                    </a:cubicBezTo>
                    <a:cubicBezTo>
                      <a:pt x="97288" y="206927"/>
                      <a:pt x="98360" y="207998"/>
                      <a:pt x="99684" y="207998"/>
                    </a:cubicBezTo>
                    <a:cubicBezTo>
                      <a:pt x="101009" y="207998"/>
                      <a:pt x="102081" y="206927"/>
                      <a:pt x="102081" y="205602"/>
                    </a:cubicBezTo>
                    <a:cubicBezTo>
                      <a:pt x="102081" y="198259"/>
                      <a:pt x="108038" y="192285"/>
                      <a:pt x="115361" y="192285"/>
                    </a:cubicBezTo>
                    <a:lnTo>
                      <a:pt x="173029" y="192285"/>
                    </a:lnTo>
                    <a:cubicBezTo>
                      <a:pt x="174354" y="192285"/>
                      <a:pt x="175425" y="191213"/>
                      <a:pt x="175425" y="189889"/>
                    </a:cubicBezTo>
                    <a:lnTo>
                      <a:pt x="175425" y="86647"/>
                    </a:lnTo>
                    <a:lnTo>
                      <a:pt x="188497" y="86647"/>
                    </a:lnTo>
                    <a:cubicBezTo>
                      <a:pt x="191839" y="86647"/>
                      <a:pt x="194555" y="89364"/>
                      <a:pt x="194555" y="92706"/>
                    </a:cubicBezTo>
                    <a:lnTo>
                      <a:pt x="194555" y="203332"/>
                    </a:lnTo>
                    <a:cubicBezTo>
                      <a:pt x="194555" y="206674"/>
                      <a:pt x="191839" y="209391"/>
                      <a:pt x="188497" y="209391"/>
                    </a:cubicBezTo>
                    <a:lnTo>
                      <a:pt x="124199" y="209391"/>
                    </a:lnTo>
                    <a:cubicBezTo>
                      <a:pt x="119275" y="209391"/>
                      <a:pt x="114921" y="212323"/>
                      <a:pt x="113362" y="216689"/>
                    </a:cubicBezTo>
                    <a:cubicBezTo>
                      <a:pt x="111310" y="222437"/>
                      <a:pt x="105813" y="226300"/>
                      <a:pt x="99666" y="226300"/>
                    </a:cubicBezTo>
                    <a:cubicBezTo>
                      <a:pt x="93537" y="226300"/>
                      <a:pt x="88038" y="222437"/>
                      <a:pt x="85986" y="216689"/>
                    </a:cubicBezTo>
                    <a:cubicBezTo>
                      <a:pt x="84430" y="212325"/>
                      <a:pt x="80072" y="209391"/>
                      <a:pt x="75147" y="209391"/>
                    </a:cubicBezTo>
                    <a:lnTo>
                      <a:pt x="10851" y="209391"/>
                    </a:lnTo>
                    <a:cubicBezTo>
                      <a:pt x="7509" y="209391"/>
                      <a:pt x="4792" y="206674"/>
                      <a:pt x="4792" y="203332"/>
                    </a:cubicBezTo>
                    <a:close/>
                  </a:path>
                </a:pathLst>
              </a:custGeom>
              <a:grpFill/>
              <a:ln w="4673"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5" name="Freeform: Shape 172">
                <a:extLst>
                  <a:ext uri="{FF2B5EF4-FFF2-40B4-BE49-F238E27FC236}">
                    <a16:creationId xmlns:a16="http://schemas.microsoft.com/office/drawing/2014/main" id="{B4C4664F-92F4-85E3-BE09-4B50E7A65633}"/>
                  </a:ext>
                </a:extLst>
              </p:cNvPr>
              <p:cNvSpPr/>
              <p:nvPr/>
            </p:nvSpPr>
            <p:spPr>
              <a:xfrm>
                <a:off x="988833" y="1562483"/>
                <a:ext cx="35524" cy="4792"/>
              </a:xfrm>
              <a:custGeom>
                <a:avLst/>
                <a:gdLst>
                  <a:gd name="csX0" fmla="*/ 2396 w 35524"/>
                  <a:gd name="csY0" fmla="*/ 4792 h 4792"/>
                  <a:gd name="csX1" fmla="*/ 33128 w 35524"/>
                  <a:gd name="csY1" fmla="*/ 4792 h 4792"/>
                  <a:gd name="csX2" fmla="*/ 35525 w 35524"/>
                  <a:gd name="csY2" fmla="*/ 2396 h 4792"/>
                  <a:gd name="csX3" fmla="*/ 33128 w 35524"/>
                  <a:gd name="csY3" fmla="*/ 0 h 4792"/>
                  <a:gd name="csX4" fmla="*/ 2396 w 35524"/>
                  <a:gd name="csY4" fmla="*/ 0 h 4792"/>
                  <a:gd name="csX5" fmla="*/ 0 w 35524"/>
                  <a:gd name="csY5" fmla="*/ 2396 h 4792"/>
                  <a:gd name="csX6" fmla="*/ 2396 w 35524"/>
                  <a:gd name="csY6" fmla="*/ 4792 h 4792"/>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5524" h="4792">
                    <a:moveTo>
                      <a:pt x="2396" y="4792"/>
                    </a:moveTo>
                    <a:lnTo>
                      <a:pt x="33128" y="4792"/>
                    </a:lnTo>
                    <a:cubicBezTo>
                      <a:pt x="34453" y="4792"/>
                      <a:pt x="35525" y="3721"/>
                      <a:pt x="35525" y="2396"/>
                    </a:cubicBezTo>
                    <a:cubicBezTo>
                      <a:pt x="35525" y="1072"/>
                      <a:pt x="34453" y="0"/>
                      <a:pt x="33128" y="0"/>
                    </a:cubicBezTo>
                    <a:lnTo>
                      <a:pt x="2396" y="0"/>
                    </a:lnTo>
                    <a:cubicBezTo>
                      <a:pt x="1072" y="0"/>
                      <a:pt x="0" y="1072"/>
                      <a:pt x="0" y="2396"/>
                    </a:cubicBezTo>
                    <a:cubicBezTo>
                      <a:pt x="0" y="3721"/>
                      <a:pt x="1072" y="4792"/>
                      <a:pt x="2396" y="4792"/>
                    </a:cubicBezTo>
                    <a:close/>
                  </a:path>
                </a:pathLst>
              </a:custGeom>
              <a:grpFill/>
              <a:ln w="4673"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6" name="Freeform: Shape 173">
                <a:extLst>
                  <a:ext uri="{FF2B5EF4-FFF2-40B4-BE49-F238E27FC236}">
                    <a16:creationId xmlns:a16="http://schemas.microsoft.com/office/drawing/2014/main" id="{DF1B137E-CDC9-2454-BC7F-6659ED0181CC}"/>
                  </a:ext>
                </a:extLst>
              </p:cNvPr>
              <p:cNvSpPr/>
              <p:nvPr/>
            </p:nvSpPr>
            <p:spPr>
              <a:xfrm>
                <a:off x="988833" y="1582811"/>
                <a:ext cx="20157" cy="4792"/>
              </a:xfrm>
              <a:custGeom>
                <a:avLst/>
                <a:gdLst>
                  <a:gd name="csX0" fmla="*/ 2396 w 20157"/>
                  <a:gd name="csY0" fmla="*/ 4792 h 4792"/>
                  <a:gd name="csX1" fmla="*/ 17761 w 20157"/>
                  <a:gd name="csY1" fmla="*/ 4792 h 4792"/>
                  <a:gd name="csX2" fmla="*/ 20157 w 20157"/>
                  <a:gd name="csY2" fmla="*/ 2396 h 4792"/>
                  <a:gd name="csX3" fmla="*/ 17761 w 20157"/>
                  <a:gd name="csY3" fmla="*/ 0 h 4792"/>
                  <a:gd name="csX4" fmla="*/ 2396 w 20157"/>
                  <a:gd name="csY4" fmla="*/ 0 h 4792"/>
                  <a:gd name="csX5" fmla="*/ 0 w 20157"/>
                  <a:gd name="csY5" fmla="*/ 2396 h 4792"/>
                  <a:gd name="csX6" fmla="*/ 2396 w 20157"/>
                  <a:gd name="csY6" fmla="*/ 4792 h 4792"/>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0157" h="4792">
                    <a:moveTo>
                      <a:pt x="2396" y="4792"/>
                    </a:moveTo>
                    <a:lnTo>
                      <a:pt x="17761" y="4792"/>
                    </a:lnTo>
                    <a:cubicBezTo>
                      <a:pt x="19086" y="4792"/>
                      <a:pt x="20157" y="3721"/>
                      <a:pt x="20157" y="2396"/>
                    </a:cubicBezTo>
                    <a:cubicBezTo>
                      <a:pt x="20157" y="1072"/>
                      <a:pt x="19086" y="0"/>
                      <a:pt x="17761" y="0"/>
                    </a:cubicBezTo>
                    <a:lnTo>
                      <a:pt x="2396" y="0"/>
                    </a:lnTo>
                    <a:cubicBezTo>
                      <a:pt x="1072" y="0"/>
                      <a:pt x="0" y="1072"/>
                      <a:pt x="0" y="2396"/>
                    </a:cubicBezTo>
                    <a:cubicBezTo>
                      <a:pt x="0" y="3721"/>
                      <a:pt x="1072" y="4792"/>
                      <a:pt x="2396" y="4792"/>
                    </a:cubicBezTo>
                    <a:close/>
                  </a:path>
                </a:pathLst>
              </a:custGeom>
              <a:grpFill/>
              <a:ln w="4673"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7" name="Freeform: Shape 174">
                <a:extLst>
                  <a:ext uri="{FF2B5EF4-FFF2-40B4-BE49-F238E27FC236}">
                    <a16:creationId xmlns:a16="http://schemas.microsoft.com/office/drawing/2014/main" id="{263CF548-3665-E455-6C73-E0A95C9B06BE}"/>
                  </a:ext>
                </a:extLst>
              </p:cNvPr>
              <p:cNvSpPr/>
              <p:nvPr/>
            </p:nvSpPr>
            <p:spPr>
              <a:xfrm>
                <a:off x="988648" y="1641869"/>
                <a:ext cx="25939" cy="4792"/>
              </a:xfrm>
              <a:custGeom>
                <a:avLst/>
                <a:gdLst>
                  <a:gd name="csX0" fmla="*/ 23543 w 25939"/>
                  <a:gd name="csY0" fmla="*/ 0 h 4792"/>
                  <a:gd name="csX1" fmla="*/ 2396 w 25939"/>
                  <a:gd name="csY1" fmla="*/ 0 h 4792"/>
                  <a:gd name="csX2" fmla="*/ 0 w 25939"/>
                  <a:gd name="csY2" fmla="*/ 2396 h 4792"/>
                  <a:gd name="csX3" fmla="*/ 2396 w 25939"/>
                  <a:gd name="csY3" fmla="*/ 4792 h 4792"/>
                  <a:gd name="csX4" fmla="*/ 23543 w 25939"/>
                  <a:gd name="csY4" fmla="*/ 4792 h 4792"/>
                  <a:gd name="csX5" fmla="*/ 25940 w 25939"/>
                  <a:gd name="csY5" fmla="*/ 2396 h 4792"/>
                  <a:gd name="csX6" fmla="*/ 23543 w 25939"/>
                  <a:gd name="csY6" fmla="*/ 0 h 4792"/>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5939" h="4792">
                    <a:moveTo>
                      <a:pt x="23543" y="0"/>
                    </a:moveTo>
                    <a:lnTo>
                      <a:pt x="2396" y="0"/>
                    </a:lnTo>
                    <a:cubicBezTo>
                      <a:pt x="1072" y="0"/>
                      <a:pt x="0" y="1072"/>
                      <a:pt x="0" y="2396"/>
                    </a:cubicBezTo>
                    <a:cubicBezTo>
                      <a:pt x="0" y="3721"/>
                      <a:pt x="1072" y="4792"/>
                      <a:pt x="2396" y="4792"/>
                    </a:cubicBezTo>
                    <a:lnTo>
                      <a:pt x="23543" y="4792"/>
                    </a:lnTo>
                    <a:cubicBezTo>
                      <a:pt x="24868" y="4792"/>
                      <a:pt x="25940" y="3721"/>
                      <a:pt x="25940" y="2396"/>
                    </a:cubicBezTo>
                    <a:cubicBezTo>
                      <a:pt x="25940" y="1072"/>
                      <a:pt x="24868" y="0"/>
                      <a:pt x="23543" y="0"/>
                    </a:cubicBezTo>
                    <a:close/>
                  </a:path>
                </a:pathLst>
              </a:custGeom>
              <a:grpFill/>
              <a:ln w="4673"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8" name="Freeform: Shape 175">
                <a:extLst>
                  <a:ext uri="{FF2B5EF4-FFF2-40B4-BE49-F238E27FC236}">
                    <a16:creationId xmlns:a16="http://schemas.microsoft.com/office/drawing/2014/main" id="{C48EFBB4-2011-2A0D-8A77-27D4BCF85183}"/>
                  </a:ext>
                </a:extLst>
              </p:cNvPr>
              <p:cNvSpPr/>
              <p:nvPr/>
            </p:nvSpPr>
            <p:spPr>
              <a:xfrm>
                <a:off x="1078527" y="1641869"/>
                <a:ext cx="25941" cy="4792"/>
              </a:xfrm>
              <a:custGeom>
                <a:avLst/>
                <a:gdLst>
                  <a:gd name="csX0" fmla="*/ 2396 w 25941"/>
                  <a:gd name="csY0" fmla="*/ 4792 h 4792"/>
                  <a:gd name="csX1" fmla="*/ 23546 w 25941"/>
                  <a:gd name="csY1" fmla="*/ 4792 h 4792"/>
                  <a:gd name="csX2" fmla="*/ 25942 w 25941"/>
                  <a:gd name="csY2" fmla="*/ 2396 h 4792"/>
                  <a:gd name="csX3" fmla="*/ 23546 w 25941"/>
                  <a:gd name="csY3" fmla="*/ 0 h 4792"/>
                  <a:gd name="csX4" fmla="*/ 2396 w 25941"/>
                  <a:gd name="csY4" fmla="*/ 0 h 4792"/>
                  <a:gd name="csX5" fmla="*/ 0 w 25941"/>
                  <a:gd name="csY5" fmla="*/ 2396 h 4792"/>
                  <a:gd name="csX6" fmla="*/ 2396 w 25941"/>
                  <a:gd name="csY6" fmla="*/ 4792 h 4792"/>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5941" h="4792">
                    <a:moveTo>
                      <a:pt x="2396" y="4792"/>
                    </a:moveTo>
                    <a:lnTo>
                      <a:pt x="23546" y="4792"/>
                    </a:lnTo>
                    <a:cubicBezTo>
                      <a:pt x="24870" y="4792"/>
                      <a:pt x="25942" y="3721"/>
                      <a:pt x="25942" y="2396"/>
                    </a:cubicBezTo>
                    <a:cubicBezTo>
                      <a:pt x="25942" y="1072"/>
                      <a:pt x="24870" y="0"/>
                      <a:pt x="23546" y="0"/>
                    </a:cubicBezTo>
                    <a:lnTo>
                      <a:pt x="2396" y="0"/>
                    </a:lnTo>
                    <a:cubicBezTo>
                      <a:pt x="1072" y="0"/>
                      <a:pt x="0" y="1072"/>
                      <a:pt x="0" y="2396"/>
                    </a:cubicBezTo>
                    <a:cubicBezTo>
                      <a:pt x="0" y="3721"/>
                      <a:pt x="1072" y="4792"/>
                      <a:pt x="2396" y="4792"/>
                    </a:cubicBezTo>
                    <a:close/>
                  </a:path>
                </a:pathLst>
              </a:custGeom>
              <a:grpFill/>
              <a:ln w="4673"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49" name="Group 48">
            <a:extLst>
              <a:ext uri="{FF2B5EF4-FFF2-40B4-BE49-F238E27FC236}">
                <a16:creationId xmlns:a16="http://schemas.microsoft.com/office/drawing/2014/main" id="{7D02BB1B-AE95-CC7A-8F5D-149B065FF606}"/>
              </a:ext>
            </a:extLst>
          </p:cNvPr>
          <p:cNvGrpSpPr>
            <a:grpSpLocks noChangeAspect="1"/>
          </p:cNvGrpSpPr>
          <p:nvPr/>
        </p:nvGrpSpPr>
        <p:grpSpPr>
          <a:xfrm>
            <a:off x="7957391" y="4022458"/>
            <a:ext cx="415636" cy="415636"/>
            <a:chOff x="7936609" y="4526857"/>
            <a:chExt cx="457200" cy="457200"/>
          </a:xfrm>
        </p:grpSpPr>
        <p:sp>
          <p:nvSpPr>
            <p:cNvPr id="50" name="Oval 49">
              <a:extLst>
                <a:ext uri="{FF2B5EF4-FFF2-40B4-BE49-F238E27FC236}">
                  <a16:creationId xmlns:a16="http://schemas.microsoft.com/office/drawing/2014/main" id="{01226DB2-5381-54FB-4BAE-711836AC697C}"/>
                </a:ext>
              </a:extLst>
            </p:cNvPr>
            <p:cNvSpPr>
              <a:spLocks noChangeAspect="1"/>
            </p:cNvSpPr>
            <p:nvPr/>
          </p:nvSpPr>
          <p:spPr>
            <a:xfrm>
              <a:off x="7936609" y="4526857"/>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grpSp>
          <p:nvGrpSpPr>
            <p:cNvPr id="51" name="Pic">
              <a:extLst>
                <a:ext uri="{FF2B5EF4-FFF2-40B4-BE49-F238E27FC236}">
                  <a16:creationId xmlns:a16="http://schemas.microsoft.com/office/drawing/2014/main" id="{08EEFDBB-2ACD-EF22-7BBD-8BD26E4C2786}"/>
                </a:ext>
              </a:extLst>
            </p:cNvPr>
            <p:cNvGrpSpPr>
              <a:grpSpLocks noChangeAspect="1"/>
            </p:cNvGrpSpPr>
            <p:nvPr/>
          </p:nvGrpSpPr>
          <p:grpSpPr>
            <a:xfrm>
              <a:off x="8049885" y="4631257"/>
              <a:ext cx="230648" cy="248400"/>
              <a:chOff x="935750" y="1819317"/>
              <a:chExt cx="230648" cy="248400"/>
            </a:xfrm>
            <a:solidFill>
              <a:schemeClr val="bg1"/>
            </a:solidFill>
          </p:grpSpPr>
          <p:sp>
            <p:nvSpPr>
              <p:cNvPr id="52" name="Freeform: Shape 179">
                <a:extLst>
                  <a:ext uri="{FF2B5EF4-FFF2-40B4-BE49-F238E27FC236}">
                    <a16:creationId xmlns:a16="http://schemas.microsoft.com/office/drawing/2014/main" id="{F856A50D-7E3C-0C7C-5524-D225A2417E1E}"/>
                  </a:ext>
                </a:extLst>
              </p:cNvPr>
              <p:cNvSpPr/>
              <p:nvPr/>
            </p:nvSpPr>
            <p:spPr>
              <a:xfrm>
                <a:off x="935750" y="1984123"/>
                <a:ext cx="83594" cy="83594"/>
              </a:xfrm>
              <a:custGeom>
                <a:avLst/>
                <a:gdLst>
                  <a:gd name="csX0" fmla="*/ 41797 w 83594"/>
                  <a:gd name="csY0" fmla="*/ 83594 h 83594"/>
                  <a:gd name="csX1" fmla="*/ 0 w 83594"/>
                  <a:gd name="csY1" fmla="*/ 41797 h 83594"/>
                  <a:gd name="csX2" fmla="*/ 41797 w 83594"/>
                  <a:gd name="csY2" fmla="*/ 0 h 83594"/>
                  <a:gd name="csX3" fmla="*/ 83594 w 83594"/>
                  <a:gd name="csY3" fmla="*/ 41797 h 83594"/>
                  <a:gd name="csX4" fmla="*/ 41797 w 83594"/>
                  <a:gd name="csY4" fmla="*/ 83594 h 83594"/>
                  <a:gd name="csX5" fmla="*/ 41797 w 83594"/>
                  <a:gd name="csY5" fmla="*/ 5644 h 83594"/>
                  <a:gd name="csX6" fmla="*/ 5644 w 83594"/>
                  <a:gd name="csY6" fmla="*/ 41797 h 83594"/>
                  <a:gd name="csX7" fmla="*/ 41797 w 83594"/>
                  <a:gd name="csY7" fmla="*/ 77950 h 83594"/>
                  <a:gd name="csX8" fmla="*/ 77950 w 83594"/>
                  <a:gd name="csY8" fmla="*/ 41797 h 83594"/>
                  <a:gd name="csX9" fmla="*/ 41797 w 83594"/>
                  <a:gd name="csY9" fmla="*/ 5644 h 8359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83594" h="83594">
                    <a:moveTo>
                      <a:pt x="41797" y="83594"/>
                    </a:moveTo>
                    <a:cubicBezTo>
                      <a:pt x="18751" y="83594"/>
                      <a:pt x="0" y="64843"/>
                      <a:pt x="0" y="41797"/>
                    </a:cubicBezTo>
                    <a:cubicBezTo>
                      <a:pt x="0" y="18751"/>
                      <a:pt x="18751" y="0"/>
                      <a:pt x="41797" y="0"/>
                    </a:cubicBezTo>
                    <a:cubicBezTo>
                      <a:pt x="64843" y="0"/>
                      <a:pt x="83594" y="18751"/>
                      <a:pt x="83594" y="41797"/>
                    </a:cubicBezTo>
                    <a:cubicBezTo>
                      <a:pt x="83594" y="64843"/>
                      <a:pt x="64843" y="83594"/>
                      <a:pt x="41797" y="83594"/>
                    </a:cubicBezTo>
                    <a:close/>
                    <a:moveTo>
                      <a:pt x="41797" y="5644"/>
                    </a:moveTo>
                    <a:cubicBezTo>
                      <a:pt x="21861" y="5644"/>
                      <a:pt x="5644" y="21861"/>
                      <a:pt x="5644" y="41797"/>
                    </a:cubicBezTo>
                    <a:cubicBezTo>
                      <a:pt x="5644" y="61733"/>
                      <a:pt x="21861" y="77950"/>
                      <a:pt x="41797" y="77950"/>
                    </a:cubicBezTo>
                    <a:cubicBezTo>
                      <a:pt x="61733" y="77950"/>
                      <a:pt x="77950" y="61733"/>
                      <a:pt x="77950" y="41797"/>
                    </a:cubicBezTo>
                    <a:cubicBezTo>
                      <a:pt x="77950" y="21861"/>
                      <a:pt x="61728" y="5644"/>
                      <a:pt x="41797" y="5644"/>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3" name="Freeform: Shape 180">
                <a:extLst>
                  <a:ext uri="{FF2B5EF4-FFF2-40B4-BE49-F238E27FC236}">
                    <a16:creationId xmlns:a16="http://schemas.microsoft.com/office/drawing/2014/main" id="{2F2C9F97-C05C-9B1A-E104-F1AB80117853}"/>
                  </a:ext>
                </a:extLst>
              </p:cNvPr>
              <p:cNvSpPr/>
              <p:nvPr/>
            </p:nvSpPr>
            <p:spPr>
              <a:xfrm>
                <a:off x="953992" y="2027569"/>
                <a:ext cx="47108" cy="34182"/>
              </a:xfrm>
              <a:custGeom>
                <a:avLst/>
                <a:gdLst>
                  <a:gd name="csX0" fmla="*/ 44281 w 47108"/>
                  <a:gd name="csY0" fmla="*/ 34183 h 34182"/>
                  <a:gd name="csX1" fmla="*/ 41458 w 47108"/>
                  <a:gd name="csY1" fmla="*/ 31361 h 34182"/>
                  <a:gd name="csX2" fmla="*/ 41458 w 47108"/>
                  <a:gd name="csY2" fmla="*/ 11695 h 34182"/>
                  <a:gd name="csX3" fmla="*/ 35408 w 47108"/>
                  <a:gd name="csY3" fmla="*/ 5644 h 34182"/>
                  <a:gd name="csX4" fmla="*/ 11695 w 47108"/>
                  <a:gd name="csY4" fmla="*/ 5644 h 34182"/>
                  <a:gd name="csX5" fmla="*/ 5644 w 47108"/>
                  <a:gd name="csY5" fmla="*/ 11695 h 34182"/>
                  <a:gd name="csX6" fmla="*/ 5644 w 47108"/>
                  <a:gd name="csY6" fmla="*/ 31361 h 34182"/>
                  <a:gd name="csX7" fmla="*/ 2822 w 47108"/>
                  <a:gd name="csY7" fmla="*/ 34183 h 34182"/>
                  <a:gd name="csX8" fmla="*/ 0 w 47108"/>
                  <a:gd name="csY8" fmla="*/ 31361 h 34182"/>
                  <a:gd name="csX9" fmla="*/ 0 w 47108"/>
                  <a:gd name="csY9" fmla="*/ 11695 h 34182"/>
                  <a:gd name="csX10" fmla="*/ 11695 w 47108"/>
                  <a:gd name="csY10" fmla="*/ 0 h 34182"/>
                  <a:gd name="csX11" fmla="*/ 35413 w 47108"/>
                  <a:gd name="csY11" fmla="*/ 0 h 34182"/>
                  <a:gd name="csX12" fmla="*/ 47109 w 47108"/>
                  <a:gd name="csY12" fmla="*/ 11695 h 34182"/>
                  <a:gd name="csX13" fmla="*/ 47109 w 47108"/>
                  <a:gd name="csY13" fmla="*/ 31361 h 34182"/>
                  <a:gd name="csX14" fmla="*/ 44281 w 47108"/>
                  <a:gd name="csY14" fmla="*/ 34183 h 3418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47108" h="34182">
                    <a:moveTo>
                      <a:pt x="44281" y="34183"/>
                    </a:moveTo>
                    <a:cubicBezTo>
                      <a:pt x="42723" y="34183"/>
                      <a:pt x="41458" y="32918"/>
                      <a:pt x="41458" y="31361"/>
                    </a:cubicBezTo>
                    <a:lnTo>
                      <a:pt x="41458" y="11695"/>
                    </a:lnTo>
                    <a:cubicBezTo>
                      <a:pt x="41458" y="8359"/>
                      <a:pt x="38743" y="5644"/>
                      <a:pt x="35408" y="5644"/>
                    </a:cubicBezTo>
                    <a:lnTo>
                      <a:pt x="11695" y="5644"/>
                    </a:lnTo>
                    <a:cubicBezTo>
                      <a:pt x="8359" y="5644"/>
                      <a:pt x="5644" y="8359"/>
                      <a:pt x="5644" y="11695"/>
                    </a:cubicBezTo>
                    <a:lnTo>
                      <a:pt x="5644" y="31361"/>
                    </a:lnTo>
                    <a:cubicBezTo>
                      <a:pt x="5644" y="32918"/>
                      <a:pt x="4380" y="34183"/>
                      <a:pt x="2822" y="34183"/>
                    </a:cubicBezTo>
                    <a:cubicBezTo>
                      <a:pt x="1264" y="34183"/>
                      <a:pt x="0" y="32918"/>
                      <a:pt x="0" y="31361"/>
                    </a:cubicBezTo>
                    <a:lnTo>
                      <a:pt x="0" y="11695"/>
                    </a:lnTo>
                    <a:cubicBezTo>
                      <a:pt x="0" y="5249"/>
                      <a:pt x="5244" y="0"/>
                      <a:pt x="11695" y="0"/>
                    </a:cubicBezTo>
                    <a:lnTo>
                      <a:pt x="35413" y="0"/>
                    </a:lnTo>
                    <a:cubicBezTo>
                      <a:pt x="41859" y="0"/>
                      <a:pt x="47109" y="5244"/>
                      <a:pt x="47109" y="11695"/>
                    </a:cubicBezTo>
                    <a:lnTo>
                      <a:pt x="47109" y="31361"/>
                    </a:lnTo>
                    <a:cubicBezTo>
                      <a:pt x="47103" y="32918"/>
                      <a:pt x="45844" y="34183"/>
                      <a:pt x="44281" y="34183"/>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4" name="Freeform: Shape 181">
                <a:extLst>
                  <a:ext uri="{FF2B5EF4-FFF2-40B4-BE49-F238E27FC236}">
                    <a16:creationId xmlns:a16="http://schemas.microsoft.com/office/drawing/2014/main" id="{CC3A2B07-654A-BF7B-68B3-FF00045B82EE}"/>
                  </a:ext>
                </a:extLst>
              </p:cNvPr>
              <p:cNvSpPr/>
              <p:nvPr/>
            </p:nvSpPr>
            <p:spPr>
              <a:xfrm>
                <a:off x="962544" y="1994650"/>
                <a:ext cx="30005" cy="30005"/>
              </a:xfrm>
              <a:custGeom>
                <a:avLst/>
                <a:gdLst>
                  <a:gd name="csX0" fmla="*/ 15003 w 30005"/>
                  <a:gd name="csY0" fmla="*/ 30006 h 30005"/>
                  <a:gd name="csX1" fmla="*/ 0 w 30005"/>
                  <a:gd name="csY1" fmla="*/ 15003 h 30005"/>
                  <a:gd name="csX2" fmla="*/ 15003 w 30005"/>
                  <a:gd name="csY2" fmla="*/ 0 h 30005"/>
                  <a:gd name="csX3" fmla="*/ 30006 w 30005"/>
                  <a:gd name="csY3" fmla="*/ 15003 h 30005"/>
                  <a:gd name="csX4" fmla="*/ 15003 w 30005"/>
                  <a:gd name="csY4" fmla="*/ 30006 h 30005"/>
                  <a:gd name="csX5" fmla="*/ 15003 w 30005"/>
                  <a:gd name="csY5" fmla="*/ 5644 h 30005"/>
                  <a:gd name="csX6" fmla="*/ 5644 w 30005"/>
                  <a:gd name="csY6" fmla="*/ 15003 h 30005"/>
                  <a:gd name="csX7" fmla="*/ 15003 w 30005"/>
                  <a:gd name="csY7" fmla="*/ 24361 h 30005"/>
                  <a:gd name="csX8" fmla="*/ 24361 w 30005"/>
                  <a:gd name="csY8" fmla="*/ 15003 h 30005"/>
                  <a:gd name="csX9" fmla="*/ 15003 w 30005"/>
                  <a:gd name="csY9" fmla="*/ 5644 h 3000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30005" h="30005">
                    <a:moveTo>
                      <a:pt x="15003" y="30006"/>
                    </a:moveTo>
                    <a:cubicBezTo>
                      <a:pt x="6734" y="30006"/>
                      <a:pt x="0" y="23278"/>
                      <a:pt x="0" y="15003"/>
                    </a:cubicBezTo>
                    <a:cubicBezTo>
                      <a:pt x="0" y="6728"/>
                      <a:pt x="6728" y="0"/>
                      <a:pt x="15003" y="0"/>
                    </a:cubicBezTo>
                    <a:cubicBezTo>
                      <a:pt x="23278" y="0"/>
                      <a:pt x="30006" y="6728"/>
                      <a:pt x="30006" y="15003"/>
                    </a:cubicBezTo>
                    <a:cubicBezTo>
                      <a:pt x="30006" y="23278"/>
                      <a:pt x="23272" y="30006"/>
                      <a:pt x="15003" y="30006"/>
                    </a:cubicBezTo>
                    <a:close/>
                    <a:moveTo>
                      <a:pt x="15003" y="5644"/>
                    </a:moveTo>
                    <a:cubicBezTo>
                      <a:pt x="9844" y="5644"/>
                      <a:pt x="5644" y="9844"/>
                      <a:pt x="5644" y="15003"/>
                    </a:cubicBezTo>
                    <a:cubicBezTo>
                      <a:pt x="5644" y="20162"/>
                      <a:pt x="9844" y="24361"/>
                      <a:pt x="15003" y="24361"/>
                    </a:cubicBezTo>
                    <a:cubicBezTo>
                      <a:pt x="20162" y="24361"/>
                      <a:pt x="24361" y="20162"/>
                      <a:pt x="24361" y="15003"/>
                    </a:cubicBezTo>
                    <a:cubicBezTo>
                      <a:pt x="24361" y="9844"/>
                      <a:pt x="20162" y="5644"/>
                      <a:pt x="15003" y="5644"/>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5" name="Freeform: Shape 182">
                <a:extLst>
                  <a:ext uri="{FF2B5EF4-FFF2-40B4-BE49-F238E27FC236}">
                    <a16:creationId xmlns:a16="http://schemas.microsoft.com/office/drawing/2014/main" id="{24B5E703-B9D7-A860-4BF9-9C9550739AD5}"/>
                  </a:ext>
                </a:extLst>
              </p:cNvPr>
              <p:cNvSpPr/>
              <p:nvPr/>
            </p:nvSpPr>
            <p:spPr>
              <a:xfrm>
                <a:off x="1032557" y="1948795"/>
                <a:ext cx="133841" cy="86529"/>
              </a:xfrm>
              <a:custGeom>
                <a:avLst/>
                <a:gdLst>
                  <a:gd name="csX0" fmla="*/ 131013 w 133841"/>
                  <a:gd name="csY0" fmla="*/ 86529 h 86529"/>
                  <a:gd name="csX1" fmla="*/ 2822 w 133841"/>
                  <a:gd name="csY1" fmla="*/ 86529 h 86529"/>
                  <a:gd name="csX2" fmla="*/ 0 w 133841"/>
                  <a:gd name="csY2" fmla="*/ 83707 h 86529"/>
                  <a:gd name="csX3" fmla="*/ 0 w 133841"/>
                  <a:gd name="csY3" fmla="*/ 38687 h 86529"/>
                  <a:gd name="csX4" fmla="*/ 38687 w 133841"/>
                  <a:gd name="csY4" fmla="*/ 0 h 86529"/>
                  <a:gd name="csX5" fmla="*/ 49507 w 133841"/>
                  <a:gd name="csY5" fmla="*/ 0 h 86529"/>
                  <a:gd name="csX6" fmla="*/ 51641 w 133841"/>
                  <a:gd name="csY6" fmla="*/ 976 h 86529"/>
                  <a:gd name="csX7" fmla="*/ 66921 w 133841"/>
                  <a:gd name="csY7" fmla="*/ 18644 h 86529"/>
                  <a:gd name="csX8" fmla="*/ 82200 w 133841"/>
                  <a:gd name="csY8" fmla="*/ 976 h 86529"/>
                  <a:gd name="csX9" fmla="*/ 84334 w 133841"/>
                  <a:gd name="csY9" fmla="*/ 0 h 86529"/>
                  <a:gd name="csX10" fmla="*/ 95154 w 133841"/>
                  <a:gd name="csY10" fmla="*/ 0 h 86529"/>
                  <a:gd name="csX11" fmla="*/ 133841 w 133841"/>
                  <a:gd name="csY11" fmla="*/ 38687 h 86529"/>
                  <a:gd name="csX12" fmla="*/ 133841 w 133841"/>
                  <a:gd name="csY12" fmla="*/ 83707 h 86529"/>
                  <a:gd name="csX13" fmla="*/ 131013 w 133841"/>
                  <a:gd name="csY13" fmla="*/ 86529 h 86529"/>
                  <a:gd name="csX14" fmla="*/ 5644 w 133841"/>
                  <a:gd name="csY14" fmla="*/ 80885 h 86529"/>
                  <a:gd name="csX15" fmla="*/ 128191 w 133841"/>
                  <a:gd name="csY15" fmla="*/ 80885 h 86529"/>
                  <a:gd name="csX16" fmla="*/ 128191 w 133841"/>
                  <a:gd name="csY16" fmla="*/ 38687 h 86529"/>
                  <a:gd name="csX17" fmla="*/ 95148 w 133841"/>
                  <a:gd name="csY17" fmla="*/ 5644 h 86529"/>
                  <a:gd name="csX18" fmla="*/ 85621 w 133841"/>
                  <a:gd name="csY18" fmla="*/ 5644 h 86529"/>
                  <a:gd name="csX19" fmla="*/ 69054 w 133841"/>
                  <a:gd name="csY19" fmla="*/ 24802 h 86529"/>
                  <a:gd name="csX20" fmla="*/ 66921 w 133841"/>
                  <a:gd name="csY20" fmla="*/ 25778 h 86529"/>
                  <a:gd name="csX21" fmla="*/ 64787 w 133841"/>
                  <a:gd name="csY21" fmla="*/ 24802 h 86529"/>
                  <a:gd name="csX22" fmla="*/ 48220 w 133841"/>
                  <a:gd name="csY22" fmla="*/ 5644 h 86529"/>
                  <a:gd name="csX23" fmla="*/ 38687 w 133841"/>
                  <a:gd name="csY23" fmla="*/ 5644 h 86529"/>
                  <a:gd name="csX24" fmla="*/ 5644 w 133841"/>
                  <a:gd name="csY24" fmla="*/ 38687 h 8652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Lst>
                <a:rect l="l" t="t" r="r" b="b"/>
                <a:pathLst>
                  <a:path w="133841" h="86529">
                    <a:moveTo>
                      <a:pt x="131013" y="86529"/>
                    </a:moveTo>
                    <a:lnTo>
                      <a:pt x="2822" y="86529"/>
                    </a:lnTo>
                    <a:cubicBezTo>
                      <a:pt x="1264" y="86529"/>
                      <a:pt x="0" y="85265"/>
                      <a:pt x="0" y="83707"/>
                    </a:cubicBezTo>
                    <a:lnTo>
                      <a:pt x="0" y="38687"/>
                    </a:lnTo>
                    <a:cubicBezTo>
                      <a:pt x="0" y="17357"/>
                      <a:pt x="17357" y="0"/>
                      <a:pt x="38687" y="0"/>
                    </a:cubicBezTo>
                    <a:lnTo>
                      <a:pt x="49507" y="0"/>
                    </a:lnTo>
                    <a:cubicBezTo>
                      <a:pt x="50326" y="0"/>
                      <a:pt x="51105" y="356"/>
                      <a:pt x="51641" y="976"/>
                    </a:cubicBezTo>
                    <a:lnTo>
                      <a:pt x="66921" y="18644"/>
                    </a:lnTo>
                    <a:lnTo>
                      <a:pt x="82200" y="976"/>
                    </a:lnTo>
                    <a:cubicBezTo>
                      <a:pt x="82736" y="356"/>
                      <a:pt x="83515" y="0"/>
                      <a:pt x="84334" y="0"/>
                    </a:cubicBezTo>
                    <a:lnTo>
                      <a:pt x="95154" y="0"/>
                    </a:lnTo>
                    <a:cubicBezTo>
                      <a:pt x="116484" y="0"/>
                      <a:pt x="133841" y="17357"/>
                      <a:pt x="133841" y="38687"/>
                    </a:cubicBezTo>
                    <a:lnTo>
                      <a:pt x="133841" y="83707"/>
                    </a:lnTo>
                    <a:cubicBezTo>
                      <a:pt x="133835" y="85271"/>
                      <a:pt x="132571" y="86529"/>
                      <a:pt x="131013" y="86529"/>
                    </a:cubicBezTo>
                    <a:close/>
                    <a:moveTo>
                      <a:pt x="5644" y="80885"/>
                    </a:moveTo>
                    <a:lnTo>
                      <a:pt x="128191" y="80885"/>
                    </a:lnTo>
                    <a:lnTo>
                      <a:pt x="128191" y="38687"/>
                    </a:lnTo>
                    <a:cubicBezTo>
                      <a:pt x="128191" y="20467"/>
                      <a:pt x="113369" y="5644"/>
                      <a:pt x="95148" y="5644"/>
                    </a:cubicBezTo>
                    <a:lnTo>
                      <a:pt x="85621" y="5644"/>
                    </a:lnTo>
                    <a:lnTo>
                      <a:pt x="69054" y="24802"/>
                    </a:lnTo>
                    <a:cubicBezTo>
                      <a:pt x="68518" y="25423"/>
                      <a:pt x="67739" y="25778"/>
                      <a:pt x="66921" y="25778"/>
                    </a:cubicBezTo>
                    <a:cubicBezTo>
                      <a:pt x="66102" y="25778"/>
                      <a:pt x="65323" y="25423"/>
                      <a:pt x="64787" y="24802"/>
                    </a:cubicBezTo>
                    <a:lnTo>
                      <a:pt x="48220" y="5644"/>
                    </a:lnTo>
                    <a:lnTo>
                      <a:pt x="38687" y="5644"/>
                    </a:lnTo>
                    <a:cubicBezTo>
                      <a:pt x="20467" y="5644"/>
                      <a:pt x="5644" y="20467"/>
                      <a:pt x="5644" y="38687"/>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6" name="Freeform: Shape 183">
                <a:extLst>
                  <a:ext uri="{FF2B5EF4-FFF2-40B4-BE49-F238E27FC236}">
                    <a16:creationId xmlns:a16="http://schemas.microsoft.com/office/drawing/2014/main" id="{A16959CB-89FE-49FE-35CF-783382D34050}"/>
                  </a:ext>
                </a:extLst>
              </p:cNvPr>
              <p:cNvSpPr/>
              <p:nvPr/>
            </p:nvSpPr>
            <p:spPr>
              <a:xfrm>
                <a:off x="1058313" y="1992804"/>
                <a:ext cx="5644" cy="42519"/>
              </a:xfrm>
              <a:custGeom>
                <a:avLst/>
                <a:gdLst>
                  <a:gd name="csX0" fmla="*/ 2822 w 5644"/>
                  <a:gd name="csY0" fmla="*/ 42520 h 42519"/>
                  <a:gd name="csX1" fmla="*/ 0 w 5644"/>
                  <a:gd name="csY1" fmla="*/ 39697 h 42519"/>
                  <a:gd name="csX2" fmla="*/ 0 w 5644"/>
                  <a:gd name="csY2" fmla="*/ 2822 h 42519"/>
                  <a:gd name="csX3" fmla="*/ 2822 w 5644"/>
                  <a:gd name="csY3" fmla="*/ 0 h 42519"/>
                  <a:gd name="csX4" fmla="*/ 5644 w 5644"/>
                  <a:gd name="csY4" fmla="*/ 2822 h 42519"/>
                  <a:gd name="csX5" fmla="*/ 5644 w 5644"/>
                  <a:gd name="csY5" fmla="*/ 39697 h 42519"/>
                  <a:gd name="csX6" fmla="*/ 2822 w 5644"/>
                  <a:gd name="csY6" fmla="*/ 42520 h 4251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5644" h="42519">
                    <a:moveTo>
                      <a:pt x="2822" y="42520"/>
                    </a:moveTo>
                    <a:cubicBezTo>
                      <a:pt x="1264" y="42520"/>
                      <a:pt x="0" y="41255"/>
                      <a:pt x="0" y="39697"/>
                    </a:cubicBezTo>
                    <a:lnTo>
                      <a:pt x="0" y="2822"/>
                    </a:lnTo>
                    <a:cubicBezTo>
                      <a:pt x="0" y="1264"/>
                      <a:pt x="1264" y="0"/>
                      <a:pt x="2822" y="0"/>
                    </a:cubicBezTo>
                    <a:cubicBezTo>
                      <a:pt x="4380" y="0"/>
                      <a:pt x="5644" y="1264"/>
                      <a:pt x="5644" y="2822"/>
                    </a:cubicBezTo>
                    <a:lnTo>
                      <a:pt x="5644" y="39697"/>
                    </a:lnTo>
                    <a:cubicBezTo>
                      <a:pt x="5644" y="41261"/>
                      <a:pt x="4380" y="42520"/>
                      <a:pt x="2822" y="42520"/>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7" name="Freeform: Shape 184">
                <a:extLst>
                  <a:ext uri="{FF2B5EF4-FFF2-40B4-BE49-F238E27FC236}">
                    <a16:creationId xmlns:a16="http://schemas.microsoft.com/office/drawing/2014/main" id="{CE44C6D8-4523-1D1F-34BE-886D18EE097F}"/>
                  </a:ext>
                </a:extLst>
              </p:cNvPr>
              <p:cNvSpPr/>
              <p:nvPr/>
            </p:nvSpPr>
            <p:spPr>
              <a:xfrm>
                <a:off x="1079243" y="1933103"/>
                <a:ext cx="5644" cy="21341"/>
              </a:xfrm>
              <a:custGeom>
                <a:avLst/>
                <a:gdLst>
                  <a:gd name="csX0" fmla="*/ 2822 w 5644"/>
                  <a:gd name="csY0" fmla="*/ 21342 h 21341"/>
                  <a:gd name="csX1" fmla="*/ 0 w 5644"/>
                  <a:gd name="csY1" fmla="*/ 18519 h 21341"/>
                  <a:gd name="csX2" fmla="*/ 0 w 5644"/>
                  <a:gd name="csY2" fmla="*/ 2822 h 21341"/>
                  <a:gd name="csX3" fmla="*/ 2822 w 5644"/>
                  <a:gd name="csY3" fmla="*/ 0 h 21341"/>
                  <a:gd name="csX4" fmla="*/ 5644 w 5644"/>
                  <a:gd name="csY4" fmla="*/ 2822 h 21341"/>
                  <a:gd name="csX5" fmla="*/ 5644 w 5644"/>
                  <a:gd name="csY5" fmla="*/ 18519 h 21341"/>
                  <a:gd name="csX6" fmla="*/ 2822 w 5644"/>
                  <a:gd name="csY6" fmla="*/ 21342 h 21341"/>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5644" h="21341">
                    <a:moveTo>
                      <a:pt x="2822" y="21342"/>
                    </a:moveTo>
                    <a:cubicBezTo>
                      <a:pt x="1264" y="21342"/>
                      <a:pt x="0" y="20077"/>
                      <a:pt x="0" y="18519"/>
                    </a:cubicBezTo>
                    <a:lnTo>
                      <a:pt x="0" y="2822"/>
                    </a:lnTo>
                    <a:cubicBezTo>
                      <a:pt x="0" y="1264"/>
                      <a:pt x="1264" y="0"/>
                      <a:pt x="2822" y="0"/>
                    </a:cubicBezTo>
                    <a:cubicBezTo>
                      <a:pt x="4380" y="0"/>
                      <a:pt x="5644" y="1264"/>
                      <a:pt x="5644" y="2822"/>
                    </a:cubicBezTo>
                    <a:lnTo>
                      <a:pt x="5644" y="18519"/>
                    </a:lnTo>
                    <a:cubicBezTo>
                      <a:pt x="5644" y="20077"/>
                      <a:pt x="4380" y="21342"/>
                      <a:pt x="2822" y="21342"/>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8" name="Freeform: Shape 185">
                <a:extLst>
                  <a:ext uri="{FF2B5EF4-FFF2-40B4-BE49-F238E27FC236}">
                    <a16:creationId xmlns:a16="http://schemas.microsoft.com/office/drawing/2014/main" id="{64063E6F-60CC-672C-AA5A-EDF757D2C8AF}"/>
                  </a:ext>
                </a:extLst>
              </p:cNvPr>
              <p:cNvSpPr/>
              <p:nvPr/>
            </p:nvSpPr>
            <p:spPr>
              <a:xfrm>
                <a:off x="1114069" y="1933865"/>
                <a:ext cx="5644" cy="20579"/>
              </a:xfrm>
              <a:custGeom>
                <a:avLst/>
                <a:gdLst>
                  <a:gd name="csX0" fmla="*/ 2822 w 5644"/>
                  <a:gd name="csY0" fmla="*/ 20580 h 20579"/>
                  <a:gd name="csX1" fmla="*/ 0 w 5644"/>
                  <a:gd name="csY1" fmla="*/ 17757 h 20579"/>
                  <a:gd name="csX2" fmla="*/ 0 w 5644"/>
                  <a:gd name="csY2" fmla="*/ 2822 h 20579"/>
                  <a:gd name="csX3" fmla="*/ 2822 w 5644"/>
                  <a:gd name="csY3" fmla="*/ 0 h 20579"/>
                  <a:gd name="csX4" fmla="*/ 5644 w 5644"/>
                  <a:gd name="csY4" fmla="*/ 2822 h 20579"/>
                  <a:gd name="csX5" fmla="*/ 5644 w 5644"/>
                  <a:gd name="csY5" fmla="*/ 17757 h 20579"/>
                  <a:gd name="csX6" fmla="*/ 2822 w 5644"/>
                  <a:gd name="csY6" fmla="*/ 20580 h 2057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5644" h="20579">
                    <a:moveTo>
                      <a:pt x="2822" y="20580"/>
                    </a:moveTo>
                    <a:cubicBezTo>
                      <a:pt x="1264" y="20580"/>
                      <a:pt x="0" y="19315"/>
                      <a:pt x="0" y="17757"/>
                    </a:cubicBezTo>
                    <a:lnTo>
                      <a:pt x="0" y="2822"/>
                    </a:lnTo>
                    <a:cubicBezTo>
                      <a:pt x="0" y="1264"/>
                      <a:pt x="1264" y="0"/>
                      <a:pt x="2822" y="0"/>
                    </a:cubicBezTo>
                    <a:cubicBezTo>
                      <a:pt x="4380" y="0"/>
                      <a:pt x="5644" y="1264"/>
                      <a:pt x="5644" y="2822"/>
                    </a:cubicBezTo>
                    <a:lnTo>
                      <a:pt x="5644" y="17757"/>
                    </a:lnTo>
                    <a:cubicBezTo>
                      <a:pt x="5644" y="19315"/>
                      <a:pt x="4380" y="20580"/>
                      <a:pt x="2822" y="20580"/>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9" name="Freeform: Shape 186">
                <a:extLst>
                  <a:ext uri="{FF2B5EF4-FFF2-40B4-BE49-F238E27FC236}">
                    <a16:creationId xmlns:a16="http://schemas.microsoft.com/office/drawing/2014/main" id="{837D5C65-473D-3126-B960-3B373D0F8388}"/>
                  </a:ext>
                </a:extLst>
              </p:cNvPr>
              <p:cNvSpPr/>
              <p:nvPr/>
            </p:nvSpPr>
            <p:spPr>
              <a:xfrm>
                <a:off x="1066502" y="1902510"/>
                <a:ext cx="66859" cy="42959"/>
              </a:xfrm>
              <a:custGeom>
                <a:avLst/>
                <a:gdLst>
                  <a:gd name="csX0" fmla="*/ 33433 w 66859"/>
                  <a:gd name="csY0" fmla="*/ 42960 h 42959"/>
                  <a:gd name="csX1" fmla="*/ 33388 w 66859"/>
                  <a:gd name="csY1" fmla="*/ 42960 h 42959"/>
                  <a:gd name="csX2" fmla="*/ 1 w 66859"/>
                  <a:gd name="csY2" fmla="*/ 2879 h 42959"/>
                  <a:gd name="csX3" fmla="*/ 2761 w 66859"/>
                  <a:gd name="csY3" fmla="*/ 0 h 42959"/>
                  <a:gd name="csX4" fmla="*/ 2823 w 66859"/>
                  <a:gd name="csY4" fmla="*/ 0 h 42959"/>
                  <a:gd name="csX5" fmla="*/ 5645 w 66859"/>
                  <a:gd name="csY5" fmla="*/ 2760 h 42959"/>
                  <a:gd name="csX6" fmla="*/ 33399 w 66859"/>
                  <a:gd name="csY6" fmla="*/ 37315 h 42959"/>
                  <a:gd name="csX7" fmla="*/ 33433 w 66859"/>
                  <a:gd name="csY7" fmla="*/ 37315 h 42959"/>
                  <a:gd name="csX8" fmla="*/ 61215 w 66859"/>
                  <a:gd name="csY8" fmla="*/ 2941 h 42959"/>
                  <a:gd name="csX9" fmla="*/ 64105 w 66859"/>
                  <a:gd name="csY9" fmla="*/ 186 h 42959"/>
                  <a:gd name="csX10" fmla="*/ 66859 w 66859"/>
                  <a:gd name="csY10" fmla="*/ 3076 h 42959"/>
                  <a:gd name="csX11" fmla="*/ 33433 w 66859"/>
                  <a:gd name="csY11" fmla="*/ 42960 h 4295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66859" h="42959">
                    <a:moveTo>
                      <a:pt x="33433" y="42960"/>
                    </a:moveTo>
                    <a:cubicBezTo>
                      <a:pt x="33416" y="42960"/>
                      <a:pt x="33404" y="42960"/>
                      <a:pt x="33388" y="42960"/>
                    </a:cubicBezTo>
                    <a:cubicBezTo>
                      <a:pt x="17713" y="42937"/>
                      <a:pt x="582" y="30384"/>
                      <a:pt x="1" y="2879"/>
                    </a:cubicBezTo>
                    <a:cubicBezTo>
                      <a:pt x="-33" y="1321"/>
                      <a:pt x="1203" y="28"/>
                      <a:pt x="2761" y="0"/>
                    </a:cubicBezTo>
                    <a:lnTo>
                      <a:pt x="2823" y="0"/>
                    </a:lnTo>
                    <a:cubicBezTo>
                      <a:pt x="4353" y="0"/>
                      <a:pt x="5611" y="1225"/>
                      <a:pt x="5645" y="2760"/>
                    </a:cubicBezTo>
                    <a:cubicBezTo>
                      <a:pt x="6147" y="26472"/>
                      <a:pt x="20383" y="37298"/>
                      <a:pt x="33399" y="37315"/>
                    </a:cubicBezTo>
                    <a:lnTo>
                      <a:pt x="33433" y="37315"/>
                    </a:lnTo>
                    <a:cubicBezTo>
                      <a:pt x="46421" y="37315"/>
                      <a:pt x="60645" y="26568"/>
                      <a:pt x="61215" y="2941"/>
                    </a:cubicBezTo>
                    <a:cubicBezTo>
                      <a:pt x="61254" y="1383"/>
                      <a:pt x="62530" y="152"/>
                      <a:pt x="64105" y="186"/>
                    </a:cubicBezTo>
                    <a:cubicBezTo>
                      <a:pt x="65662" y="226"/>
                      <a:pt x="66893" y="1518"/>
                      <a:pt x="66859" y="3076"/>
                    </a:cubicBezTo>
                    <a:cubicBezTo>
                      <a:pt x="66199" y="30486"/>
                      <a:pt x="49073" y="42960"/>
                      <a:pt x="33433" y="42960"/>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0" name="Freeform: Shape 187">
                <a:extLst>
                  <a:ext uri="{FF2B5EF4-FFF2-40B4-BE49-F238E27FC236}">
                    <a16:creationId xmlns:a16="http://schemas.microsoft.com/office/drawing/2014/main" id="{E9D2E421-0F6F-AB10-0418-025CA8C3AD96}"/>
                  </a:ext>
                </a:extLst>
              </p:cNvPr>
              <p:cNvSpPr/>
              <p:nvPr/>
            </p:nvSpPr>
            <p:spPr>
              <a:xfrm>
                <a:off x="1059653" y="1844784"/>
                <a:ext cx="79658" cy="63647"/>
              </a:xfrm>
              <a:custGeom>
                <a:avLst/>
                <a:gdLst>
                  <a:gd name="csX0" fmla="*/ 70886 w 79658"/>
                  <a:gd name="csY0" fmla="*/ 63648 h 63647"/>
                  <a:gd name="csX1" fmla="*/ 70231 w 79658"/>
                  <a:gd name="csY1" fmla="*/ 63569 h 63647"/>
                  <a:gd name="csX2" fmla="*/ 68064 w 79658"/>
                  <a:gd name="csY2" fmla="*/ 60905 h 63647"/>
                  <a:gd name="csX3" fmla="*/ 62058 w 79658"/>
                  <a:gd name="csY3" fmla="*/ 36605 h 63647"/>
                  <a:gd name="csX4" fmla="*/ 26673 w 79658"/>
                  <a:gd name="csY4" fmla="*/ 37424 h 63647"/>
                  <a:gd name="csX5" fmla="*/ 18235 w 79658"/>
                  <a:gd name="csY5" fmla="*/ 35838 h 63647"/>
                  <a:gd name="csX6" fmla="*/ 12212 w 79658"/>
                  <a:gd name="csY6" fmla="*/ 61779 h 63647"/>
                  <a:gd name="csX7" fmla="*/ 9921 w 79658"/>
                  <a:gd name="csY7" fmla="*/ 63360 h 63647"/>
                  <a:gd name="csX8" fmla="*/ 7392 w 79658"/>
                  <a:gd name="csY8" fmla="*/ 62203 h 63647"/>
                  <a:gd name="csX9" fmla="*/ 5507 w 79658"/>
                  <a:gd name="csY9" fmla="*/ 22692 h 63647"/>
                  <a:gd name="csX10" fmla="*/ 50165 w 79658"/>
                  <a:gd name="csY10" fmla="*/ 419 h 63647"/>
                  <a:gd name="csX11" fmla="*/ 71891 w 79658"/>
                  <a:gd name="csY11" fmla="*/ 21608 h 63647"/>
                  <a:gd name="csX12" fmla="*/ 73370 w 79658"/>
                  <a:gd name="csY12" fmla="*/ 62169 h 63647"/>
                  <a:gd name="csX13" fmla="*/ 70886 w 79658"/>
                  <a:gd name="csY13" fmla="*/ 63648 h 63647"/>
                  <a:gd name="csX14" fmla="*/ 44950 w 79658"/>
                  <a:gd name="csY14" fmla="*/ 5645 h 63647"/>
                  <a:gd name="csX15" fmla="*/ 10304 w 79658"/>
                  <a:gd name="csY15" fmla="*/ 25661 h 63647"/>
                  <a:gd name="csX16" fmla="*/ 9125 w 79658"/>
                  <a:gd name="csY16" fmla="*/ 54329 h 63647"/>
                  <a:gd name="csX17" fmla="*/ 12585 w 79658"/>
                  <a:gd name="csY17" fmla="*/ 34878 h 63647"/>
                  <a:gd name="csX18" fmla="*/ 13042 w 79658"/>
                  <a:gd name="csY18" fmla="*/ 33286 h 63647"/>
                  <a:gd name="csX19" fmla="*/ 28666 w 79658"/>
                  <a:gd name="csY19" fmla="*/ 32140 h 63647"/>
                  <a:gd name="csX20" fmla="*/ 60924 w 79658"/>
                  <a:gd name="csY20" fmla="*/ 30707 h 63647"/>
                  <a:gd name="csX21" fmla="*/ 63802 w 79658"/>
                  <a:gd name="csY21" fmla="*/ 30628 h 63647"/>
                  <a:gd name="csX22" fmla="*/ 72557 w 79658"/>
                  <a:gd name="csY22" fmla="*/ 48718 h 63647"/>
                  <a:gd name="csX23" fmla="*/ 67725 w 79658"/>
                  <a:gd name="csY23" fmla="*/ 25536 h 63647"/>
                  <a:gd name="csX24" fmla="*/ 66625 w 79658"/>
                  <a:gd name="csY24" fmla="*/ 23877 h 63647"/>
                  <a:gd name="csX25" fmla="*/ 49228 w 79658"/>
                  <a:gd name="csY25" fmla="*/ 5984 h 63647"/>
                  <a:gd name="csX26" fmla="*/ 44950 w 79658"/>
                  <a:gd name="csY26" fmla="*/ 5645 h 6364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Lst>
                <a:rect l="l" t="t" r="r" b="b"/>
                <a:pathLst>
                  <a:path w="79658" h="63647">
                    <a:moveTo>
                      <a:pt x="70886" y="63648"/>
                    </a:moveTo>
                    <a:cubicBezTo>
                      <a:pt x="70672" y="63648"/>
                      <a:pt x="70452" y="63625"/>
                      <a:pt x="70231" y="63569"/>
                    </a:cubicBezTo>
                    <a:cubicBezTo>
                      <a:pt x="68990" y="63275"/>
                      <a:pt x="68103" y="62180"/>
                      <a:pt x="68064" y="60905"/>
                    </a:cubicBezTo>
                    <a:cubicBezTo>
                      <a:pt x="67601" y="45343"/>
                      <a:pt x="63932" y="38897"/>
                      <a:pt x="62058" y="36605"/>
                    </a:cubicBezTo>
                    <a:cubicBezTo>
                      <a:pt x="47021" y="45117"/>
                      <a:pt x="34841" y="40511"/>
                      <a:pt x="26673" y="37424"/>
                    </a:cubicBezTo>
                    <a:cubicBezTo>
                      <a:pt x="21418" y="35437"/>
                      <a:pt x="19375" y="34884"/>
                      <a:pt x="18235" y="35838"/>
                    </a:cubicBezTo>
                    <a:cubicBezTo>
                      <a:pt x="18167" y="49362"/>
                      <a:pt x="12461" y="61266"/>
                      <a:pt x="12212" y="61779"/>
                    </a:cubicBezTo>
                    <a:cubicBezTo>
                      <a:pt x="11778" y="62671"/>
                      <a:pt x="10908" y="63270"/>
                      <a:pt x="9921" y="63360"/>
                    </a:cubicBezTo>
                    <a:cubicBezTo>
                      <a:pt x="8933" y="63445"/>
                      <a:pt x="7973" y="63010"/>
                      <a:pt x="7392" y="62203"/>
                    </a:cubicBezTo>
                    <a:cubicBezTo>
                      <a:pt x="-1769" y="49570"/>
                      <a:pt x="-2435" y="35538"/>
                      <a:pt x="5507" y="22692"/>
                    </a:cubicBezTo>
                    <a:cubicBezTo>
                      <a:pt x="14842" y="7598"/>
                      <a:pt x="34463" y="-2183"/>
                      <a:pt x="50165" y="419"/>
                    </a:cubicBezTo>
                    <a:cubicBezTo>
                      <a:pt x="61178" y="2247"/>
                      <a:pt x="68860" y="9755"/>
                      <a:pt x="71891" y="21608"/>
                    </a:cubicBezTo>
                    <a:cubicBezTo>
                      <a:pt x="88113" y="34528"/>
                      <a:pt x="73991" y="61029"/>
                      <a:pt x="73370" y="62169"/>
                    </a:cubicBezTo>
                    <a:cubicBezTo>
                      <a:pt x="72862" y="63095"/>
                      <a:pt x="71902" y="63648"/>
                      <a:pt x="70886" y="63648"/>
                    </a:cubicBezTo>
                    <a:close/>
                    <a:moveTo>
                      <a:pt x="44950" y="5645"/>
                    </a:moveTo>
                    <a:cubicBezTo>
                      <a:pt x="32323" y="5645"/>
                      <a:pt x="17546" y="13948"/>
                      <a:pt x="10304" y="25661"/>
                    </a:cubicBezTo>
                    <a:cubicBezTo>
                      <a:pt x="4581" y="34918"/>
                      <a:pt x="4208" y="44931"/>
                      <a:pt x="9125" y="54329"/>
                    </a:cubicBezTo>
                    <a:cubicBezTo>
                      <a:pt x="10733" y="49717"/>
                      <a:pt x="12720" y="42447"/>
                      <a:pt x="12585" y="34878"/>
                    </a:cubicBezTo>
                    <a:cubicBezTo>
                      <a:pt x="12573" y="34314"/>
                      <a:pt x="12737" y="33760"/>
                      <a:pt x="13042" y="33286"/>
                    </a:cubicBezTo>
                    <a:cubicBezTo>
                      <a:pt x="16739" y="27631"/>
                      <a:pt x="22801" y="29922"/>
                      <a:pt x="28666" y="32140"/>
                    </a:cubicBezTo>
                    <a:cubicBezTo>
                      <a:pt x="37014" y="35296"/>
                      <a:pt x="47400" y="39219"/>
                      <a:pt x="60924" y="30707"/>
                    </a:cubicBezTo>
                    <a:cubicBezTo>
                      <a:pt x="61799" y="30159"/>
                      <a:pt x="62899" y="30125"/>
                      <a:pt x="63802" y="30628"/>
                    </a:cubicBezTo>
                    <a:cubicBezTo>
                      <a:pt x="64559" y="31051"/>
                      <a:pt x="70079" y="34579"/>
                      <a:pt x="72557" y="48718"/>
                    </a:cubicBezTo>
                    <a:cubicBezTo>
                      <a:pt x="74645" y="40997"/>
                      <a:pt x="75345" y="31028"/>
                      <a:pt x="67725" y="25536"/>
                    </a:cubicBezTo>
                    <a:cubicBezTo>
                      <a:pt x="67166" y="25136"/>
                      <a:pt x="66777" y="24543"/>
                      <a:pt x="66625" y="23877"/>
                    </a:cubicBezTo>
                    <a:cubicBezTo>
                      <a:pt x="64288" y="13672"/>
                      <a:pt x="58276" y="7485"/>
                      <a:pt x="49228" y="5984"/>
                    </a:cubicBezTo>
                    <a:cubicBezTo>
                      <a:pt x="47846" y="5758"/>
                      <a:pt x="46412" y="5645"/>
                      <a:pt x="44950" y="5645"/>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1" name="Freeform: Shape 188">
                <a:extLst>
                  <a:ext uri="{FF2B5EF4-FFF2-40B4-BE49-F238E27FC236}">
                    <a16:creationId xmlns:a16="http://schemas.microsoft.com/office/drawing/2014/main" id="{CF4423A0-346E-04D6-FF2E-D0A30C2F0847}"/>
                  </a:ext>
                </a:extLst>
              </p:cNvPr>
              <p:cNvSpPr/>
              <p:nvPr/>
            </p:nvSpPr>
            <p:spPr>
              <a:xfrm>
                <a:off x="1134999" y="1992804"/>
                <a:ext cx="5644" cy="42519"/>
              </a:xfrm>
              <a:custGeom>
                <a:avLst/>
                <a:gdLst>
                  <a:gd name="csX0" fmla="*/ 2822 w 5644"/>
                  <a:gd name="csY0" fmla="*/ 42520 h 42519"/>
                  <a:gd name="csX1" fmla="*/ 0 w 5644"/>
                  <a:gd name="csY1" fmla="*/ 39697 h 42519"/>
                  <a:gd name="csX2" fmla="*/ 0 w 5644"/>
                  <a:gd name="csY2" fmla="*/ 2822 h 42519"/>
                  <a:gd name="csX3" fmla="*/ 2822 w 5644"/>
                  <a:gd name="csY3" fmla="*/ 0 h 42519"/>
                  <a:gd name="csX4" fmla="*/ 5644 w 5644"/>
                  <a:gd name="csY4" fmla="*/ 2822 h 42519"/>
                  <a:gd name="csX5" fmla="*/ 5644 w 5644"/>
                  <a:gd name="csY5" fmla="*/ 39697 h 42519"/>
                  <a:gd name="csX6" fmla="*/ 2822 w 5644"/>
                  <a:gd name="csY6" fmla="*/ 42520 h 42519"/>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5644" h="42519">
                    <a:moveTo>
                      <a:pt x="2822" y="42520"/>
                    </a:moveTo>
                    <a:cubicBezTo>
                      <a:pt x="1264" y="42520"/>
                      <a:pt x="0" y="41255"/>
                      <a:pt x="0" y="39697"/>
                    </a:cubicBezTo>
                    <a:lnTo>
                      <a:pt x="0" y="2822"/>
                    </a:lnTo>
                    <a:cubicBezTo>
                      <a:pt x="0" y="1264"/>
                      <a:pt x="1264" y="0"/>
                      <a:pt x="2822" y="0"/>
                    </a:cubicBezTo>
                    <a:cubicBezTo>
                      <a:pt x="4380" y="0"/>
                      <a:pt x="5644" y="1264"/>
                      <a:pt x="5644" y="2822"/>
                    </a:cubicBezTo>
                    <a:lnTo>
                      <a:pt x="5644" y="39697"/>
                    </a:lnTo>
                    <a:cubicBezTo>
                      <a:pt x="5644" y="41261"/>
                      <a:pt x="4380" y="42520"/>
                      <a:pt x="2822" y="42520"/>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2" name="Freeform: Shape 189">
                <a:extLst>
                  <a:ext uri="{FF2B5EF4-FFF2-40B4-BE49-F238E27FC236}">
                    <a16:creationId xmlns:a16="http://schemas.microsoft.com/office/drawing/2014/main" id="{ACF74BFB-F6DF-C26C-A1BE-E93454BCB15B}"/>
                  </a:ext>
                </a:extLst>
              </p:cNvPr>
              <p:cNvSpPr/>
              <p:nvPr/>
            </p:nvSpPr>
            <p:spPr>
              <a:xfrm>
                <a:off x="1068424" y="1948796"/>
                <a:ext cx="33880" cy="25782"/>
              </a:xfrm>
              <a:custGeom>
                <a:avLst/>
                <a:gdLst>
                  <a:gd name="csX0" fmla="*/ 31054 w 33880"/>
                  <a:gd name="csY0" fmla="*/ 25782 h 25782"/>
                  <a:gd name="csX1" fmla="*/ 30902 w 33880"/>
                  <a:gd name="csY1" fmla="*/ 25777 h 25782"/>
                  <a:gd name="csX2" fmla="*/ 8567 w 33880"/>
                  <a:gd name="csY2" fmla="*/ 24574 h 25782"/>
                  <a:gd name="csX3" fmla="*/ 6027 w 33880"/>
                  <a:gd name="csY3" fmla="*/ 22593 h 25782"/>
                  <a:gd name="csX4" fmla="*/ 128 w 33880"/>
                  <a:gd name="csY4" fmla="*/ 3662 h 25782"/>
                  <a:gd name="csX5" fmla="*/ 1985 w 33880"/>
                  <a:gd name="csY5" fmla="*/ 128 h 25782"/>
                  <a:gd name="csX6" fmla="*/ 5519 w 33880"/>
                  <a:gd name="csY6" fmla="*/ 1985 h 25782"/>
                  <a:gd name="csX7" fmla="*/ 10836 w 33880"/>
                  <a:gd name="csY7" fmla="*/ 19043 h 25782"/>
                  <a:gd name="csX8" fmla="*/ 31212 w 33880"/>
                  <a:gd name="csY8" fmla="*/ 20138 h 25782"/>
                  <a:gd name="csX9" fmla="*/ 33876 w 33880"/>
                  <a:gd name="csY9" fmla="*/ 23107 h 25782"/>
                  <a:gd name="csX10" fmla="*/ 31054 w 33880"/>
                  <a:gd name="csY10" fmla="*/ 25782 h 2578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33880" h="25782">
                    <a:moveTo>
                      <a:pt x="31054" y="25782"/>
                    </a:moveTo>
                    <a:cubicBezTo>
                      <a:pt x="31003" y="25782"/>
                      <a:pt x="30952" y="25782"/>
                      <a:pt x="30902" y="25777"/>
                    </a:cubicBezTo>
                    <a:lnTo>
                      <a:pt x="8567" y="24574"/>
                    </a:lnTo>
                    <a:cubicBezTo>
                      <a:pt x="7387" y="24512"/>
                      <a:pt x="6377" y="23722"/>
                      <a:pt x="6027" y="22593"/>
                    </a:cubicBezTo>
                    <a:lnTo>
                      <a:pt x="128" y="3662"/>
                    </a:lnTo>
                    <a:cubicBezTo>
                      <a:pt x="-335" y="2171"/>
                      <a:pt x="495" y="591"/>
                      <a:pt x="1985" y="128"/>
                    </a:cubicBezTo>
                    <a:cubicBezTo>
                      <a:pt x="3470" y="-335"/>
                      <a:pt x="5056" y="495"/>
                      <a:pt x="5519" y="1985"/>
                    </a:cubicBezTo>
                    <a:lnTo>
                      <a:pt x="10836" y="19043"/>
                    </a:lnTo>
                    <a:lnTo>
                      <a:pt x="31212" y="20138"/>
                    </a:lnTo>
                    <a:cubicBezTo>
                      <a:pt x="32770" y="20222"/>
                      <a:pt x="33961" y="21549"/>
                      <a:pt x="33876" y="23107"/>
                    </a:cubicBezTo>
                    <a:cubicBezTo>
                      <a:pt x="33792" y="24619"/>
                      <a:pt x="32544" y="25782"/>
                      <a:pt x="31054" y="25782"/>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3" name="Freeform: Shape 190">
                <a:extLst>
                  <a:ext uri="{FF2B5EF4-FFF2-40B4-BE49-F238E27FC236}">
                    <a16:creationId xmlns:a16="http://schemas.microsoft.com/office/drawing/2014/main" id="{100647E8-5A68-53EC-20A1-EDEB63AF51E5}"/>
                  </a:ext>
                </a:extLst>
              </p:cNvPr>
              <p:cNvSpPr/>
              <p:nvPr/>
            </p:nvSpPr>
            <p:spPr>
              <a:xfrm>
                <a:off x="1096652" y="1948804"/>
                <a:ext cx="33880" cy="25774"/>
              </a:xfrm>
              <a:custGeom>
                <a:avLst/>
                <a:gdLst>
                  <a:gd name="csX0" fmla="*/ 2821 w 33880"/>
                  <a:gd name="csY0" fmla="*/ 25774 h 25774"/>
                  <a:gd name="csX1" fmla="*/ 4 w 33880"/>
                  <a:gd name="csY1" fmla="*/ 23105 h 25774"/>
                  <a:gd name="csX2" fmla="*/ 2668 w 33880"/>
                  <a:gd name="csY2" fmla="*/ 20136 h 25774"/>
                  <a:gd name="csX3" fmla="*/ 23045 w 33880"/>
                  <a:gd name="csY3" fmla="*/ 19041 h 25774"/>
                  <a:gd name="csX4" fmla="*/ 28362 w 33880"/>
                  <a:gd name="csY4" fmla="*/ 1983 h 25774"/>
                  <a:gd name="csX5" fmla="*/ 31895 w 33880"/>
                  <a:gd name="csY5" fmla="*/ 126 h 25774"/>
                  <a:gd name="csX6" fmla="*/ 33752 w 33880"/>
                  <a:gd name="csY6" fmla="*/ 3660 h 25774"/>
                  <a:gd name="csX7" fmla="*/ 27854 w 33880"/>
                  <a:gd name="csY7" fmla="*/ 22591 h 25774"/>
                  <a:gd name="csX8" fmla="*/ 25314 w 33880"/>
                  <a:gd name="csY8" fmla="*/ 24572 h 25774"/>
                  <a:gd name="csX9" fmla="*/ 2979 w 33880"/>
                  <a:gd name="csY9" fmla="*/ 25774 h 25774"/>
                  <a:gd name="csX10" fmla="*/ 2821 w 33880"/>
                  <a:gd name="csY10" fmla="*/ 25774 h 2577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33880" h="25774">
                    <a:moveTo>
                      <a:pt x="2821" y="25774"/>
                    </a:moveTo>
                    <a:cubicBezTo>
                      <a:pt x="1331" y="25774"/>
                      <a:pt x="83" y="24606"/>
                      <a:pt x="4" y="23105"/>
                    </a:cubicBezTo>
                    <a:cubicBezTo>
                      <a:pt x="-80" y="21547"/>
                      <a:pt x="1116" y="20220"/>
                      <a:pt x="2668" y="20136"/>
                    </a:cubicBezTo>
                    <a:lnTo>
                      <a:pt x="23045" y="19041"/>
                    </a:lnTo>
                    <a:lnTo>
                      <a:pt x="28362" y="1983"/>
                    </a:lnTo>
                    <a:cubicBezTo>
                      <a:pt x="28825" y="493"/>
                      <a:pt x="30411" y="-331"/>
                      <a:pt x="31895" y="126"/>
                    </a:cubicBezTo>
                    <a:cubicBezTo>
                      <a:pt x="33385" y="589"/>
                      <a:pt x="34215" y="2169"/>
                      <a:pt x="33752" y="3660"/>
                    </a:cubicBezTo>
                    <a:lnTo>
                      <a:pt x="27854" y="22591"/>
                    </a:lnTo>
                    <a:cubicBezTo>
                      <a:pt x="27504" y="23720"/>
                      <a:pt x="26488" y="24504"/>
                      <a:pt x="25314" y="24572"/>
                    </a:cubicBezTo>
                    <a:lnTo>
                      <a:pt x="2979" y="25774"/>
                    </a:lnTo>
                    <a:cubicBezTo>
                      <a:pt x="2922" y="25774"/>
                      <a:pt x="2872" y="25774"/>
                      <a:pt x="2821" y="25774"/>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4" name="Freeform: Shape 191">
                <a:extLst>
                  <a:ext uri="{FF2B5EF4-FFF2-40B4-BE49-F238E27FC236}">
                    <a16:creationId xmlns:a16="http://schemas.microsoft.com/office/drawing/2014/main" id="{0ED31407-6B0F-DC4D-810D-5749B610103C}"/>
                  </a:ext>
                </a:extLst>
              </p:cNvPr>
              <p:cNvSpPr/>
              <p:nvPr/>
            </p:nvSpPr>
            <p:spPr>
              <a:xfrm>
                <a:off x="1073808" y="1988981"/>
                <a:ext cx="34383" cy="22659"/>
              </a:xfrm>
              <a:custGeom>
                <a:avLst/>
                <a:gdLst>
                  <a:gd name="csX0" fmla="*/ 6394 w 34383"/>
                  <a:gd name="csY0" fmla="*/ 22659 h 22659"/>
                  <a:gd name="csX1" fmla="*/ 3950 w 34383"/>
                  <a:gd name="csY1" fmla="*/ 21248 h 22659"/>
                  <a:gd name="csX2" fmla="*/ 377 w 34383"/>
                  <a:gd name="csY2" fmla="*/ 15062 h 22659"/>
                  <a:gd name="csX3" fmla="*/ 95 w 34383"/>
                  <a:gd name="csY3" fmla="*/ 12923 h 22659"/>
                  <a:gd name="csX4" fmla="*/ 1410 w 34383"/>
                  <a:gd name="csY4" fmla="*/ 11207 h 22659"/>
                  <a:gd name="csX5" fmla="*/ 18332 w 34383"/>
                  <a:gd name="csY5" fmla="*/ 1436 h 22659"/>
                  <a:gd name="csX6" fmla="*/ 26454 w 34383"/>
                  <a:gd name="csY6" fmla="*/ 369 h 22659"/>
                  <a:gd name="csX7" fmla="*/ 32951 w 34383"/>
                  <a:gd name="csY7" fmla="*/ 5353 h 22659"/>
                  <a:gd name="csX8" fmla="*/ 29034 w 34383"/>
                  <a:gd name="csY8" fmla="*/ 19973 h 22659"/>
                  <a:gd name="csX9" fmla="*/ 15634 w 34383"/>
                  <a:gd name="csY9" fmla="*/ 17760 h 22659"/>
                  <a:gd name="csX10" fmla="*/ 7805 w 34383"/>
                  <a:gd name="csY10" fmla="*/ 22281 h 22659"/>
                  <a:gd name="csX11" fmla="*/ 6394 w 34383"/>
                  <a:gd name="csY11" fmla="*/ 22659 h 22659"/>
                  <a:gd name="csX12" fmla="*/ 6676 w 34383"/>
                  <a:gd name="csY12" fmla="*/ 14684 h 22659"/>
                  <a:gd name="csX13" fmla="*/ 7427 w 34383"/>
                  <a:gd name="csY13" fmla="*/ 15982 h 22659"/>
                  <a:gd name="csX14" fmla="*/ 15109 w 34383"/>
                  <a:gd name="csY14" fmla="*/ 11545 h 22659"/>
                  <a:gd name="csX15" fmla="*/ 17373 w 34383"/>
                  <a:gd name="csY15" fmla="*/ 11297 h 22659"/>
                  <a:gd name="csX16" fmla="*/ 19083 w 34383"/>
                  <a:gd name="csY16" fmla="*/ 12804 h 22659"/>
                  <a:gd name="csX17" fmla="*/ 19303 w 34383"/>
                  <a:gd name="csY17" fmla="*/ 13227 h 22659"/>
                  <a:gd name="csX18" fmla="*/ 26212 w 34383"/>
                  <a:gd name="csY18" fmla="*/ 15079 h 22659"/>
                  <a:gd name="csX19" fmla="*/ 28063 w 34383"/>
                  <a:gd name="csY19" fmla="*/ 8170 h 22659"/>
                  <a:gd name="csX20" fmla="*/ 24993 w 34383"/>
                  <a:gd name="csY20" fmla="*/ 5816 h 22659"/>
                  <a:gd name="csX21" fmla="*/ 21154 w 34383"/>
                  <a:gd name="csY21" fmla="*/ 6319 h 2265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Lst>
                <a:rect l="l" t="t" r="r" b="b"/>
                <a:pathLst>
                  <a:path w="34383" h="22659">
                    <a:moveTo>
                      <a:pt x="6394" y="22659"/>
                    </a:moveTo>
                    <a:cubicBezTo>
                      <a:pt x="5418" y="22659"/>
                      <a:pt x="4469" y="22151"/>
                      <a:pt x="3950" y="21248"/>
                    </a:cubicBezTo>
                    <a:lnTo>
                      <a:pt x="377" y="15062"/>
                    </a:lnTo>
                    <a:cubicBezTo>
                      <a:pt x="5" y="14413"/>
                      <a:pt x="-97" y="13645"/>
                      <a:pt x="95" y="12923"/>
                    </a:cubicBezTo>
                    <a:cubicBezTo>
                      <a:pt x="287" y="12200"/>
                      <a:pt x="761" y="11585"/>
                      <a:pt x="1410" y="11207"/>
                    </a:cubicBezTo>
                    <a:lnTo>
                      <a:pt x="18332" y="1436"/>
                    </a:lnTo>
                    <a:cubicBezTo>
                      <a:pt x="20810" y="8"/>
                      <a:pt x="23694" y="-370"/>
                      <a:pt x="26454" y="369"/>
                    </a:cubicBezTo>
                    <a:cubicBezTo>
                      <a:pt x="29215" y="1109"/>
                      <a:pt x="31523" y="2881"/>
                      <a:pt x="32951" y="5353"/>
                    </a:cubicBezTo>
                    <a:cubicBezTo>
                      <a:pt x="35903" y="10462"/>
                      <a:pt x="34142" y="17021"/>
                      <a:pt x="29034" y="19973"/>
                    </a:cubicBezTo>
                    <a:cubicBezTo>
                      <a:pt x="24541" y="22563"/>
                      <a:pt x="18930" y="21525"/>
                      <a:pt x="15634" y="17760"/>
                    </a:cubicBezTo>
                    <a:lnTo>
                      <a:pt x="7805" y="22281"/>
                    </a:lnTo>
                    <a:cubicBezTo>
                      <a:pt x="7359" y="22541"/>
                      <a:pt x="6874" y="22659"/>
                      <a:pt x="6394" y="22659"/>
                    </a:cubicBezTo>
                    <a:close/>
                    <a:moveTo>
                      <a:pt x="6676" y="14684"/>
                    </a:moveTo>
                    <a:lnTo>
                      <a:pt x="7427" y="15982"/>
                    </a:lnTo>
                    <a:lnTo>
                      <a:pt x="15109" y="11545"/>
                    </a:lnTo>
                    <a:cubicBezTo>
                      <a:pt x="15798" y="11150"/>
                      <a:pt x="16616" y="11060"/>
                      <a:pt x="17373" y="11297"/>
                    </a:cubicBezTo>
                    <a:cubicBezTo>
                      <a:pt x="18129" y="11540"/>
                      <a:pt x="18750" y="12082"/>
                      <a:pt x="19083" y="12804"/>
                    </a:cubicBezTo>
                    <a:cubicBezTo>
                      <a:pt x="19151" y="12945"/>
                      <a:pt x="19224" y="13086"/>
                      <a:pt x="19303" y="13227"/>
                    </a:cubicBezTo>
                    <a:cubicBezTo>
                      <a:pt x="20697" y="15643"/>
                      <a:pt x="23796" y="16473"/>
                      <a:pt x="26212" y="15079"/>
                    </a:cubicBezTo>
                    <a:cubicBezTo>
                      <a:pt x="28628" y="13685"/>
                      <a:pt x="29457" y="10586"/>
                      <a:pt x="28063" y="8170"/>
                    </a:cubicBezTo>
                    <a:cubicBezTo>
                      <a:pt x="27386" y="7002"/>
                      <a:pt x="26296" y="6166"/>
                      <a:pt x="24993" y="5816"/>
                    </a:cubicBezTo>
                    <a:cubicBezTo>
                      <a:pt x="23689" y="5466"/>
                      <a:pt x="22328" y="5647"/>
                      <a:pt x="21154" y="6319"/>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5" name="Freeform: Shape 192">
                <a:extLst>
                  <a:ext uri="{FF2B5EF4-FFF2-40B4-BE49-F238E27FC236}">
                    <a16:creationId xmlns:a16="http://schemas.microsoft.com/office/drawing/2014/main" id="{A480717B-4D47-2C7F-F791-B66770218062}"/>
                  </a:ext>
                </a:extLst>
              </p:cNvPr>
              <p:cNvSpPr/>
              <p:nvPr/>
            </p:nvSpPr>
            <p:spPr>
              <a:xfrm>
                <a:off x="1096656" y="1968934"/>
                <a:ext cx="5644" cy="25953"/>
              </a:xfrm>
              <a:custGeom>
                <a:avLst/>
                <a:gdLst>
                  <a:gd name="csX0" fmla="*/ 2822 w 5644"/>
                  <a:gd name="csY0" fmla="*/ 25953 h 25953"/>
                  <a:gd name="csX1" fmla="*/ 0 w 5644"/>
                  <a:gd name="csY1" fmla="*/ 23131 h 25953"/>
                  <a:gd name="csX2" fmla="*/ 0 w 5644"/>
                  <a:gd name="csY2" fmla="*/ 2822 h 25953"/>
                  <a:gd name="csX3" fmla="*/ 2822 w 5644"/>
                  <a:gd name="csY3" fmla="*/ 0 h 25953"/>
                  <a:gd name="csX4" fmla="*/ 5644 w 5644"/>
                  <a:gd name="csY4" fmla="*/ 2822 h 25953"/>
                  <a:gd name="csX5" fmla="*/ 5644 w 5644"/>
                  <a:gd name="csY5" fmla="*/ 23131 h 25953"/>
                  <a:gd name="csX6" fmla="*/ 2822 w 5644"/>
                  <a:gd name="csY6" fmla="*/ 25953 h 25953"/>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5644" h="25953">
                    <a:moveTo>
                      <a:pt x="2822" y="25953"/>
                    </a:moveTo>
                    <a:cubicBezTo>
                      <a:pt x="1264" y="25953"/>
                      <a:pt x="0" y="24689"/>
                      <a:pt x="0" y="23131"/>
                    </a:cubicBezTo>
                    <a:lnTo>
                      <a:pt x="0" y="2822"/>
                    </a:lnTo>
                    <a:cubicBezTo>
                      <a:pt x="0" y="1264"/>
                      <a:pt x="1264" y="0"/>
                      <a:pt x="2822" y="0"/>
                    </a:cubicBezTo>
                    <a:cubicBezTo>
                      <a:pt x="4380" y="0"/>
                      <a:pt x="5644" y="1264"/>
                      <a:pt x="5644" y="2822"/>
                    </a:cubicBezTo>
                    <a:lnTo>
                      <a:pt x="5644" y="23131"/>
                    </a:lnTo>
                    <a:cubicBezTo>
                      <a:pt x="5644" y="24689"/>
                      <a:pt x="4380" y="25953"/>
                      <a:pt x="2822" y="25953"/>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6" name="Freeform: Shape 193">
                <a:extLst>
                  <a:ext uri="{FF2B5EF4-FFF2-40B4-BE49-F238E27FC236}">
                    <a16:creationId xmlns:a16="http://schemas.microsoft.com/office/drawing/2014/main" id="{F75678BE-DBEE-2BC5-4565-61C5F8FC8D3D}"/>
                  </a:ext>
                </a:extLst>
              </p:cNvPr>
              <p:cNvSpPr/>
              <p:nvPr/>
            </p:nvSpPr>
            <p:spPr>
              <a:xfrm>
                <a:off x="962685" y="1819317"/>
                <a:ext cx="89306" cy="116760"/>
              </a:xfrm>
              <a:custGeom>
                <a:avLst/>
                <a:gdLst>
                  <a:gd name="csX0" fmla="*/ 59588 w 89306"/>
                  <a:gd name="csY0" fmla="*/ 116761 h 116760"/>
                  <a:gd name="csX1" fmla="*/ 56766 w 89306"/>
                  <a:gd name="csY1" fmla="*/ 113939 h 116760"/>
                  <a:gd name="csX2" fmla="*/ 74095 w 89306"/>
                  <a:gd name="csY2" fmla="*/ 65255 h 116760"/>
                  <a:gd name="csX3" fmla="*/ 83662 w 89306"/>
                  <a:gd name="csY3" fmla="*/ 44653 h 116760"/>
                  <a:gd name="csX4" fmla="*/ 44653 w 89306"/>
                  <a:gd name="csY4" fmla="*/ 5644 h 116760"/>
                  <a:gd name="csX5" fmla="*/ 5644 w 89306"/>
                  <a:gd name="csY5" fmla="*/ 44653 h 116760"/>
                  <a:gd name="csX6" fmla="*/ 15212 w 89306"/>
                  <a:gd name="csY6" fmla="*/ 65255 h 116760"/>
                  <a:gd name="csX7" fmla="*/ 32540 w 89306"/>
                  <a:gd name="csY7" fmla="*/ 113939 h 116760"/>
                  <a:gd name="csX8" fmla="*/ 29718 w 89306"/>
                  <a:gd name="csY8" fmla="*/ 116761 h 116760"/>
                  <a:gd name="csX9" fmla="*/ 26896 w 89306"/>
                  <a:gd name="csY9" fmla="*/ 113939 h 116760"/>
                  <a:gd name="csX10" fmla="*/ 10866 w 89306"/>
                  <a:gd name="csY10" fmla="*/ 68851 h 116760"/>
                  <a:gd name="csX11" fmla="*/ 0 w 89306"/>
                  <a:gd name="csY11" fmla="*/ 44653 h 116760"/>
                  <a:gd name="csX12" fmla="*/ 44653 w 89306"/>
                  <a:gd name="csY12" fmla="*/ 0 h 116760"/>
                  <a:gd name="csX13" fmla="*/ 89306 w 89306"/>
                  <a:gd name="csY13" fmla="*/ 44653 h 116760"/>
                  <a:gd name="csX14" fmla="*/ 78441 w 89306"/>
                  <a:gd name="csY14" fmla="*/ 68851 h 116760"/>
                  <a:gd name="csX15" fmla="*/ 62411 w 89306"/>
                  <a:gd name="csY15" fmla="*/ 113939 h 116760"/>
                  <a:gd name="csX16" fmla="*/ 59588 w 89306"/>
                  <a:gd name="csY16" fmla="*/ 116761 h 11676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89306" h="116760">
                    <a:moveTo>
                      <a:pt x="59588" y="116761"/>
                    </a:moveTo>
                    <a:cubicBezTo>
                      <a:pt x="58031" y="116761"/>
                      <a:pt x="56766" y="115497"/>
                      <a:pt x="56766" y="113939"/>
                    </a:cubicBezTo>
                    <a:cubicBezTo>
                      <a:pt x="56766" y="86213"/>
                      <a:pt x="66373" y="74597"/>
                      <a:pt x="74095" y="65255"/>
                    </a:cubicBezTo>
                    <a:cubicBezTo>
                      <a:pt x="79440" y="58787"/>
                      <a:pt x="83662" y="53679"/>
                      <a:pt x="83662" y="44653"/>
                    </a:cubicBezTo>
                    <a:cubicBezTo>
                      <a:pt x="83662" y="23142"/>
                      <a:pt x="66164" y="5644"/>
                      <a:pt x="44653" y="5644"/>
                    </a:cubicBezTo>
                    <a:cubicBezTo>
                      <a:pt x="23142" y="5644"/>
                      <a:pt x="5644" y="23142"/>
                      <a:pt x="5644" y="44653"/>
                    </a:cubicBezTo>
                    <a:cubicBezTo>
                      <a:pt x="5644" y="53679"/>
                      <a:pt x="9866" y="58787"/>
                      <a:pt x="15212" y="65255"/>
                    </a:cubicBezTo>
                    <a:cubicBezTo>
                      <a:pt x="22933" y="74591"/>
                      <a:pt x="32540" y="86213"/>
                      <a:pt x="32540" y="113939"/>
                    </a:cubicBezTo>
                    <a:cubicBezTo>
                      <a:pt x="32540" y="115497"/>
                      <a:pt x="31276" y="116761"/>
                      <a:pt x="29718" y="116761"/>
                    </a:cubicBezTo>
                    <a:cubicBezTo>
                      <a:pt x="28160" y="116761"/>
                      <a:pt x="26896" y="115497"/>
                      <a:pt x="26896" y="113939"/>
                    </a:cubicBezTo>
                    <a:cubicBezTo>
                      <a:pt x="26896" y="88245"/>
                      <a:pt x="18378" y="77944"/>
                      <a:pt x="10866" y="68851"/>
                    </a:cubicBezTo>
                    <a:cubicBezTo>
                      <a:pt x="5278" y="62095"/>
                      <a:pt x="0" y="55711"/>
                      <a:pt x="0" y="44653"/>
                    </a:cubicBezTo>
                    <a:cubicBezTo>
                      <a:pt x="0" y="20032"/>
                      <a:pt x="20032" y="0"/>
                      <a:pt x="44653" y="0"/>
                    </a:cubicBezTo>
                    <a:cubicBezTo>
                      <a:pt x="69274" y="0"/>
                      <a:pt x="89306" y="20032"/>
                      <a:pt x="89306" y="44653"/>
                    </a:cubicBezTo>
                    <a:cubicBezTo>
                      <a:pt x="89306" y="55711"/>
                      <a:pt x="84029" y="62095"/>
                      <a:pt x="78441" y="68851"/>
                    </a:cubicBezTo>
                    <a:cubicBezTo>
                      <a:pt x="70928" y="77938"/>
                      <a:pt x="62411" y="88245"/>
                      <a:pt x="62411" y="113939"/>
                    </a:cubicBezTo>
                    <a:cubicBezTo>
                      <a:pt x="62411" y="115497"/>
                      <a:pt x="61146" y="116761"/>
                      <a:pt x="59588" y="116761"/>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7" name="Freeform: Shape 194">
                <a:extLst>
                  <a:ext uri="{FF2B5EF4-FFF2-40B4-BE49-F238E27FC236}">
                    <a16:creationId xmlns:a16="http://schemas.microsoft.com/office/drawing/2014/main" id="{A1DE214E-7EE2-A8C6-4E71-0B61A8E3360A}"/>
                  </a:ext>
                </a:extLst>
              </p:cNvPr>
              <p:cNvSpPr/>
              <p:nvPr/>
            </p:nvSpPr>
            <p:spPr>
              <a:xfrm>
                <a:off x="978343" y="1930433"/>
                <a:ext cx="57996" cy="32105"/>
              </a:xfrm>
              <a:custGeom>
                <a:avLst/>
                <a:gdLst>
                  <a:gd name="csX0" fmla="*/ 49846 w 57996"/>
                  <a:gd name="csY0" fmla="*/ 32106 h 32105"/>
                  <a:gd name="csX1" fmla="*/ 8151 w 57996"/>
                  <a:gd name="csY1" fmla="*/ 32106 h 32105"/>
                  <a:gd name="csX2" fmla="*/ 0 w 57996"/>
                  <a:gd name="csY2" fmla="*/ 23955 h 32105"/>
                  <a:gd name="csX3" fmla="*/ 0 w 57996"/>
                  <a:gd name="csY3" fmla="*/ 8151 h 32105"/>
                  <a:gd name="csX4" fmla="*/ 8151 w 57996"/>
                  <a:gd name="csY4" fmla="*/ 0 h 32105"/>
                  <a:gd name="csX5" fmla="*/ 49846 w 57996"/>
                  <a:gd name="csY5" fmla="*/ 0 h 32105"/>
                  <a:gd name="csX6" fmla="*/ 57997 w 57996"/>
                  <a:gd name="csY6" fmla="*/ 8151 h 32105"/>
                  <a:gd name="csX7" fmla="*/ 57997 w 57996"/>
                  <a:gd name="csY7" fmla="*/ 23955 h 32105"/>
                  <a:gd name="csX8" fmla="*/ 49846 w 57996"/>
                  <a:gd name="csY8" fmla="*/ 32106 h 32105"/>
                  <a:gd name="csX9" fmla="*/ 8151 w 57996"/>
                  <a:gd name="csY9" fmla="*/ 5644 h 32105"/>
                  <a:gd name="csX10" fmla="*/ 5644 w 57996"/>
                  <a:gd name="csY10" fmla="*/ 8151 h 32105"/>
                  <a:gd name="csX11" fmla="*/ 5644 w 57996"/>
                  <a:gd name="csY11" fmla="*/ 23955 h 32105"/>
                  <a:gd name="csX12" fmla="*/ 8151 w 57996"/>
                  <a:gd name="csY12" fmla="*/ 26461 h 32105"/>
                  <a:gd name="csX13" fmla="*/ 49846 w 57996"/>
                  <a:gd name="csY13" fmla="*/ 26461 h 32105"/>
                  <a:gd name="csX14" fmla="*/ 52352 w 57996"/>
                  <a:gd name="csY14" fmla="*/ 23955 h 32105"/>
                  <a:gd name="csX15" fmla="*/ 52352 w 57996"/>
                  <a:gd name="csY15" fmla="*/ 8151 h 32105"/>
                  <a:gd name="csX16" fmla="*/ 49846 w 57996"/>
                  <a:gd name="csY16" fmla="*/ 5644 h 3210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57996" h="32105">
                    <a:moveTo>
                      <a:pt x="49846" y="32106"/>
                    </a:moveTo>
                    <a:lnTo>
                      <a:pt x="8151" y="32106"/>
                    </a:lnTo>
                    <a:cubicBezTo>
                      <a:pt x="3658" y="32106"/>
                      <a:pt x="0" y="28448"/>
                      <a:pt x="0" y="23955"/>
                    </a:cubicBezTo>
                    <a:lnTo>
                      <a:pt x="0" y="8151"/>
                    </a:lnTo>
                    <a:cubicBezTo>
                      <a:pt x="0" y="3658"/>
                      <a:pt x="3658" y="0"/>
                      <a:pt x="8151" y="0"/>
                    </a:cubicBezTo>
                    <a:lnTo>
                      <a:pt x="49846" y="0"/>
                    </a:lnTo>
                    <a:cubicBezTo>
                      <a:pt x="54339" y="0"/>
                      <a:pt x="57997" y="3658"/>
                      <a:pt x="57997" y="8151"/>
                    </a:cubicBezTo>
                    <a:lnTo>
                      <a:pt x="57997" y="23955"/>
                    </a:lnTo>
                    <a:cubicBezTo>
                      <a:pt x="57997" y="28448"/>
                      <a:pt x="54339" y="32106"/>
                      <a:pt x="49846" y="32106"/>
                    </a:cubicBezTo>
                    <a:close/>
                    <a:moveTo>
                      <a:pt x="8151" y="5644"/>
                    </a:moveTo>
                    <a:cubicBezTo>
                      <a:pt x="6768" y="5644"/>
                      <a:pt x="5644" y="6768"/>
                      <a:pt x="5644" y="8151"/>
                    </a:cubicBezTo>
                    <a:lnTo>
                      <a:pt x="5644" y="23955"/>
                    </a:lnTo>
                    <a:cubicBezTo>
                      <a:pt x="5644" y="25338"/>
                      <a:pt x="6768" y="26461"/>
                      <a:pt x="8151" y="26461"/>
                    </a:cubicBezTo>
                    <a:lnTo>
                      <a:pt x="49846" y="26461"/>
                    </a:lnTo>
                    <a:cubicBezTo>
                      <a:pt x="51229" y="26461"/>
                      <a:pt x="52352" y="25338"/>
                      <a:pt x="52352" y="23955"/>
                    </a:cubicBezTo>
                    <a:lnTo>
                      <a:pt x="52352" y="8151"/>
                    </a:lnTo>
                    <a:cubicBezTo>
                      <a:pt x="52352" y="6768"/>
                      <a:pt x="51229" y="5644"/>
                      <a:pt x="49846" y="5644"/>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8" name="Freeform: Shape 195">
                <a:extLst>
                  <a:ext uri="{FF2B5EF4-FFF2-40B4-BE49-F238E27FC236}">
                    <a16:creationId xmlns:a16="http://schemas.microsoft.com/office/drawing/2014/main" id="{28F2FAE9-997A-E089-C646-3385F3EF15FE}"/>
                  </a:ext>
                </a:extLst>
              </p:cNvPr>
              <p:cNvSpPr/>
              <p:nvPr/>
            </p:nvSpPr>
            <p:spPr>
              <a:xfrm>
                <a:off x="989682" y="1956895"/>
                <a:ext cx="35311" cy="20478"/>
              </a:xfrm>
              <a:custGeom>
                <a:avLst/>
                <a:gdLst>
                  <a:gd name="csX0" fmla="*/ 17656 w 35311"/>
                  <a:gd name="csY0" fmla="*/ 20478 h 20478"/>
                  <a:gd name="csX1" fmla="*/ 0 w 35311"/>
                  <a:gd name="csY1" fmla="*/ 2822 h 20478"/>
                  <a:gd name="csX2" fmla="*/ 2822 w 35311"/>
                  <a:gd name="csY2" fmla="*/ 0 h 20478"/>
                  <a:gd name="csX3" fmla="*/ 5644 w 35311"/>
                  <a:gd name="csY3" fmla="*/ 2822 h 20478"/>
                  <a:gd name="csX4" fmla="*/ 17656 w 35311"/>
                  <a:gd name="csY4" fmla="*/ 14834 h 20478"/>
                  <a:gd name="csX5" fmla="*/ 29667 w 35311"/>
                  <a:gd name="csY5" fmla="*/ 2822 h 20478"/>
                  <a:gd name="csX6" fmla="*/ 32489 w 35311"/>
                  <a:gd name="csY6" fmla="*/ 0 h 20478"/>
                  <a:gd name="csX7" fmla="*/ 35312 w 35311"/>
                  <a:gd name="csY7" fmla="*/ 2822 h 20478"/>
                  <a:gd name="csX8" fmla="*/ 17656 w 35311"/>
                  <a:gd name="csY8" fmla="*/ 20478 h 204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35311" h="20478">
                    <a:moveTo>
                      <a:pt x="17656" y="20478"/>
                    </a:moveTo>
                    <a:cubicBezTo>
                      <a:pt x="7919" y="20478"/>
                      <a:pt x="0" y="12559"/>
                      <a:pt x="0" y="2822"/>
                    </a:cubicBezTo>
                    <a:cubicBezTo>
                      <a:pt x="0" y="1264"/>
                      <a:pt x="1264" y="0"/>
                      <a:pt x="2822" y="0"/>
                    </a:cubicBezTo>
                    <a:cubicBezTo>
                      <a:pt x="4380" y="0"/>
                      <a:pt x="5644" y="1264"/>
                      <a:pt x="5644" y="2822"/>
                    </a:cubicBezTo>
                    <a:cubicBezTo>
                      <a:pt x="5644" y="9449"/>
                      <a:pt x="11035" y="14834"/>
                      <a:pt x="17656" y="14834"/>
                    </a:cubicBezTo>
                    <a:cubicBezTo>
                      <a:pt x="24277" y="14834"/>
                      <a:pt x="29667" y="9443"/>
                      <a:pt x="29667" y="2822"/>
                    </a:cubicBezTo>
                    <a:cubicBezTo>
                      <a:pt x="29667" y="1264"/>
                      <a:pt x="30932" y="0"/>
                      <a:pt x="32489" y="0"/>
                    </a:cubicBezTo>
                    <a:cubicBezTo>
                      <a:pt x="34047" y="0"/>
                      <a:pt x="35312" y="1264"/>
                      <a:pt x="35312" y="2822"/>
                    </a:cubicBezTo>
                    <a:cubicBezTo>
                      <a:pt x="35317" y="12559"/>
                      <a:pt x="27392" y="20478"/>
                      <a:pt x="17656" y="20478"/>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9" name="Freeform: Shape 196">
                <a:extLst>
                  <a:ext uri="{FF2B5EF4-FFF2-40B4-BE49-F238E27FC236}">
                    <a16:creationId xmlns:a16="http://schemas.microsoft.com/office/drawing/2014/main" id="{00E3BC49-5709-6931-B4C2-975797E8CF00}"/>
                  </a:ext>
                </a:extLst>
              </p:cNvPr>
              <p:cNvSpPr/>
              <p:nvPr/>
            </p:nvSpPr>
            <p:spPr>
              <a:xfrm>
                <a:off x="988678" y="1943664"/>
                <a:ext cx="37321" cy="5644"/>
              </a:xfrm>
              <a:custGeom>
                <a:avLst/>
                <a:gdLst>
                  <a:gd name="csX0" fmla="*/ 34499 w 37321"/>
                  <a:gd name="csY0" fmla="*/ 5644 h 5644"/>
                  <a:gd name="csX1" fmla="*/ 2822 w 37321"/>
                  <a:gd name="csY1" fmla="*/ 5644 h 5644"/>
                  <a:gd name="csX2" fmla="*/ 0 w 37321"/>
                  <a:gd name="csY2" fmla="*/ 2822 h 5644"/>
                  <a:gd name="csX3" fmla="*/ 2822 w 37321"/>
                  <a:gd name="csY3" fmla="*/ 0 h 5644"/>
                  <a:gd name="csX4" fmla="*/ 34499 w 37321"/>
                  <a:gd name="csY4" fmla="*/ 0 h 5644"/>
                  <a:gd name="csX5" fmla="*/ 37321 w 37321"/>
                  <a:gd name="csY5" fmla="*/ 2822 h 5644"/>
                  <a:gd name="csX6" fmla="*/ 34499 w 37321"/>
                  <a:gd name="csY6" fmla="*/ 5644 h 5644"/>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7321" h="5644">
                    <a:moveTo>
                      <a:pt x="34499" y="5644"/>
                    </a:moveTo>
                    <a:lnTo>
                      <a:pt x="2822" y="5644"/>
                    </a:lnTo>
                    <a:cubicBezTo>
                      <a:pt x="1264" y="5644"/>
                      <a:pt x="0" y="4380"/>
                      <a:pt x="0" y="2822"/>
                    </a:cubicBezTo>
                    <a:cubicBezTo>
                      <a:pt x="0" y="1264"/>
                      <a:pt x="1264" y="0"/>
                      <a:pt x="2822" y="0"/>
                    </a:cubicBezTo>
                    <a:lnTo>
                      <a:pt x="34499" y="0"/>
                    </a:lnTo>
                    <a:cubicBezTo>
                      <a:pt x="36057" y="0"/>
                      <a:pt x="37321" y="1264"/>
                      <a:pt x="37321" y="2822"/>
                    </a:cubicBezTo>
                    <a:cubicBezTo>
                      <a:pt x="37321" y="4380"/>
                      <a:pt x="36057" y="5644"/>
                      <a:pt x="34499" y="5644"/>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70" name="Freeform: Shape 197">
                <a:extLst>
                  <a:ext uri="{FF2B5EF4-FFF2-40B4-BE49-F238E27FC236}">
                    <a16:creationId xmlns:a16="http://schemas.microsoft.com/office/drawing/2014/main" id="{00DFB980-4E85-F0A2-A05A-1888BECF2DCA}"/>
                  </a:ext>
                </a:extLst>
              </p:cNvPr>
              <p:cNvSpPr/>
              <p:nvPr/>
            </p:nvSpPr>
            <p:spPr>
              <a:xfrm>
                <a:off x="981858" y="1852797"/>
                <a:ext cx="23376" cy="83280"/>
              </a:xfrm>
              <a:custGeom>
                <a:avLst/>
                <a:gdLst>
                  <a:gd name="csX0" fmla="*/ 20552 w 23376"/>
                  <a:gd name="csY0" fmla="*/ 83281 h 83280"/>
                  <a:gd name="csX1" fmla="*/ 17741 w 23376"/>
                  <a:gd name="csY1" fmla="*/ 80668 h 83280"/>
                  <a:gd name="csX2" fmla="*/ 12605 w 23376"/>
                  <a:gd name="csY2" fmla="*/ 11218 h 83280"/>
                  <a:gd name="csX3" fmla="*/ 12165 w 23376"/>
                  <a:gd name="csY3" fmla="*/ 11168 h 83280"/>
                  <a:gd name="csX4" fmla="*/ 11442 w 23376"/>
                  <a:gd name="csY4" fmla="*/ 17331 h 83280"/>
                  <a:gd name="csX5" fmla="*/ 6238 w 23376"/>
                  <a:gd name="csY5" fmla="*/ 21356 h 83280"/>
                  <a:gd name="csX6" fmla="*/ 503 w 23376"/>
                  <a:gd name="csY6" fmla="*/ 15401 h 83280"/>
                  <a:gd name="csX7" fmla="*/ 1632 w 23376"/>
                  <a:gd name="csY7" fmla="*/ 8057 h 83280"/>
                  <a:gd name="csX8" fmla="*/ 4138 w 23376"/>
                  <a:gd name="csY8" fmla="*/ 6342 h 83280"/>
                  <a:gd name="csX9" fmla="*/ 2772 w 23376"/>
                  <a:gd name="csY9" fmla="*/ 4925 h 83280"/>
                  <a:gd name="csX10" fmla="*/ 2552 w 23376"/>
                  <a:gd name="csY10" fmla="*/ 940 h 83280"/>
                  <a:gd name="csX11" fmla="*/ 6537 w 23376"/>
                  <a:gd name="csY11" fmla="*/ 720 h 83280"/>
                  <a:gd name="csX12" fmla="*/ 10285 w 23376"/>
                  <a:gd name="csY12" fmla="*/ 5382 h 83280"/>
                  <a:gd name="csX13" fmla="*/ 15873 w 23376"/>
                  <a:gd name="csY13" fmla="*/ 6065 h 83280"/>
                  <a:gd name="csX14" fmla="*/ 18069 w 23376"/>
                  <a:gd name="csY14" fmla="*/ 8611 h 83280"/>
                  <a:gd name="csX15" fmla="*/ 23369 w 23376"/>
                  <a:gd name="csY15" fmla="*/ 80256 h 83280"/>
                  <a:gd name="csX16" fmla="*/ 20761 w 23376"/>
                  <a:gd name="csY16" fmla="*/ 83281 h 83280"/>
                  <a:gd name="csX17" fmla="*/ 20552 w 23376"/>
                  <a:gd name="csY17" fmla="*/ 83281 h 83280"/>
                  <a:gd name="csX18" fmla="*/ 6498 w 23376"/>
                  <a:gd name="csY18" fmla="*/ 11438 h 83280"/>
                  <a:gd name="csX19" fmla="*/ 5792 w 23376"/>
                  <a:gd name="csY19" fmla="*/ 11867 h 83280"/>
                  <a:gd name="csX20" fmla="*/ 5882 w 23376"/>
                  <a:gd name="csY20" fmla="*/ 13685 h 83280"/>
                  <a:gd name="csX21" fmla="*/ 6334 w 23376"/>
                  <a:gd name="csY21" fmla="*/ 14870 h 83280"/>
                  <a:gd name="csX22" fmla="*/ 6616 w 23376"/>
                  <a:gd name="csY22" fmla="*/ 12895 h 83280"/>
                  <a:gd name="csX23" fmla="*/ 6498 w 23376"/>
                  <a:gd name="csY23" fmla="*/ 11438 h 8328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Lst>
                <a:rect l="l" t="t" r="r" b="b"/>
                <a:pathLst>
                  <a:path w="23376" h="83280">
                    <a:moveTo>
                      <a:pt x="20552" y="83281"/>
                    </a:moveTo>
                    <a:cubicBezTo>
                      <a:pt x="19090" y="83281"/>
                      <a:pt x="17849" y="82152"/>
                      <a:pt x="17741" y="80668"/>
                    </a:cubicBezTo>
                    <a:lnTo>
                      <a:pt x="12605" y="11218"/>
                    </a:lnTo>
                    <a:cubicBezTo>
                      <a:pt x="12458" y="11201"/>
                      <a:pt x="12311" y="11184"/>
                      <a:pt x="12165" y="11168"/>
                    </a:cubicBezTo>
                    <a:cubicBezTo>
                      <a:pt x="12430" y="13459"/>
                      <a:pt x="12136" y="15610"/>
                      <a:pt x="11442" y="17331"/>
                    </a:cubicBezTo>
                    <a:cubicBezTo>
                      <a:pt x="10392" y="19933"/>
                      <a:pt x="8445" y="21435"/>
                      <a:pt x="6238" y="21356"/>
                    </a:cubicBezTo>
                    <a:cubicBezTo>
                      <a:pt x="4466" y="21288"/>
                      <a:pt x="2027" y="20199"/>
                      <a:pt x="503" y="15401"/>
                    </a:cubicBezTo>
                    <a:cubicBezTo>
                      <a:pt x="-688" y="11647"/>
                      <a:pt x="458" y="9333"/>
                      <a:pt x="1632" y="8057"/>
                    </a:cubicBezTo>
                    <a:cubicBezTo>
                      <a:pt x="2321" y="7301"/>
                      <a:pt x="3184" y="6748"/>
                      <a:pt x="4138" y="6342"/>
                    </a:cubicBezTo>
                    <a:cubicBezTo>
                      <a:pt x="3749" y="5867"/>
                      <a:pt x="3297" y="5393"/>
                      <a:pt x="2772" y="4925"/>
                    </a:cubicBezTo>
                    <a:cubicBezTo>
                      <a:pt x="1610" y="3886"/>
                      <a:pt x="1514" y="2103"/>
                      <a:pt x="2552" y="940"/>
                    </a:cubicBezTo>
                    <a:cubicBezTo>
                      <a:pt x="3591" y="-223"/>
                      <a:pt x="5374" y="-319"/>
                      <a:pt x="6537" y="720"/>
                    </a:cubicBezTo>
                    <a:cubicBezTo>
                      <a:pt x="8157" y="2170"/>
                      <a:pt x="9388" y="3751"/>
                      <a:pt x="10285" y="5382"/>
                    </a:cubicBezTo>
                    <a:cubicBezTo>
                      <a:pt x="12848" y="5438"/>
                      <a:pt x="15094" y="5890"/>
                      <a:pt x="15873" y="6065"/>
                    </a:cubicBezTo>
                    <a:cubicBezTo>
                      <a:pt x="17087" y="6336"/>
                      <a:pt x="17978" y="7369"/>
                      <a:pt x="18069" y="8611"/>
                    </a:cubicBezTo>
                    <a:lnTo>
                      <a:pt x="23369" y="80256"/>
                    </a:lnTo>
                    <a:cubicBezTo>
                      <a:pt x="23482" y="81808"/>
                      <a:pt x="22319" y="83162"/>
                      <a:pt x="20761" y="83281"/>
                    </a:cubicBezTo>
                    <a:cubicBezTo>
                      <a:pt x="20693" y="83275"/>
                      <a:pt x="20620" y="83281"/>
                      <a:pt x="20552" y="83281"/>
                    </a:cubicBezTo>
                    <a:close/>
                    <a:moveTo>
                      <a:pt x="6498" y="11438"/>
                    </a:moveTo>
                    <a:cubicBezTo>
                      <a:pt x="6187" y="11557"/>
                      <a:pt x="5945" y="11698"/>
                      <a:pt x="5792" y="11867"/>
                    </a:cubicBezTo>
                    <a:cubicBezTo>
                      <a:pt x="5527" y="12161"/>
                      <a:pt x="5662" y="12996"/>
                      <a:pt x="5882" y="13685"/>
                    </a:cubicBezTo>
                    <a:cubicBezTo>
                      <a:pt x="6040" y="14182"/>
                      <a:pt x="6193" y="14571"/>
                      <a:pt x="6334" y="14870"/>
                    </a:cubicBezTo>
                    <a:cubicBezTo>
                      <a:pt x="6486" y="14374"/>
                      <a:pt x="6611" y="13713"/>
                      <a:pt x="6616" y="12895"/>
                    </a:cubicBezTo>
                    <a:cubicBezTo>
                      <a:pt x="6616" y="12545"/>
                      <a:pt x="6594" y="12042"/>
                      <a:pt x="6498" y="11438"/>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71" name="Freeform: Shape 198">
                <a:extLst>
                  <a:ext uri="{FF2B5EF4-FFF2-40B4-BE49-F238E27FC236}">
                    <a16:creationId xmlns:a16="http://schemas.microsoft.com/office/drawing/2014/main" id="{54F88479-06D7-1CF9-397C-79C69BDEB4DC}"/>
                  </a:ext>
                </a:extLst>
              </p:cNvPr>
              <p:cNvSpPr/>
              <p:nvPr/>
            </p:nvSpPr>
            <p:spPr>
              <a:xfrm>
                <a:off x="1009447" y="1852791"/>
                <a:ext cx="23376" cy="83286"/>
              </a:xfrm>
              <a:custGeom>
                <a:avLst/>
                <a:gdLst>
                  <a:gd name="csX0" fmla="*/ 2824 w 23376"/>
                  <a:gd name="csY0" fmla="*/ 83287 h 83286"/>
                  <a:gd name="csX1" fmla="*/ 2615 w 23376"/>
                  <a:gd name="csY1" fmla="*/ 83281 h 83286"/>
                  <a:gd name="csX2" fmla="*/ 8 w 23376"/>
                  <a:gd name="csY2" fmla="*/ 80256 h 83286"/>
                  <a:gd name="csX3" fmla="*/ 5308 w 23376"/>
                  <a:gd name="csY3" fmla="*/ 8611 h 83286"/>
                  <a:gd name="csX4" fmla="*/ 7503 w 23376"/>
                  <a:gd name="csY4" fmla="*/ 6065 h 83286"/>
                  <a:gd name="csX5" fmla="*/ 13091 w 23376"/>
                  <a:gd name="csY5" fmla="*/ 5382 h 83286"/>
                  <a:gd name="csX6" fmla="*/ 16839 w 23376"/>
                  <a:gd name="csY6" fmla="*/ 720 h 83286"/>
                  <a:gd name="csX7" fmla="*/ 20824 w 23376"/>
                  <a:gd name="csY7" fmla="*/ 940 h 83286"/>
                  <a:gd name="csX8" fmla="*/ 20604 w 23376"/>
                  <a:gd name="csY8" fmla="*/ 4925 h 83286"/>
                  <a:gd name="csX9" fmla="*/ 19238 w 23376"/>
                  <a:gd name="csY9" fmla="*/ 6342 h 83286"/>
                  <a:gd name="csX10" fmla="*/ 21744 w 23376"/>
                  <a:gd name="csY10" fmla="*/ 8057 h 83286"/>
                  <a:gd name="csX11" fmla="*/ 22873 w 23376"/>
                  <a:gd name="csY11" fmla="*/ 15401 h 83286"/>
                  <a:gd name="csX12" fmla="*/ 17138 w 23376"/>
                  <a:gd name="csY12" fmla="*/ 21356 h 83286"/>
                  <a:gd name="csX13" fmla="*/ 11934 w 23376"/>
                  <a:gd name="csY13" fmla="*/ 17331 h 83286"/>
                  <a:gd name="csX14" fmla="*/ 11217 w 23376"/>
                  <a:gd name="csY14" fmla="*/ 11168 h 83286"/>
                  <a:gd name="csX15" fmla="*/ 10777 w 23376"/>
                  <a:gd name="csY15" fmla="*/ 11218 h 83286"/>
                  <a:gd name="csX16" fmla="*/ 5641 w 23376"/>
                  <a:gd name="csY16" fmla="*/ 80673 h 83286"/>
                  <a:gd name="csX17" fmla="*/ 2824 w 23376"/>
                  <a:gd name="csY17" fmla="*/ 83287 h 83286"/>
                  <a:gd name="csX18" fmla="*/ 16879 w 23376"/>
                  <a:gd name="csY18" fmla="*/ 11444 h 83286"/>
                  <a:gd name="csX19" fmla="*/ 16760 w 23376"/>
                  <a:gd name="csY19" fmla="*/ 12906 h 83286"/>
                  <a:gd name="csX20" fmla="*/ 17042 w 23376"/>
                  <a:gd name="csY20" fmla="*/ 14882 h 83286"/>
                  <a:gd name="csX21" fmla="*/ 17494 w 23376"/>
                  <a:gd name="csY21" fmla="*/ 13696 h 83286"/>
                  <a:gd name="csX22" fmla="*/ 17584 w 23376"/>
                  <a:gd name="csY22" fmla="*/ 11879 h 83286"/>
                  <a:gd name="csX23" fmla="*/ 16879 w 23376"/>
                  <a:gd name="csY23" fmla="*/ 11444 h 8328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Lst>
                <a:rect l="l" t="t" r="r" b="b"/>
                <a:pathLst>
                  <a:path w="23376" h="83286">
                    <a:moveTo>
                      <a:pt x="2824" y="83287"/>
                    </a:moveTo>
                    <a:cubicBezTo>
                      <a:pt x="2756" y="83287"/>
                      <a:pt x="2683" y="83287"/>
                      <a:pt x="2615" y="83281"/>
                    </a:cubicBezTo>
                    <a:cubicBezTo>
                      <a:pt x="1063" y="83168"/>
                      <a:pt x="-105" y="81813"/>
                      <a:pt x="8" y="80256"/>
                    </a:cubicBezTo>
                    <a:lnTo>
                      <a:pt x="5308" y="8611"/>
                    </a:lnTo>
                    <a:cubicBezTo>
                      <a:pt x="5398" y="7369"/>
                      <a:pt x="6290" y="6336"/>
                      <a:pt x="7503" y="6065"/>
                    </a:cubicBezTo>
                    <a:cubicBezTo>
                      <a:pt x="8288" y="5890"/>
                      <a:pt x="10529" y="5438"/>
                      <a:pt x="13091" y="5382"/>
                    </a:cubicBezTo>
                    <a:cubicBezTo>
                      <a:pt x="13989" y="3756"/>
                      <a:pt x="15219" y="2170"/>
                      <a:pt x="16839" y="720"/>
                    </a:cubicBezTo>
                    <a:cubicBezTo>
                      <a:pt x="18002" y="-319"/>
                      <a:pt x="19786" y="-223"/>
                      <a:pt x="20824" y="940"/>
                    </a:cubicBezTo>
                    <a:cubicBezTo>
                      <a:pt x="21863" y="2103"/>
                      <a:pt x="21767" y="3886"/>
                      <a:pt x="20604" y="4925"/>
                    </a:cubicBezTo>
                    <a:cubicBezTo>
                      <a:pt x="20085" y="5393"/>
                      <a:pt x="19633" y="5867"/>
                      <a:pt x="19238" y="6342"/>
                    </a:cubicBezTo>
                    <a:cubicBezTo>
                      <a:pt x="20192" y="6748"/>
                      <a:pt x="21050" y="7301"/>
                      <a:pt x="21744" y="8057"/>
                    </a:cubicBezTo>
                    <a:cubicBezTo>
                      <a:pt x="22918" y="9339"/>
                      <a:pt x="24064" y="11653"/>
                      <a:pt x="22873" y="15401"/>
                    </a:cubicBezTo>
                    <a:cubicBezTo>
                      <a:pt x="21349" y="20199"/>
                      <a:pt x="18911" y="21288"/>
                      <a:pt x="17138" y="21356"/>
                    </a:cubicBezTo>
                    <a:cubicBezTo>
                      <a:pt x="14937" y="21435"/>
                      <a:pt x="12984" y="19933"/>
                      <a:pt x="11934" y="17331"/>
                    </a:cubicBezTo>
                    <a:cubicBezTo>
                      <a:pt x="11240" y="15610"/>
                      <a:pt x="10946" y="13459"/>
                      <a:pt x="11217" y="11168"/>
                    </a:cubicBezTo>
                    <a:cubicBezTo>
                      <a:pt x="11071" y="11184"/>
                      <a:pt x="10924" y="11201"/>
                      <a:pt x="10777" y="11218"/>
                    </a:cubicBezTo>
                    <a:lnTo>
                      <a:pt x="5641" y="80673"/>
                    </a:lnTo>
                    <a:cubicBezTo>
                      <a:pt x="5522" y="82158"/>
                      <a:pt x="4286" y="83287"/>
                      <a:pt x="2824" y="83287"/>
                    </a:cubicBezTo>
                    <a:close/>
                    <a:moveTo>
                      <a:pt x="16879" y="11444"/>
                    </a:moveTo>
                    <a:cubicBezTo>
                      <a:pt x="16783" y="12048"/>
                      <a:pt x="16760" y="12550"/>
                      <a:pt x="16760" y="12906"/>
                    </a:cubicBezTo>
                    <a:cubicBezTo>
                      <a:pt x="16766" y="13724"/>
                      <a:pt x="16890" y="14385"/>
                      <a:pt x="17042" y="14882"/>
                    </a:cubicBezTo>
                    <a:cubicBezTo>
                      <a:pt x="17184" y="14577"/>
                      <a:pt x="17336" y="14193"/>
                      <a:pt x="17494" y="13696"/>
                    </a:cubicBezTo>
                    <a:cubicBezTo>
                      <a:pt x="17601" y="13363"/>
                      <a:pt x="17923" y="12246"/>
                      <a:pt x="17584" y="11879"/>
                    </a:cubicBezTo>
                    <a:cubicBezTo>
                      <a:pt x="17426" y="11704"/>
                      <a:pt x="17189" y="11563"/>
                      <a:pt x="16879" y="11444"/>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72" name="Freeform: Shape 199">
                <a:extLst>
                  <a:ext uri="{FF2B5EF4-FFF2-40B4-BE49-F238E27FC236}">
                    <a16:creationId xmlns:a16="http://schemas.microsoft.com/office/drawing/2014/main" id="{EEE52C73-E81F-C696-28AC-7C91D8294911}"/>
                  </a:ext>
                </a:extLst>
              </p:cNvPr>
              <p:cNvSpPr/>
              <p:nvPr/>
            </p:nvSpPr>
            <p:spPr>
              <a:xfrm>
                <a:off x="937097" y="1903757"/>
                <a:ext cx="27434" cy="76680"/>
              </a:xfrm>
              <a:custGeom>
                <a:avLst/>
                <a:gdLst>
                  <a:gd name="csX0" fmla="*/ 9936 w 27434"/>
                  <a:gd name="csY0" fmla="*/ 76681 h 76680"/>
                  <a:gd name="csX1" fmla="*/ 7345 w 27434"/>
                  <a:gd name="csY1" fmla="*/ 74976 h 76680"/>
                  <a:gd name="csX2" fmla="*/ 6459 w 27434"/>
                  <a:gd name="csY2" fmla="*/ 17567 h 76680"/>
                  <a:gd name="csX3" fmla="*/ 23302 w 27434"/>
                  <a:gd name="csY3" fmla="*/ 323 h 76680"/>
                  <a:gd name="csX4" fmla="*/ 27112 w 27434"/>
                  <a:gd name="csY4" fmla="*/ 1514 h 76680"/>
                  <a:gd name="csX5" fmla="*/ 25927 w 27434"/>
                  <a:gd name="csY5" fmla="*/ 5318 h 76680"/>
                  <a:gd name="csX6" fmla="*/ 11217 w 27434"/>
                  <a:gd name="csY6" fmla="*/ 20615 h 76680"/>
                  <a:gd name="csX7" fmla="*/ 12527 w 27434"/>
                  <a:gd name="csY7" fmla="*/ 72735 h 76680"/>
                  <a:gd name="csX8" fmla="*/ 11054 w 27434"/>
                  <a:gd name="csY8" fmla="*/ 76444 h 76680"/>
                  <a:gd name="csX9" fmla="*/ 9936 w 27434"/>
                  <a:gd name="csY9" fmla="*/ 76681 h 7668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27434" h="76680">
                    <a:moveTo>
                      <a:pt x="9936" y="76681"/>
                    </a:moveTo>
                    <a:cubicBezTo>
                      <a:pt x="8841" y="76681"/>
                      <a:pt x="7802" y="76043"/>
                      <a:pt x="7345" y="74976"/>
                    </a:cubicBezTo>
                    <a:cubicBezTo>
                      <a:pt x="-4638" y="47222"/>
                      <a:pt x="250" y="28438"/>
                      <a:pt x="6459" y="17567"/>
                    </a:cubicBezTo>
                    <a:cubicBezTo>
                      <a:pt x="13249" y="5685"/>
                      <a:pt x="22896" y="537"/>
                      <a:pt x="23302" y="323"/>
                    </a:cubicBezTo>
                    <a:cubicBezTo>
                      <a:pt x="24685" y="-400"/>
                      <a:pt x="26390" y="131"/>
                      <a:pt x="27112" y="1514"/>
                    </a:cubicBezTo>
                    <a:cubicBezTo>
                      <a:pt x="27835" y="2891"/>
                      <a:pt x="27304" y="4596"/>
                      <a:pt x="25927" y="5318"/>
                    </a:cubicBezTo>
                    <a:cubicBezTo>
                      <a:pt x="25803" y="5386"/>
                      <a:pt x="17144" y="10076"/>
                      <a:pt x="11217" y="20615"/>
                    </a:cubicBezTo>
                    <a:cubicBezTo>
                      <a:pt x="3259" y="34760"/>
                      <a:pt x="3699" y="52297"/>
                      <a:pt x="12527" y="72735"/>
                    </a:cubicBezTo>
                    <a:cubicBezTo>
                      <a:pt x="13142" y="74169"/>
                      <a:pt x="12487" y="75829"/>
                      <a:pt x="11054" y="76444"/>
                    </a:cubicBezTo>
                    <a:cubicBezTo>
                      <a:pt x="10692" y="76607"/>
                      <a:pt x="10309" y="76681"/>
                      <a:pt x="9936" y="76681"/>
                    </a:cubicBezTo>
                    <a:close/>
                  </a:path>
                </a:pathLst>
              </a:custGeom>
              <a:grpFill/>
              <a:ln w="55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73" name="Group 72">
            <a:extLst>
              <a:ext uri="{FF2B5EF4-FFF2-40B4-BE49-F238E27FC236}">
                <a16:creationId xmlns:a16="http://schemas.microsoft.com/office/drawing/2014/main" id="{024480FE-34E4-FE43-CC2A-8C97FF1D6EBB}"/>
              </a:ext>
            </a:extLst>
          </p:cNvPr>
          <p:cNvGrpSpPr>
            <a:grpSpLocks noChangeAspect="1"/>
          </p:cNvGrpSpPr>
          <p:nvPr/>
        </p:nvGrpSpPr>
        <p:grpSpPr>
          <a:xfrm>
            <a:off x="7957391" y="4732741"/>
            <a:ext cx="415636" cy="415636"/>
            <a:chOff x="7936609" y="5368895"/>
            <a:chExt cx="457200" cy="457200"/>
          </a:xfrm>
        </p:grpSpPr>
        <p:sp>
          <p:nvSpPr>
            <p:cNvPr id="74" name="Oval 73">
              <a:extLst>
                <a:ext uri="{FF2B5EF4-FFF2-40B4-BE49-F238E27FC236}">
                  <a16:creationId xmlns:a16="http://schemas.microsoft.com/office/drawing/2014/main" id="{797E2B36-10DD-8092-EB06-A09C025D9402}"/>
                </a:ext>
              </a:extLst>
            </p:cNvPr>
            <p:cNvSpPr>
              <a:spLocks noChangeAspect="1"/>
            </p:cNvSpPr>
            <p:nvPr/>
          </p:nvSpPr>
          <p:spPr>
            <a:xfrm>
              <a:off x="7936609" y="5368895"/>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grpSp>
          <p:nvGrpSpPr>
            <p:cNvPr id="75" name="Pic">
              <a:extLst>
                <a:ext uri="{FF2B5EF4-FFF2-40B4-BE49-F238E27FC236}">
                  <a16:creationId xmlns:a16="http://schemas.microsoft.com/office/drawing/2014/main" id="{4F52D874-BEA8-6685-F2BA-A3639F315A97}"/>
                </a:ext>
              </a:extLst>
            </p:cNvPr>
            <p:cNvGrpSpPr>
              <a:grpSpLocks noChangeAspect="1"/>
            </p:cNvGrpSpPr>
            <p:nvPr/>
          </p:nvGrpSpPr>
          <p:grpSpPr>
            <a:xfrm>
              <a:off x="8060702" y="5470488"/>
              <a:ext cx="209015" cy="254014"/>
              <a:chOff x="946412" y="2258998"/>
              <a:chExt cx="209015" cy="254014"/>
            </a:xfrm>
            <a:solidFill>
              <a:schemeClr val="bg1"/>
            </a:solidFill>
          </p:grpSpPr>
          <p:sp>
            <p:nvSpPr>
              <p:cNvPr id="76" name="Freeform: Shape 203">
                <a:extLst>
                  <a:ext uri="{FF2B5EF4-FFF2-40B4-BE49-F238E27FC236}">
                    <a16:creationId xmlns:a16="http://schemas.microsoft.com/office/drawing/2014/main" id="{93901825-A4D7-2338-D9CB-D53AB225593C}"/>
                  </a:ext>
                </a:extLst>
              </p:cNvPr>
              <p:cNvSpPr/>
              <p:nvPr/>
            </p:nvSpPr>
            <p:spPr>
              <a:xfrm>
                <a:off x="946412" y="2258998"/>
                <a:ext cx="209015" cy="254014"/>
              </a:xfrm>
              <a:custGeom>
                <a:avLst/>
                <a:gdLst>
                  <a:gd name="csX0" fmla="*/ 208057 w 209015"/>
                  <a:gd name="csY0" fmla="*/ 138802 h 254014"/>
                  <a:gd name="csX1" fmla="*/ 187936 w 209015"/>
                  <a:gd name="csY1" fmla="*/ 95304 h 254014"/>
                  <a:gd name="csX2" fmla="*/ 188174 w 209015"/>
                  <a:gd name="csY2" fmla="*/ 91693 h 254014"/>
                  <a:gd name="csX3" fmla="*/ 188174 w 209015"/>
                  <a:gd name="csY3" fmla="*/ 91097 h 254014"/>
                  <a:gd name="csX4" fmla="*/ 162178 w 209015"/>
                  <a:gd name="csY4" fmla="*/ 22160 h 254014"/>
                  <a:gd name="csX5" fmla="*/ 90979 w 209015"/>
                  <a:gd name="csY5" fmla="*/ 530 h 254014"/>
                  <a:gd name="csX6" fmla="*/ 15 w 209015"/>
                  <a:gd name="csY6" fmla="*/ 92605 h 254014"/>
                  <a:gd name="csX7" fmla="*/ 26527 w 209015"/>
                  <a:gd name="csY7" fmla="*/ 167932 h 254014"/>
                  <a:gd name="csX8" fmla="*/ 44584 w 209015"/>
                  <a:gd name="csY8" fmla="*/ 222463 h 254014"/>
                  <a:gd name="csX9" fmla="*/ 45061 w 209015"/>
                  <a:gd name="csY9" fmla="*/ 250204 h 254014"/>
                  <a:gd name="csX10" fmla="*/ 46251 w 209015"/>
                  <a:gd name="csY10" fmla="*/ 252943 h 254014"/>
                  <a:gd name="csX11" fmla="*/ 48990 w 209015"/>
                  <a:gd name="csY11" fmla="*/ 254014 h 254014"/>
                  <a:gd name="csX12" fmla="*/ 150113 w 209015"/>
                  <a:gd name="csY12" fmla="*/ 253975 h 254014"/>
                  <a:gd name="csX13" fmla="*/ 153884 w 209015"/>
                  <a:gd name="csY13" fmla="*/ 250125 h 254014"/>
                  <a:gd name="csX14" fmla="*/ 153011 w 209015"/>
                  <a:gd name="csY14" fmla="*/ 200635 h 254014"/>
                  <a:gd name="csX15" fmla="*/ 154320 w 209015"/>
                  <a:gd name="csY15" fmla="*/ 197261 h 254014"/>
                  <a:gd name="csX16" fmla="*/ 157654 w 209015"/>
                  <a:gd name="csY16" fmla="*/ 195872 h 254014"/>
                  <a:gd name="csX17" fmla="*/ 174164 w 209015"/>
                  <a:gd name="csY17" fmla="*/ 195872 h 254014"/>
                  <a:gd name="csX18" fmla="*/ 192341 w 209015"/>
                  <a:gd name="csY18" fmla="*/ 177338 h 254014"/>
                  <a:gd name="csX19" fmla="*/ 191904 w 209015"/>
                  <a:gd name="csY19" fmla="*/ 151660 h 254014"/>
                  <a:gd name="csX20" fmla="*/ 201906 w 209015"/>
                  <a:gd name="csY20" fmla="*/ 150470 h 254014"/>
                  <a:gd name="csX21" fmla="*/ 208097 w 209015"/>
                  <a:gd name="csY21" fmla="*/ 146104 h 254014"/>
                  <a:gd name="csX22" fmla="*/ 208057 w 209015"/>
                  <a:gd name="csY22" fmla="*/ 138802 h 254014"/>
                  <a:gd name="csX23" fmla="*/ 201231 w 209015"/>
                  <a:gd name="csY23" fmla="*/ 142612 h 254014"/>
                  <a:gd name="csX24" fmla="*/ 200913 w 209015"/>
                  <a:gd name="csY24" fmla="*/ 142850 h 254014"/>
                  <a:gd name="csX25" fmla="*/ 187539 w 209015"/>
                  <a:gd name="csY25" fmla="*/ 144437 h 254014"/>
                  <a:gd name="csX26" fmla="*/ 184205 w 209015"/>
                  <a:gd name="csY26" fmla="*/ 148247 h 254014"/>
                  <a:gd name="csX27" fmla="*/ 184721 w 209015"/>
                  <a:gd name="csY27" fmla="*/ 177338 h 254014"/>
                  <a:gd name="csX28" fmla="*/ 174085 w 209015"/>
                  <a:gd name="csY28" fmla="*/ 188173 h 254014"/>
                  <a:gd name="csX29" fmla="*/ 157575 w 209015"/>
                  <a:gd name="csY29" fmla="*/ 188173 h 254014"/>
                  <a:gd name="csX30" fmla="*/ 148804 w 209015"/>
                  <a:gd name="csY30" fmla="*/ 191824 h 254014"/>
                  <a:gd name="csX31" fmla="*/ 145311 w 209015"/>
                  <a:gd name="csY31" fmla="*/ 200635 h 254014"/>
                  <a:gd name="csX32" fmla="*/ 146105 w 209015"/>
                  <a:gd name="csY32" fmla="*/ 246275 h 254014"/>
                  <a:gd name="csX33" fmla="*/ 52681 w 209015"/>
                  <a:gd name="csY33" fmla="*/ 246315 h 254014"/>
                  <a:gd name="csX34" fmla="*/ 52244 w 209015"/>
                  <a:gd name="csY34" fmla="*/ 222423 h 254014"/>
                  <a:gd name="csX35" fmla="*/ 32678 w 209015"/>
                  <a:gd name="csY35" fmla="*/ 163408 h 254014"/>
                  <a:gd name="csX36" fmla="*/ 7715 w 209015"/>
                  <a:gd name="csY36" fmla="*/ 92605 h 254014"/>
                  <a:gd name="csX37" fmla="*/ 91852 w 209015"/>
                  <a:gd name="csY37" fmla="*/ 8190 h 254014"/>
                  <a:gd name="csX38" fmla="*/ 102092 w 209015"/>
                  <a:gd name="csY38" fmla="*/ 7674 h 254014"/>
                  <a:gd name="csX39" fmla="*/ 156979 w 209015"/>
                  <a:gd name="csY39" fmla="*/ 27677 h 254014"/>
                  <a:gd name="csX40" fmla="*/ 180514 w 209015"/>
                  <a:gd name="csY40" fmla="*/ 90700 h 254014"/>
                  <a:gd name="csX41" fmla="*/ 180514 w 209015"/>
                  <a:gd name="csY41" fmla="*/ 91296 h 254014"/>
                  <a:gd name="csX42" fmla="*/ 180197 w 209015"/>
                  <a:gd name="csY42" fmla="*/ 95264 h 254014"/>
                  <a:gd name="csX43" fmla="*/ 180514 w 209015"/>
                  <a:gd name="csY43" fmla="*/ 97408 h 254014"/>
                  <a:gd name="csX44" fmla="*/ 201271 w 209015"/>
                  <a:gd name="csY44" fmla="*/ 142215 h 254014"/>
                  <a:gd name="csX45" fmla="*/ 201231 w 209015"/>
                  <a:gd name="csY45" fmla="*/ 142612 h 25401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Lst>
                <a:rect l="l" t="t" r="r" b="b"/>
                <a:pathLst>
                  <a:path w="209015" h="254014">
                    <a:moveTo>
                      <a:pt x="208057" y="138802"/>
                    </a:moveTo>
                    <a:lnTo>
                      <a:pt x="187936" y="95304"/>
                    </a:lnTo>
                    <a:cubicBezTo>
                      <a:pt x="188134" y="93717"/>
                      <a:pt x="188134" y="93042"/>
                      <a:pt x="188174" y="91693"/>
                    </a:cubicBezTo>
                    <a:lnTo>
                      <a:pt x="188174" y="91097"/>
                    </a:lnTo>
                    <a:cubicBezTo>
                      <a:pt x="189087" y="63237"/>
                      <a:pt x="179839" y="38749"/>
                      <a:pt x="162178" y="22160"/>
                    </a:cubicBezTo>
                    <a:cubicBezTo>
                      <a:pt x="144518" y="5491"/>
                      <a:pt x="119197" y="-2168"/>
                      <a:pt x="90979" y="530"/>
                    </a:cubicBezTo>
                    <a:cubicBezTo>
                      <a:pt x="35694" y="5888"/>
                      <a:pt x="-858" y="42917"/>
                      <a:pt x="15" y="92605"/>
                    </a:cubicBezTo>
                    <a:cubicBezTo>
                      <a:pt x="452" y="117886"/>
                      <a:pt x="10374" y="146025"/>
                      <a:pt x="26527" y="167932"/>
                    </a:cubicBezTo>
                    <a:cubicBezTo>
                      <a:pt x="37957" y="183450"/>
                      <a:pt x="44227" y="202302"/>
                      <a:pt x="44584" y="222463"/>
                    </a:cubicBezTo>
                    <a:lnTo>
                      <a:pt x="45061" y="250204"/>
                    </a:lnTo>
                    <a:cubicBezTo>
                      <a:pt x="45061" y="251236"/>
                      <a:pt x="45497" y="252189"/>
                      <a:pt x="46251" y="252943"/>
                    </a:cubicBezTo>
                    <a:cubicBezTo>
                      <a:pt x="46966" y="253618"/>
                      <a:pt x="47958" y="254014"/>
                      <a:pt x="48990" y="254014"/>
                    </a:cubicBezTo>
                    <a:lnTo>
                      <a:pt x="150113" y="253975"/>
                    </a:lnTo>
                    <a:cubicBezTo>
                      <a:pt x="152257" y="253975"/>
                      <a:pt x="153923" y="252268"/>
                      <a:pt x="153884" y="250125"/>
                    </a:cubicBezTo>
                    <a:lnTo>
                      <a:pt x="153011" y="200635"/>
                    </a:lnTo>
                    <a:cubicBezTo>
                      <a:pt x="152971" y="199365"/>
                      <a:pt x="153447" y="198174"/>
                      <a:pt x="154320" y="197261"/>
                    </a:cubicBezTo>
                    <a:cubicBezTo>
                      <a:pt x="155193" y="196349"/>
                      <a:pt x="156384" y="195872"/>
                      <a:pt x="157654" y="195872"/>
                    </a:cubicBezTo>
                    <a:lnTo>
                      <a:pt x="174164" y="195872"/>
                    </a:lnTo>
                    <a:cubicBezTo>
                      <a:pt x="184364" y="195872"/>
                      <a:pt x="192539" y="187578"/>
                      <a:pt x="192341" y="177338"/>
                    </a:cubicBezTo>
                    <a:lnTo>
                      <a:pt x="191904" y="151660"/>
                    </a:lnTo>
                    <a:lnTo>
                      <a:pt x="201906" y="150470"/>
                    </a:lnTo>
                    <a:cubicBezTo>
                      <a:pt x="204604" y="150152"/>
                      <a:pt x="206906" y="148525"/>
                      <a:pt x="208097" y="146104"/>
                    </a:cubicBezTo>
                    <a:cubicBezTo>
                      <a:pt x="209367" y="143763"/>
                      <a:pt x="209288" y="140905"/>
                      <a:pt x="208057" y="138802"/>
                    </a:cubicBezTo>
                    <a:close/>
                    <a:moveTo>
                      <a:pt x="201231" y="142612"/>
                    </a:moveTo>
                    <a:cubicBezTo>
                      <a:pt x="201112" y="142810"/>
                      <a:pt x="200953" y="142850"/>
                      <a:pt x="200913" y="142850"/>
                    </a:cubicBezTo>
                    <a:lnTo>
                      <a:pt x="187539" y="144437"/>
                    </a:lnTo>
                    <a:cubicBezTo>
                      <a:pt x="185594" y="144675"/>
                      <a:pt x="184165" y="146303"/>
                      <a:pt x="184205" y="148247"/>
                    </a:cubicBezTo>
                    <a:lnTo>
                      <a:pt x="184721" y="177338"/>
                    </a:lnTo>
                    <a:cubicBezTo>
                      <a:pt x="184840" y="183291"/>
                      <a:pt x="180038" y="188173"/>
                      <a:pt x="174085" y="188173"/>
                    </a:cubicBezTo>
                    <a:lnTo>
                      <a:pt x="157575" y="188173"/>
                    </a:lnTo>
                    <a:cubicBezTo>
                      <a:pt x="154241" y="188173"/>
                      <a:pt x="151145" y="189483"/>
                      <a:pt x="148804" y="191824"/>
                    </a:cubicBezTo>
                    <a:cubicBezTo>
                      <a:pt x="146502" y="194166"/>
                      <a:pt x="145272" y="197301"/>
                      <a:pt x="145311" y="200635"/>
                    </a:cubicBezTo>
                    <a:lnTo>
                      <a:pt x="146105" y="246275"/>
                    </a:lnTo>
                    <a:lnTo>
                      <a:pt x="52681" y="246315"/>
                    </a:lnTo>
                    <a:lnTo>
                      <a:pt x="52244" y="222423"/>
                    </a:lnTo>
                    <a:cubicBezTo>
                      <a:pt x="51847" y="200635"/>
                      <a:pt x="45100" y="180235"/>
                      <a:pt x="32678" y="163408"/>
                    </a:cubicBezTo>
                    <a:cubicBezTo>
                      <a:pt x="17438" y="142770"/>
                      <a:pt x="8112" y="116299"/>
                      <a:pt x="7715" y="92605"/>
                    </a:cubicBezTo>
                    <a:cubicBezTo>
                      <a:pt x="6921" y="47084"/>
                      <a:pt x="40735" y="13151"/>
                      <a:pt x="91852" y="8190"/>
                    </a:cubicBezTo>
                    <a:cubicBezTo>
                      <a:pt x="95305" y="7873"/>
                      <a:pt x="98758" y="7674"/>
                      <a:pt x="102092" y="7674"/>
                    </a:cubicBezTo>
                    <a:cubicBezTo>
                      <a:pt x="123880" y="7674"/>
                      <a:pt x="143089" y="14619"/>
                      <a:pt x="156979" y="27677"/>
                    </a:cubicBezTo>
                    <a:cubicBezTo>
                      <a:pt x="172973" y="42718"/>
                      <a:pt x="181348" y="65062"/>
                      <a:pt x="180514" y="90700"/>
                    </a:cubicBezTo>
                    <a:lnTo>
                      <a:pt x="180514" y="91296"/>
                    </a:lnTo>
                    <a:cubicBezTo>
                      <a:pt x="180474" y="92645"/>
                      <a:pt x="180474" y="93201"/>
                      <a:pt x="180197" y="95264"/>
                    </a:cubicBezTo>
                    <a:cubicBezTo>
                      <a:pt x="180078" y="95979"/>
                      <a:pt x="180197" y="96733"/>
                      <a:pt x="180514" y="97408"/>
                    </a:cubicBezTo>
                    <a:lnTo>
                      <a:pt x="201271" y="142215"/>
                    </a:lnTo>
                    <a:cubicBezTo>
                      <a:pt x="201271" y="142254"/>
                      <a:pt x="201350" y="142413"/>
                      <a:pt x="201231" y="142612"/>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77" name="Freeform: Shape 204">
                <a:extLst>
                  <a:ext uri="{FF2B5EF4-FFF2-40B4-BE49-F238E27FC236}">
                    <a16:creationId xmlns:a16="http://schemas.microsoft.com/office/drawing/2014/main" id="{74638D6B-5DD3-FA6E-AEE8-500365D9BA53}"/>
                  </a:ext>
                </a:extLst>
              </p:cNvPr>
              <p:cNvSpPr/>
              <p:nvPr/>
            </p:nvSpPr>
            <p:spPr>
              <a:xfrm>
                <a:off x="966824" y="2285802"/>
                <a:ext cx="150778" cy="138945"/>
              </a:xfrm>
              <a:custGeom>
                <a:avLst/>
                <a:gdLst>
                  <a:gd name="csX0" fmla="*/ 150776 w 150778"/>
                  <a:gd name="csY0" fmla="*/ 69493 h 138945"/>
                  <a:gd name="csX1" fmla="*/ 141052 w 150778"/>
                  <a:gd name="csY1" fmla="*/ 50879 h 138945"/>
                  <a:gd name="csX2" fmla="*/ 143076 w 150778"/>
                  <a:gd name="csY2" fmla="*/ 42148 h 138945"/>
                  <a:gd name="csX3" fmla="*/ 123153 w 150778"/>
                  <a:gd name="csY3" fmla="*/ 23138 h 138945"/>
                  <a:gd name="csX4" fmla="*/ 122955 w 150778"/>
                  <a:gd name="csY4" fmla="*/ 23138 h 138945"/>
                  <a:gd name="csX5" fmla="*/ 122955 w 150778"/>
                  <a:gd name="csY5" fmla="*/ 23098 h 138945"/>
                  <a:gd name="csX6" fmla="*/ 108112 w 150778"/>
                  <a:gd name="csY6" fmla="*/ 8533 h 138945"/>
                  <a:gd name="csX7" fmla="*/ 102913 w 150778"/>
                  <a:gd name="csY7" fmla="*/ 9485 h 138945"/>
                  <a:gd name="csX8" fmla="*/ 99579 w 150778"/>
                  <a:gd name="csY8" fmla="*/ 3532 h 138945"/>
                  <a:gd name="csX9" fmla="*/ 91046 w 150778"/>
                  <a:gd name="csY9" fmla="*/ 0 h 138945"/>
                  <a:gd name="csX10" fmla="*/ 79259 w 150778"/>
                  <a:gd name="csY10" fmla="*/ 11986 h 138945"/>
                  <a:gd name="csX11" fmla="*/ 79537 w 150778"/>
                  <a:gd name="csY11" fmla="*/ 27027 h 138945"/>
                  <a:gd name="csX12" fmla="*/ 74139 w 150778"/>
                  <a:gd name="csY12" fmla="*/ 26670 h 138945"/>
                  <a:gd name="csX13" fmla="*/ 69535 w 150778"/>
                  <a:gd name="csY13" fmla="*/ 26908 h 138945"/>
                  <a:gd name="csX14" fmla="*/ 69258 w 150778"/>
                  <a:gd name="csY14" fmla="*/ 11986 h 138945"/>
                  <a:gd name="csX15" fmla="*/ 65567 w 150778"/>
                  <a:gd name="csY15" fmla="*/ 3453 h 138945"/>
                  <a:gd name="csX16" fmla="*/ 57193 w 150778"/>
                  <a:gd name="csY16" fmla="*/ 40 h 138945"/>
                  <a:gd name="csX17" fmla="*/ 48779 w 150778"/>
                  <a:gd name="csY17" fmla="*/ 3453 h 138945"/>
                  <a:gd name="csX18" fmla="*/ 45525 w 150778"/>
                  <a:gd name="csY18" fmla="*/ 9485 h 138945"/>
                  <a:gd name="csX19" fmla="*/ 40484 w 150778"/>
                  <a:gd name="csY19" fmla="*/ 8533 h 138945"/>
                  <a:gd name="csX20" fmla="*/ 26157 w 150778"/>
                  <a:gd name="csY20" fmla="*/ 23098 h 138945"/>
                  <a:gd name="csX21" fmla="*/ 26157 w 150778"/>
                  <a:gd name="csY21" fmla="*/ 23178 h 138945"/>
                  <a:gd name="csX22" fmla="*/ 25959 w 150778"/>
                  <a:gd name="csY22" fmla="*/ 23178 h 138945"/>
                  <a:gd name="csX23" fmla="*/ 6710 w 150778"/>
                  <a:gd name="csY23" fmla="*/ 42188 h 138945"/>
                  <a:gd name="csX24" fmla="*/ 9052 w 150778"/>
                  <a:gd name="csY24" fmla="*/ 50879 h 138945"/>
                  <a:gd name="csX25" fmla="*/ 3 w 150778"/>
                  <a:gd name="csY25" fmla="*/ 69533 h 138945"/>
                  <a:gd name="csX26" fmla="*/ 9687 w 150778"/>
                  <a:gd name="csY26" fmla="*/ 88106 h 138945"/>
                  <a:gd name="csX27" fmla="*/ 7663 w 150778"/>
                  <a:gd name="csY27" fmla="*/ 96838 h 138945"/>
                  <a:gd name="csX28" fmla="*/ 27546 w 150778"/>
                  <a:gd name="csY28" fmla="*/ 115808 h 138945"/>
                  <a:gd name="csX29" fmla="*/ 27824 w 150778"/>
                  <a:gd name="csY29" fmla="*/ 115808 h 138945"/>
                  <a:gd name="csX30" fmla="*/ 27824 w 150778"/>
                  <a:gd name="csY30" fmla="*/ 115888 h 138945"/>
                  <a:gd name="csX31" fmla="*/ 42667 w 150778"/>
                  <a:gd name="csY31" fmla="*/ 130453 h 138945"/>
                  <a:gd name="csX32" fmla="*/ 47826 w 150778"/>
                  <a:gd name="csY32" fmla="*/ 129500 h 138945"/>
                  <a:gd name="csX33" fmla="*/ 59733 w 150778"/>
                  <a:gd name="csY33" fmla="*/ 138946 h 138945"/>
                  <a:gd name="csX34" fmla="*/ 71480 w 150778"/>
                  <a:gd name="csY34" fmla="*/ 127000 h 138945"/>
                  <a:gd name="csX35" fmla="*/ 71163 w 150778"/>
                  <a:gd name="csY35" fmla="*/ 112117 h 138945"/>
                  <a:gd name="csX36" fmla="*/ 75727 w 150778"/>
                  <a:gd name="csY36" fmla="*/ 112355 h 138945"/>
                  <a:gd name="csX37" fmla="*/ 81124 w 150778"/>
                  <a:gd name="csY37" fmla="*/ 111958 h 138945"/>
                  <a:gd name="csX38" fmla="*/ 81402 w 150778"/>
                  <a:gd name="csY38" fmla="*/ 127000 h 138945"/>
                  <a:gd name="csX39" fmla="*/ 93586 w 150778"/>
                  <a:gd name="csY39" fmla="*/ 138946 h 138945"/>
                  <a:gd name="csX40" fmla="*/ 105095 w 150778"/>
                  <a:gd name="csY40" fmla="*/ 129461 h 138945"/>
                  <a:gd name="csX41" fmla="*/ 110334 w 150778"/>
                  <a:gd name="csY41" fmla="*/ 130413 h 138945"/>
                  <a:gd name="csX42" fmla="*/ 124622 w 150778"/>
                  <a:gd name="csY42" fmla="*/ 115848 h 138945"/>
                  <a:gd name="csX43" fmla="*/ 124622 w 150778"/>
                  <a:gd name="csY43" fmla="*/ 115808 h 138945"/>
                  <a:gd name="csX44" fmla="*/ 124820 w 150778"/>
                  <a:gd name="csY44" fmla="*/ 115808 h 138945"/>
                  <a:gd name="csX45" fmla="*/ 144069 w 150778"/>
                  <a:gd name="csY45" fmla="*/ 96758 h 138945"/>
                  <a:gd name="csX46" fmla="*/ 141767 w 150778"/>
                  <a:gd name="csY46" fmla="*/ 88027 h 138945"/>
                  <a:gd name="csX47" fmla="*/ 150776 w 150778"/>
                  <a:gd name="csY47" fmla="*/ 69493 h 138945"/>
                  <a:gd name="csX48" fmla="*/ 96483 w 150778"/>
                  <a:gd name="csY48" fmla="*/ 42108 h 138945"/>
                  <a:gd name="csX49" fmla="*/ 47945 w 150778"/>
                  <a:gd name="csY49" fmla="*/ 91480 h 138945"/>
                  <a:gd name="csX50" fmla="*/ 49692 w 150778"/>
                  <a:gd name="csY50" fmla="*/ 44648 h 138945"/>
                  <a:gd name="csX51" fmla="*/ 74377 w 150778"/>
                  <a:gd name="csY51" fmla="*/ 34369 h 138945"/>
                  <a:gd name="csX52" fmla="*/ 96483 w 150778"/>
                  <a:gd name="csY52" fmla="*/ 42108 h 138945"/>
                  <a:gd name="csX53" fmla="*/ 63741 w 150778"/>
                  <a:gd name="csY53" fmla="*/ 127040 h 138945"/>
                  <a:gd name="csX54" fmla="*/ 59574 w 150778"/>
                  <a:gd name="csY54" fmla="*/ 131286 h 138945"/>
                  <a:gd name="csX55" fmla="*/ 55208 w 150778"/>
                  <a:gd name="csY55" fmla="*/ 127040 h 138945"/>
                  <a:gd name="csX56" fmla="*/ 55129 w 150778"/>
                  <a:gd name="csY56" fmla="*/ 122079 h 138945"/>
                  <a:gd name="csX57" fmla="*/ 52390 w 150778"/>
                  <a:gd name="csY57" fmla="*/ 118428 h 138945"/>
                  <a:gd name="csX58" fmla="*/ 48104 w 150778"/>
                  <a:gd name="csY58" fmla="*/ 119896 h 138945"/>
                  <a:gd name="csX59" fmla="*/ 42548 w 150778"/>
                  <a:gd name="csY59" fmla="*/ 122833 h 138945"/>
                  <a:gd name="csX60" fmla="*/ 35523 w 150778"/>
                  <a:gd name="csY60" fmla="*/ 115967 h 138945"/>
                  <a:gd name="csX61" fmla="*/ 36158 w 150778"/>
                  <a:gd name="csY61" fmla="*/ 112871 h 138945"/>
                  <a:gd name="csX62" fmla="*/ 35484 w 150778"/>
                  <a:gd name="csY62" fmla="*/ 108625 h 138945"/>
                  <a:gd name="csX63" fmla="*/ 31277 w 150778"/>
                  <a:gd name="csY63" fmla="*/ 107593 h 138945"/>
                  <a:gd name="csX64" fmla="*/ 27427 w 150778"/>
                  <a:gd name="csY64" fmla="*/ 108228 h 138945"/>
                  <a:gd name="csX65" fmla="*/ 15362 w 150778"/>
                  <a:gd name="csY65" fmla="*/ 96917 h 138945"/>
                  <a:gd name="csX66" fmla="*/ 18061 w 150778"/>
                  <a:gd name="csY66" fmla="*/ 89614 h 138945"/>
                  <a:gd name="csX67" fmla="*/ 18140 w 150778"/>
                  <a:gd name="csY67" fmla="*/ 89416 h 138945"/>
                  <a:gd name="csX68" fmla="*/ 18537 w 150778"/>
                  <a:gd name="csY68" fmla="*/ 88940 h 138945"/>
                  <a:gd name="csX69" fmla="*/ 26594 w 150778"/>
                  <a:gd name="csY69" fmla="*/ 81399 h 138945"/>
                  <a:gd name="csX70" fmla="*/ 27229 w 150778"/>
                  <a:gd name="csY70" fmla="*/ 76002 h 138945"/>
                  <a:gd name="csX71" fmla="*/ 21831 w 150778"/>
                  <a:gd name="csY71" fmla="*/ 75248 h 138945"/>
                  <a:gd name="csX72" fmla="*/ 14211 w 150778"/>
                  <a:gd name="csY72" fmla="*/ 81994 h 138945"/>
                  <a:gd name="csX73" fmla="*/ 7702 w 150778"/>
                  <a:gd name="csY73" fmla="*/ 69572 h 138945"/>
                  <a:gd name="csX74" fmla="*/ 14211 w 150778"/>
                  <a:gd name="csY74" fmla="*/ 56753 h 138945"/>
                  <a:gd name="csX75" fmla="*/ 20879 w 150778"/>
                  <a:gd name="csY75" fmla="*/ 60484 h 138945"/>
                  <a:gd name="csX76" fmla="*/ 22426 w 150778"/>
                  <a:gd name="csY76" fmla="*/ 60801 h 138945"/>
                  <a:gd name="csX77" fmla="*/ 25919 w 150778"/>
                  <a:gd name="csY77" fmla="*/ 58499 h 138945"/>
                  <a:gd name="csX78" fmla="*/ 23855 w 150778"/>
                  <a:gd name="csY78" fmla="*/ 53419 h 138945"/>
                  <a:gd name="csX79" fmla="*/ 17346 w 150778"/>
                  <a:gd name="csY79" fmla="*/ 49490 h 138945"/>
                  <a:gd name="csX80" fmla="*/ 14370 w 150778"/>
                  <a:gd name="csY80" fmla="*/ 42227 h 138945"/>
                  <a:gd name="csX81" fmla="*/ 26038 w 150778"/>
                  <a:gd name="csY81" fmla="*/ 30917 h 138945"/>
                  <a:gd name="csX82" fmla="*/ 29848 w 150778"/>
                  <a:gd name="csY82" fmla="*/ 31552 h 138945"/>
                  <a:gd name="csX83" fmla="*/ 33975 w 150778"/>
                  <a:gd name="csY83" fmla="*/ 30520 h 138945"/>
                  <a:gd name="csX84" fmla="*/ 34531 w 150778"/>
                  <a:gd name="csY84" fmla="*/ 26273 h 138945"/>
                  <a:gd name="csX85" fmla="*/ 33777 w 150778"/>
                  <a:gd name="csY85" fmla="*/ 23178 h 138945"/>
                  <a:gd name="csX86" fmla="*/ 40524 w 150778"/>
                  <a:gd name="csY86" fmla="*/ 16312 h 138945"/>
                  <a:gd name="csX87" fmla="*/ 46160 w 150778"/>
                  <a:gd name="csY87" fmla="*/ 19248 h 138945"/>
                  <a:gd name="csX88" fmla="*/ 50485 w 150778"/>
                  <a:gd name="csY88" fmla="*/ 20717 h 138945"/>
                  <a:gd name="csX89" fmla="*/ 53105 w 150778"/>
                  <a:gd name="csY89" fmla="*/ 17026 h 138945"/>
                  <a:gd name="csX90" fmla="*/ 53145 w 150778"/>
                  <a:gd name="csY90" fmla="*/ 11986 h 138945"/>
                  <a:gd name="csX91" fmla="*/ 54375 w 150778"/>
                  <a:gd name="csY91" fmla="*/ 8969 h 138945"/>
                  <a:gd name="csX92" fmla="*/ 57391 w 150778"/>
                  <a:gd name="csY92" fmla="*/ 7739 h 138945"/>
                  <a:gd name="csX93" fmla="*/ 60368 w 150778"/>
                  <a:gd name="csY93" fmla="*/ 8930 h 138945"/>
                  <a:gd name="csX94" fmla="*/ 61677 w 150778"/>
                  <a:gd name="csY94" fmla="*/ 11986 h 138945"/>
                  <a:gd name="csX95" fmla="*/ 61955 w 150778"/>
                  <a:gd name="csY95" fmla="*/ 28456 h 138945"/>
                  <a:gd name="csX96" fmla="*/ 44135 w 150778"/>
                  <a:gd name="csY96" fmla="*/ 39211 h 138945"/>
                  <a:gd name="csX97" fmla="*/ 45207 w 150778"/>
                  <a:gd name="csY97" fmla="*/ 99814 h 138945"/>
                  <a:gd name="csX98" fmla="*/ 63424 w 150778"/>
                  <a:gd name="csY98" fmla="*/ 110569 h 138945"/>
                  <a:gd name="csX99" fmla="*/ 53502 w 150778"/>
                  <a:gd name="csY99" fmla="*/ 96917 h 138945"/>
                  <a:gd name="csX100" fmla="*/ 102040 w 150778"/>
                  <a:gd name="csY100" fmla="*/ 47546 h 138945"/>
                  <a:gd name="csX101" fmla="*/ 110136 w 150778"/>
                  <a:gd name="csY101" fmla="*/ 69533 h 138945"/>
                  <a:gd name="csX102" fmla="*/ 100293 w 150778"/>
                  <a:gd name="csY102" fmla="*/ 94377 h 138945"/>
                  <a:gd name="csX103" fmla="*/ 75608 w 150778"/>
                  <a:gd name="csY103" fmla="*/ 104656 h 138945"/>
                  <a:gd name="csX104" fmla="*/ 53502 w 150778"/>
                  <a:gd name="csY104" fmla="*/ 96917 h 138945"/>
                  <a:gd name="csX105" fmla="*/ 137004 w 150778"/>
                  <a:gd name="csY105" fmla="*/ 81915 h 138945"/>
                  <a:gd name="csX106" fmla="*/ 129146 w 150778"/>
                  <a:gd name="csY106" fmla="*/ 75168 h 138945"/>
                  <a:gd name="csX107" fmla="*/ 123788 w 150778"/>
                  <a:gd name="csY107" fmla="*/ 75922 h 138945"/>
                  <a:gd name="csX108" fmla="*/ 124622 w 150778"/>
                  <a:gd name="csY108" fmla="*/ 81320 h 138945"/>
                  <a:gd name="csX109" fmla="*/ 132916 w 150778"/>
                  <a:gd name="csY109" fmla="*/ 88860 h 138945"/>
                  <a:gd name="csX110" fmla="*/ 133432 w 150778"/>
                  <a:gd name="csY110" fmla="*/ 89495 h 138945"/>
                  <a:gd name="csX111" fmla="*/ 136369 w 150778"/>
                  <a:gd name="csY111" fmla="*/ 96798 h 138945"/>
                  <a:gd name="csX112" fmla="*/ 124701 w 150778"/>
                  <a:gd name="csY112" fmla="*/ 108148 h 138945"/>
                  <a:gd name="csX113" fmla="*/ 120812 w 150778"/>
                  <a:gd name="csY113" fmla="*/ 107513 h 138945"/>
                  <a:gd name="csX114" fmla="*/ 116684 w 150778"/>
                  <a:gd name="csY114" fmla="*/ 108625 h 138945"/>
                  <a:gd name="csX115" fmla="*/ 116208 w 150778"/>
                  <a:gd name="csY115" fmla="*/ 112871 h 138945"/>
                  <a:gd name="csX116" fmla="*/ 116922 w 150778"/>
                  <a:gd name="csY116" fmla="*/ 115888 h 138945"/>
                  <a:gd name="csX117" fmla="*/ 110215 w 150778"/>
                  <a:gd name="csY117" fmla="*/ 122753 h 138945"/>
                  <a:gd name="csX118" fmla="*/ 104500 w 150778"/>
                  <a:gd name="csY118" fmla="*/ 119817 h 138945"/>
                  <a:gd name="csX119" fmla="*/ 100174 w 150778"/>
                  <a:gd name="csY119" fmla="*/ 118388 h 138945"/>
                  <a:gd name="csX120" fmla="*/ 97555 w 150778"/>
                  <a:gd name="csY120" fmla="*/ 122039 h 138945"/>
                  <a:gd name="csX121" fmla="*/ 97634 w 150778"/>
                  <a:gd name="csY121" fmla="*/ 126960 h 138945"/>
                  <a:gd name="csX122" fmla="*/ 93467 w 150778"/>
                  <a:gd name="csY122" fmla="*/ 131247 h 138945"/>
                  <a:gd name="csX123" fmla="*/ 89101 w 150778"/>
                  <a:gd name="csY123" fmla="*/ 127000 h 138945"/>
                  <a:gd name="csX124" fmla="*/ 88824 w 150778"/>
                  <a:gd name="csY124" fmla="*/ 110252 h 138945"/>
                  <a:gd name="csX125" fmla="*/ 105810 w 150778"/>
                  <a:gd name="csY125" fmla="*/ 99774 h 138945"/>
                  <a:gd name="csX126" fmla="*/ 117835 w 150778"/>
                  <a:gd name="csY126" fmla="*/ 69493 h 138945"/>
                  <a:gd name="csX127" fmla="*/ 104738 w 150778"/>
                  <a:gd name="csY127" fmla="*/ 39211 h 138945"/>
                  <a:gd name="csX128" fmla="*/ 87315 w 150778"/>
                  <a:gd name="csY128" fmla="*/ 28694 h 138945"/>
                  <a:gd name="csX129" fmla="*/ 87038 w 150778"/>
                  <a:gd name="csY129" fmla="*/ 11986 h 138945"/>
                  <a:gd name="csX130" fmla="*/ 91245 w 150778"/>
                  <a:gd name="csY130" fmla="*/ 7699 h 138945"/>
                  <a:gd name="csX131" fmla="*/ 94300 w 150778"/>
                  <a:gd name="csY131" fmla="*/ 9009 h 138945"/>
                  <a:gd name="csX132" fmla="*/ 95570 w 150778"/>
                  <a:gd name="csY132" fmla="*/ 11986 h 138945"/>
                  <a:gd name="csX133" fmla="*/ 95650 w 150778"/>
                  <a:gd name="csY133" fmla="*/ 16907 h 138945"/>
                  <a:gd name="csX134" fmla="*/ 98388 w 150778"/>
                  <a:gd name="csY134" fmla="*/ 20558 h 138945"/>
                  <a:gd name="csX135" fmla="*/ 102675 w 150778"/>
                  <a:gd name="csY135" fmla="*/ 19129 h 138945"/>
                  <a:gd name="csX136" fmla="*/ 108310 w 150778"/>
                  <a:gd name="csY136" fmla="*/ 16193 h 138945"/>
                  <a:gd name="csX137" fmla="*/ 115335 w 150778"/>
                  <a:gd name="csY137" fmla="*/ 23058 h 138945"/>
                  <a:gd name="csX138" fmla="*/ 114700 w 150778"/>
                  <a:gd name="csY138" fmla="*/ 26114 h 138945"/>
                  <a:gd name="csX139" fmla="*/ 115335 w 150778"/>
                  <a:gd name="csY139" fmla="*/ 30361 h 138945"/>
                  <a:gd name="csX140" fmla="*/ 119502 w 150778"/>
                  <a:gd name="csY140" fmla="*/ 31472 h 138945"/>
                  <a:gd name="csX141" fmla="*/ 123352 w 150778"/>
                  <a:gd name="csY141" fmla="*/ 30837 h 138945"/>
                  <a:gd name="csX142" fmla="*/ 135417 w 150778"/>
                  <a:gd name="csY142" fmla="*/ 42148 h 138945"/>
                  <a:gd name="csX143" fmla="*/ 132758 w 150778"/>
                  <a:gd name="csY143" fmla="*/ 49411 h 138945"/>
                  <a:gd name="csX144" fmla="*/ 126368 w 150778"/>
                  <a:gd name="csY144" fmla="*/ 53380 h 138945"/>
                  <a:gd name="csX145" fmla="*/ 124503 w 150778"/>
                  <a:gd name="csY145" fmla="*/ 58460 h 138945"/>
                  <a:gd name="csX146" fmla="*/ 128075 w 150778"/>
                  <a:gd name="csY146" fmla="*/ 60762 h 138945"/>
                  <a:gd name="csX147" fmla="*/ 129622 w 150778"/>
                  <a:gd name="csY147" fmla="*/ 60444 h 138945"/>
                  <a:gd name="csX148" fmla="*/ 136131 w 150778"/>
                  <a:gd name="csY148" fmla="*/ 56753 h 138945"/>
                  <a:gd name="csX149" fmla="*/ 143156 w 150778"/>
                  <a:gd name="csY149" fmla="*/ 69572 h 138945"/>
                  <a:gd name="csX150" fmla="*/ 137004 w 150778"/>
                  <a:gd name="csY150" fmla="*/ 81915 h 13894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Lst>
                <a:rect l="l" t="t" r="r" b="b"/>
                <a:pathLst>
                  <a:path w="150778" h="138945">
                    <a:moveTo>
                      <a:pt x="150776" y="69493"/>
                    </a:moveTo>
                    <a:cubicBezTo>
                      <a:pt x="150657" y="62111"/>
                      <a:pt x="146966" y="55205"/>
                      <a:pt x="141052" y="50879"/>
                    </a:cubicBezTo>
                    <a:cubicBezTo>
                      <a:pt x="142441" y="48220"/>
                      <a:pt x="143156" y="45244"/>
                      <a:pt x="143076" y="42148"/>
                    </a:cubicBezTo>
                    <a:cubicBezTo>
                      <a:pt x="142878" y="31671"/>
                      <a:pt x="133948" y="23138"/>
                      <a:pt x="123153" y="23138"/>
                    </a:cubicBezTo>
                    <a:cubicBezTo>
                      <a:pt x="123074" y="23138"/>
                      <a:pt x="123034" y="23138"/>
                      <a:pt x="122955" y="23138"/>
                    </a:cubicBezTo>
                    <a:cubicBezTo>
                      <a:pt x="122955" y="23138"/>
                      <a:pt x="122955" y="23138"/>
                      <a:pt x="122955" y="23098"/>
                    </a:cubicBezTo>
                    <a:cubicBezTo>
                      <a:pt x="122796" y="15042"/>
                      <a:pt x="116168" y="8533"/>
                      <a:pt x="108112" y="8533"/>
                    </a:cubicBezTo>
                    <a:cubicBezTo>
                      <a:pt x="106286" y="8533"/>
                      <a:pt x="104540" y="8850"/>
                      <a:pt x="102913" y="9485"/>
                    </a:cubicBezTo>
                    <a:cubicBezTo>
                      <a:pt x="102397" y="7223"/>
                      <a:pt x="101246" y="5120"/>
                      <a:pt x="99579" y="3532"/>
                    </a:cubicBezTo>
                    <a:cubicBezTo>
                      <a:pt x="97277" y="1270"/>
                      <a:pt x="94221" y="0"/>
                      <a:pt x="91046" y="0"/>
                    </a:cubicBezTo>
                    <a:cubicBezTo>
                      <a:pt x="84458" y="0"/>
                      <a:pt x="79140" y="5358"/>
                      <a:pt x="79259" y="11986"/>
                    </a:cubicBezTo>
                    <a:lnTo>
                      <a:pt x="79537" y="27027"/>
                    </a:lnTo>
                    <a:cubicBezTo>
                      <a:pt x="77751" y="26789"/>
                      <a:pt x="75965" y="26670"/>
                      <a:pt x="74139" y="26670"/>
                    </a:cubicBezTo>
                    <a:cubicBezTo>
                      <a:pt x="72591" y="26670"/>
                      <a:pt x="71044" y="26749"/>
                      <a:pt x="69535" y="26908"/>
                    </a:cubicBezTo>
                    <a:lnTo>
                      <a:pt x="69258" y="11986"/>
                    </a:lnTo>
                    <a:cubicBezTo>
                      <a:pt x="69218" y="8771"/>
                      <a:pt x="67908" y="5715"/>
                      <a:pt x="65567" y="3453"/>
                    </a:cubicBezTo>
                    <a:cubicBezTo>
                      <a:pt x="63305" y="1230"/>
                      <a:pt x="60328" y="40"/>
                      <a:pt x="57193" y="40"/>
                    </a:cubicBezTo>
                    <a:cubicBezTo>
                      <a:pt x="53938" y="40"/>
                      <a:pt x="50922" y="1270"/>
                      <a:pt x="48779" y="3453"/>
                    </a:cubicBezTo>
                    <a:cubicBezTo>
                      <a:pt x="47112" y="5040"/>
                      <a:pt x="46001" y="7183"/>
                      <a:pt x="45525" y="9485"/>
                    </a:cubicBezTo>
                    <a:cubicBezTo>
                      <a:pt x="44016" y="8850"/>
                      <a:pt x="42270" y="8533"/>
                      <a:pt x="40484" y="8533"/>
                    </a:cubicBezTo>
                    <a:cubicBezTo>
                      <a:pt x="32428" y="8533"/>
                      <a:pt x="25998" y="15081"/>
                      <a:pt x="26157" y="23098"/>
                    </a:cubicBezTo>
                    <a:lnTo>
                      <a:pt x="26157" y="23178"/>
                    </a:lnTo>
                    <a:cubicBezTo>
                      <a:pt x="26078" y="23178"/>
                      <a:pt x="26038" y="23178"/>
                      <a:pt x="25959" y="23178"/>
                    </a:cubicBezTo>
                    <a:cubicBezTo>
                      <a:pt x="15164" y="23178"/>
                      <a:pt x="6512" y="31710"/>
                      <a:pt x="6710" y="42188"/>
                    </a:cubicBezTo>
                    <a:cubicBezTo>
                      <a:pt x="6750" y="45244"/>
                      <a:pt x="7583" y="48220"/>
                      <a:pt x="9052" y="50879"/>
                    </a:cubicBezTo>
                    <a:cubicBezTo>
                      <a:pt x="3337" y="55205"/>
                      <a:pt x="-116" y="62151"/>
                      <a:pt x="3" y="69533"/>
                    </a:cubicBezTo>
                    <a:cubicBezTo>
                      <a:pt x="122" y="76914"/>
                      <a:pt x="3813" y="83820"/>
                      <a:pt x="9687" y="88106"/>
                    </a:cubicBezTo>
                    <a:cubicBezTo>
                      <a:pt x="8298" y="90765"/>
                      <a:pt x="7583" y="93782"/>
                      <a:pt x="7663" y="96838"/>
                    </a:cubicBezTo>
                    <a:cubicBezTo>
                      <a:pt x="7901" y="107315"/>
                      <a:pt x="16791" y="115808"/>
                      <a:pt x="27546" y="115808"/>
                    </a:cubicBezTo>
                    <a:lnTo>
                      <a:pt x="27824" y="115808"/>
                    </a:lnTo>
                    <a:lnTo>
                      <a:pt x="27824" y="115888"/>
                    </a:lnTo>
                    <a:cubicBezTo>
                      <a:pt x="27983" y="123944"/>
                      <a:pt x="34610" y="130453"/>
                      <a:pt x="42667" y="130453"/>
                    </a:cubicBezTo>
                    <a:cubicBezTo>
                      <a:pt x="44453" y="130453"/>
                      <a:pt x="46199" y="130135"/>
                      <a:pt x="47826" y="129500"/>
                    </a:cubicBezTo>
                    <a:cubicBezTo>
                      <a:pt x="49096" y="134898"/>
                      <a:pt x="53978" y="138946"/>
                      <a:pt x="59733" y="138946"/>
                    </a:cubicBezTo>
                    <a:cubicBezTo>
                      <a:pt x="66321" y="138946"/>
                      <a:pt x="71599" y="133588"/>
                      <a:pt x="71480" y="127000"/>
                    </a:cubicBezTo>
                    <a:lnTo>
                      <a:pt x="71163" y="112117"/>
                    </a:lnTo>
                    <a:cubicBezTo>
                      <a:pt x="72671" y="112276"/>
                      <a:pt x="74179" y="112355"/>
                      <a:pt x="75727" y="112355"/>
                    </a:cubicBezTo>
                    <a:cubicBezTo>
                      <a:pt x="77552" y="112355"/>
                      <a:pt x="79338" y="112197"/>
                      <a:pt x="81124" y="111958"/>
                    </a:cubicBezTo>
                    <a:lnTo>
                      <a:pt x="81402" y="127000"/>
                    </a:lnTo>
                    <a:cubicBezTo>
                      <a:pt x="81521" y="133588"/>
                      <a:pt x="86998" y="138946"/>
                      <a:pt x="93586" y="138946"/>
                    </a:cubicBezTo>
                    <a:cubicBezTo>
                      <a:pt x="99301" y="138946"/>
                      <a:pt x="104064" y="134858"/>
                      <a:pt x="105095" y="129461"/>
                    </a:cubicBezTo>
                    <a:cubicBezTo>
                      <a:pt x="106762" y="130096"/>
                      <a:pt x="108509" y="130413"/>
                      <a:pt x="110334" y="130413"/>
                    </a:cubicBezTo>
                    <a:cubicBezTo>
                      <a:pt x="118351" y="130413"/>
                      <a:pt x="124780" y="123865"/>
                      <a:pt x="124622" y="115848"/>
                    </a:cubicBezTo>
                    <a:cubicBezTo>
                      <a:pt x="124622" y="115848"/>
                      <a:pt x="124622" y="115848"/>
                      <a:pt x="124622" y="115808"/>
                    </a:cubicBezTo>
                    <a:lnTo>
                      <a:pt x="124820" y="115808"/>
                    </a:lnTo>
                    <a:cubicBezTo>
                      <a:pt x="135615" y="115808"/>
                      <a:pt x="144267" y="107275"/>
                      <a:pt x="144069" y="96758"/>
                    </a:cubicBezTo>
                    <a:cubicBezTo>
                      <a:pt x="144029" y="93663"/>
                      <a:pt x="143235" y="90686"/>
                      <a:pt x="141767" y="88027"/>
                    </a:cubicBezTo>
                    <a:cubicBezTo>
                      <a:pt x="147482" y="83780"/>
                      <a:pt x="150895" y="76875"/>
                      <a:pt x="150776" y="69493"/>
                    </a:cubicBezTo>
                    <a:close/>
                    <a:moveTo>
                      <a:pt x="96483" y="42108"/>
                    </a:moveTo>
                    <a:lnTo>
                      <a:pt x="47945" y="91480"/>
                    </a:lnTo>
                    <a:cubicBezTo>
                      <a:pt x="36635" y="77708"/>
                      <a:pt x="37150" y="57428"/>
                      <a:pt x="49692" y="44648"/>
                    </a:cubicBezTo>
                    <a:cubicBezTo>
                      <a:pt x="56200" y="38021"/>
                      <a:pt x="64971" y="34369"/>
                      <a:pt x="74377" y="34369"/>
                    </a:cubicBezTo>
                    <a:cubicBezTo>
                      <a:pt x="82474" y="34369"/>
                      <a:pt x="90173" y="37108"/>
                      <a:pt x="96483" y="42108"/>
                    </a:cubicBezTo>
                    <a:close/>
                    <a:moveTo>
                      <a:pt x="63741" y="127040"/>
                    </a:moveTo>
                    <a:cubicBezTo>
                      <a:pt x="63781" y="129381"/>
                      <a:pt x="61915" y="131286"/>
                      <a:pt x="59574" y="131286"/>
                    </a:cubicBezTo>
                    <a:cubicBezTo>
                      <a:pt x="57193" y="131286"/>
                      <a:pt x="55248" y="129381"/>
                      <a:pt x="55208" y="127040"/>
                    </a:cubicBezTo>
                    <a:lnTo>
                      <a:pt x="55129" y="122079"/>
                    </a:lnTo>
                    <a:cubicBezTo>
                      <a:pt x="55089" y="120412"/>
                      <a:pt x="53978" y="118904"/>
                      <a:pt x="52390" y="118428"/>
                    </a:cubicBezTo>
                    <a:cubicBezTo>
                      <a:pt x="50763" y="117912"/>
                      <a:pt x="49057" y="118507"/>
                      <a:pt x="48104" y="119896"/>
                    </a:cubicBezTo>
                    <a:cubicBezTo>
                      <a:pt x="46834" y="121722"/>
                      <a:pt x="44770" y="122833"/>
                      <a:pt x="42548" y="122833"/>
                    </a:cubicBezTo>
                    <a:cubicBezTo>
                      <a:pt x="38738" y="122833"/>
                      <a:pt x="35603" y="119737"/>
                      <a:pt x="35523" y="115967"/>
                    </a:cubicBezTo>
                    <a:cubicBezTo>
                      <a:pt x="35523" y="114895"/>
                      <a:pt x="35722" y="113824"/>
                      <a:pt x="36158" y="112871"/>
                    </a:cubicBezTo>
                    <a:cubicBezTo>
                      <a:pt x="36833" y="111443"/>
                      <a:pt x="36555" y="109776"/>
                      <a:pt x="35484" y="108625"/>
                    </a:cubicBezTo>
                    <a:cubicBezTo>
                      <a:pt x="34412" y="107474"/>
                      <a:pt x="32745" y="107037"/>
                      <a:pt x="31277" y="107593"/>
                    </a:cubicBezTo>
                    <a:cubicBezTo>
                      <a:pt x="30126" y="108029"/>
                      <a:pt x="28856" y="108148"/>
                      <a:pt x="27427" y="108228"/>
                    </a:cubicBezTo>
                    <a:cubicBezTo>
                      <a:pt x="20918" y="108228"/>
                      <a:pt x="15521" y="103148"/>
                      <a:pt x="15362" y="96917"/>
                    </a:cubicBezTo>
                    <a:cubicBezTo>
                      <a:pt x="15322" y="94218"/>
                      <a:pt x="16275" y="91638"/>
                      <a:pt x="18061" y="89614"/>
                    </a:cubicBezTo>
                    <a:cubicBezTo>
                      <a:pt x="18100" y="89575"/>
                      <a:pt x="18100" y="89495"/>
                      <a:pt x="18140" y="89416"/>
                    </a:cubicBezTo>
                    <a:cubicBezTo>
                      <a:pt x="18259" y="89257"/>
                      <a:pt x="18418" y="89098"/>
                      <a:pt x="18537" y="88940"/>
                    </a:cubicBezTo>
                    <a:cubicBezTo>
                      <a:pt x="18537" y="88900"/>
                      <a:pt x="20125" y="86320"/>
                      <a:pt x="26594" y="81399"/>
                    </a:cubicBezTo>
                    <a:cubicBezTo>
                      <a:pt x="28260" y="80129"/>
                      <a:pt x="28578" y="77708"/>
                      <a:pt x="27229" y="76002"/>
                    </a:cubicBezTo>
                    <a:cubicBezTo>
                      <a:pt x="25919" y="74295"/>
                      <a:pt x="23498" y="73978"/>
                      <a:pt x="21831" y="75248"/>
                    </a:cubicBezTo>
                    <a:cubicBezTo>
                      <a:pt x="18100" y="78105"/>
                      <a:pt x="15719" y="80367"/>
                      <a:pt x="14211" y="81994"/>
                    </a:cubicBezTo>
                    <a:cubicBezTo>
                      <a:pt x="10242" y="79137"/>
                      <a:pt x="7782" y="74613"/>
                      <a:pt x="7702" y="69572"/>
                    </a:cubicBezTo>
                    <a:cubicBezTo>
                      <a:pt x="7623" y="64413"/>
                      <a:pt x="10123" y="59611"/>
                      <a:pt x="14211" y="56753"/>
                    </a:cubicBezTo>
                    <a:cubicBezTo>
                      <a:pt x="15680" y="57825"/>
                      <a:pt x="17862" y="59134"/>
                      <a:pt x="20879" y="60484"/>
                    </a:cubicBezTo>
                    <a:cubicBezTo>
                      <a:pt x="21395" y="60722"/>
                      <a:pt x="21910" y="60801"/>
                      <a:pt x="22426" y="60801"/>
                    </a:cubicBezTo>
                    <a:cubicBezTo>
                      <a:pt x="23895" y="60801"/>
                      <a:pt x="25284" y="59928"/>
                      <a:pt x="25919" y="58499"/>
                    </a:cubicBezTo>
                    <a:cubicBezTo>
                      <a:pt x="26752" y="56555"/>
                      <a:pt x="25800" y="54293"/>
                      <a:pt x="23855" y="53419"/>
                    </a:cubicBezTo>
                    <a:cubicBezTo>
                      <a:pt x="19609" y="51554"/>
                      <a:pt x="17624" y="49768"/>
                      <a:pt x="17346" y="49490"/>
                    </a:cubicBezTo>
                    <a:cubicBezTo>
                      <a:pt x="15481" y="47506"/>
                      <a:pt x="14449" y="44926"/>
                      <a:pt x="14370" y="42227"/>
                    </a:cubicBezTo>
                    <a:cubicBezTo>
                      <a:pt x="14251" y="35997"/>
                      <a:pt x="19490" y="30917"/>
                      <a:pt x="26038" y="30917"/>
                    </a:cubicBezTo>
                    <a:cubicBezTo>
                      <a:pt x="27427" y="30917"/>
                      <a:pt x="28697" y="31115"/>
                      <a:pt x="29848" y="31552"/>
                    </a:cubicBezTo>
                    <a:cubicBezTo>
                      <a:pt x="31316" y="32068"/>
                      <a:pt x="32944" y="31671"/>
                      <a:pt x="33975" y="30520"/>
                    </a:cubicBezTo>
                    <a:cubicBezTo>
                      <a:pt x="35007" y="29369"/>
                      <a:pt x="35245" y="27702"/>
                      <a:pt x="34531" y="26273"/>
                    </a:cubicBezTo>
                    <a:cubicBezTo>
                      <a:pt x="34015" y="25281"/>
                      <a:pt x="33777" y="24249"/>
                      <a:pt x="33777" y="23178"/>
                    </a:cubicBezTo>
                    <a:cubicBezTo>
                      <a:pt x="33698" y="19368"/>
                      <a:pt x="36754" y="16312"/>
                      <a:pt x="40524" y="16312"/>
                    </a:cubicBezTo>
                    <a:cubicBezTo>
                      <a:pt x="42786" y="16312"/>
                      <a:pt x="44850" y="17383"/>
                      <a:pt x="46160" y="19248"/>
                    </a:cubicBezTo>
                    <a:cubicBezTo>
                      <a:pt x="47152" y="20638"/>
                      <a:pt x="48898" y="21233"/>
                      <a:pt x="50485" y="20717"/>
                    </a:cubicBezTo>
                    <a:cubicBezTo>
                      <a:pt x="52073" y="20201"/>
                      <a:pt x="53145" y="18733"/>
                      <a:pt x="53105" y="17026"/>
                    </a:cubicBezTo>
                    <a:lnTo>
                      <a:pt x="53145" y="11986"/>
                    </a:lnTo>
                    <a:cubicBezTo>
                      <a:pt x="53105" y="10835"/>
                      <a:pt x="53541" y="9763"/>
                      <a:pt x="54375" y="8969"/>
                    </a:cubicBezTo>
                    <a:cubicBezTo>
                      <a:pt x="55169" y="8176"/>
                      <a:pt x="56200" y="7739"/>
                      <a:pt x="57391" y="7739"/>
                    </a:cubicBezTo>
                    <a:cubicBezTo>
                      <a:pt x="58463" y="7818"/>
                      <a:pt x="59574" y="8176"/>
                      <a:pt x="60368" y="8930"/>
                    </a:cubicBezTo>
                    <a:cubicBezTo>
                      <a:pt x="61201" y="9723"/>
                      <a:pt x="61677" y="10835"/>
                      <a:pt x="61677" y="11986"/>
                    </a:cubicBezTo>
                    <a:lnTo>
                      <a:pt x="61955" y="28456"/>
                    </a:lnTo>
                    <a:cubicBezTo>
                      <a:pt x="55248" y="30480"/>
                      <a:pt x="49176" y="34092"/>
                      <a:pt x="44135" y="39211"/>
                    </a:cubicBezTo>
                    <a:cubicBezTo>
                      <a:pt x="27745" y="55920"/>
                      <a:pt x="28181" y="83106"/>
                      <a:pt x="45207" y="99814"/>
                    </a:cubicBezTo>
                    <a:cubicBezTo>
                      <a:pt x="50406" y="104934"/>
                      <a:pt x="56637" y="108585"/>
                      <a:pt x="63424" y="110569"/>
                    </a:cubicBezTo>
                    <a:close/>
                    <a:moveTo>
                      <a:pt x="53502" y="96917"/>
                    </a:moveTo>
                    <a:lnTo>
                      <a:pt x="102040" y="47546"/>
                    </a:lnTo>
                    <a:cubicBezTo>
                      <a:pt x="107159" y="53777"/>
                      <a:pt x="110017" y="61436"/>
                      <a:pt x="110136" y="69533"/>
                    </a:cubicBezTo>
                    <a:cubicBezTo>
                      <a:pt x="110295" y="78938"/>
                      <a:pt x="106802" y="87749"/>
                      <a:pt x="100293" y="94377"/>
                    </a:cubicBezTo>
                    <a:cubicBezTo>
                      <a:pt x="93785" y="101005"/>
                      <a:pt x="85014" y="104656"/>
                      <a:pt x="75608" y="104656"/>
                    </a:cubicBezTo>
                    <a:cubicBezTo>
                      <a:pt x="67511" y="104656"/>
                      <a:pt x="59812" y="101918"/>
                      <a:pt x="53502" y="96917"/>
                    </a:cubicBezTo>
                    <a:close/>
                    <a:moveTo>
                      <a:pt x="137004" y="81915"/>
                    </a:moveTo>
                    <a:cubicBezTo>
                      <a:pt x="135417" y="80248"/>
                      <a:pt x="132996" y="78026"/>
                      <a:pt x="129146" y="75168"/>
                    </a:cubicBezTo>
                    <a:cubicBezTo>
                      <a:pt x="127440" y="73898"/>
                      <a:pt x="125019" y="74216"/>
                      <a:pt x="123788" y="75922"/>
                    </a:cubicBezTo>
                    <a:cubicBezTo>
                      <a:pt x="122518" y="77629"/>
                      <a:pt x="122915" y="80050"/>
                      <a:pt x="124622" y="81320"/>
                    </a:cubicBezTo>
                    <a:cubicBezTo>
                      <a:pt x="131011" y="86082"/>
                      <a:pt x="132797" y="88662"/>
                      <a:pt x="132916" y="88860"/>
                    </a:cubicBezTo>
                    <a:cubicBezTo>
                      <a:pt x="133075" y="89098"/>
                      <a:pt x="133234" y="89297"/>
                      <a:pt x="133432" y="89495"/>
                    </a:cubicBezTo>
                    <a:cubicBezTo>
                      <a:pt x="135298" y="91559"/>
                      <a:pt x="136330" y="94059"/>
                      <a:pt x="136369" y="96798"/>
                    </a:cubicBezTo>
                    <a:cubicBezTo>
                      <a:pt x="136488" y="103068"/>
                      <a:pt x="131250" y="108148"/>
                      <a:pt x="124701" y="108148"/>
                    </a:cubicBezTo>
                    <a:cubicBezTo>
                      <a:pt x="123391" y="108148"/>
                      <a:pt x="122082" y="107910"/>
                      <a:pt x="120812" y="107513"/>
                    </a:cubicBezTo>
                    <a:cubicBezTo>
                      <a:pt x="119343" y="106998"/>
                      <a:pt x="117716" y="107434"/>
                      <a:pt x="116684" y="108625"/>
                    </a:cubicBezTo>
                    <a:cubicBezTo>
                      <a:pt x="115692" y="109815"/>
                      <a:pt x="115494" y="111482"/>
                      <a:pt x="116208" y="112871"/>
                    </a:cubicBezTo>
                    <a:cubicBezTo>
                      <a:pt x="116684" y="113744"/>
                      <a:pt x="116922" y="114776"/>
                      <a:pt x="116922" y="115888"/>
                    </a:cubicBezTo>
                    <a:cubicBezTo>
                      <a:pt x="117002" y="119698"/>
                      <a:pt x="113985" y="122753"/>
                      <a:pt x="110215" y="122753"/>
                    </a:cubicBezTo>
                    <a:cubicBezTo>
                      <a:pt x="107993" y="122753"/>
                      <a:pt x="105850" y="121642"/>
                      <a:pt x="104500" y="119817"/>
                    </a:cubicBezTo>
                    <a:cubicBezTo>
                      <a:pt x="103508" y="118467"/>
                      <a:pt x="101762" y="117872"/>
                      <a:pt x="100174" y="118388"/>
                    </a:cubicBezTo>
                    <a:cubicBezTo>
                      <a:pt x="98587" y="118904"/>
                      <a:pt x="97555" y="120372"/>
                      <a:pt x="97555" y="122039"/>
                    </a:cubicBezTo>
                    <a:lnTo>
                      <a:pt x="97634" y="126960"/>
                    </a:lnTo>
                    <a:cubicBezTo>
                      <a:pt x="97674" y="129342"/>
                      <a:pt x="95809" y="131247"/>
                      <a:pt x="93467" y="131247"/>
                    </a:cubicBezTo>
                    <a:cubicBezTo>
                      <a:pt x="91086" y="131247"/>
                      <a:pt x="89141" y="129342"/>
                      <a:pt x="89101" y="127000"/>
                    </a:cubicBezTo>
                    <a:lnTo>
                      <a:pt x="88824" y="110252"/>
                    </a:lnTo>
                    <a:cubicBezTo>
                      <a:pt x="95213" y="108188"/>
                      <a:pt x="101008" y="104656"/>
                      <a:pt x="105810" y="99774"/>
                    </a:cubicBezTo>
                    <a:cubicBezTo>
                      <a:pt x="113747" y="91678"/>
                      <a:pt x="118034" y="80923"/>
                      <a:pt x="117835" y="69493"/>
                    </a:cubicBezTo>
                    <a:cubicBezTo>
                      <a:pt x="117637" y="58063"/>
                      <a:pt x="112993" y="47308"/>
                      <a:pt x="104738" y="39211"/>
                    </a:cubicBezTo>
                    <a:cubicBezTo>
                      <a:pt x="99738" y="34290"/>
                      <a:pt x="93785" y="30758"/>
                      <a:pt x="87315" y="28694"/>
                    </a:cubicBezTo>
                    <a:lnTo>
                      <a:pt x="87038" y="11986"/>
                    </a:lnTo>
                    <a:cubicBezTo>
                      <a:pt x="86998" y="9604"/>
                      <a:pt x="88903" y="7699"/>
                      <a:pt x="91245" y="7699"/>
                    </a:cubicBezTo>
                    <a:cubicBezTo>
                      <a:pt x="92356" y="7699"/>
                      <a:pt x="93427" y="8136"/>
                      <a:pt x="94300" y="9009"/>
                    </a:cubicBezTo>
                    <a:cubicBezTo>
                      <a:pt x="95094" y="9763"/>
                      <a:pt x="95531" y="10835"/>
                      <a:pt x="95570" y="11986"/>
                    </a:cubicBezTo>
                    <a:lnTo>
                      <a:pt x="95650" y="16907"/>
                    </a:lnTo>
                    <a:cubicBezTo>
                      <a:pt x="95690" y="18574"/>
                      <a:pt x="96801" y="20042"/>
                      <a:pt x="98388" y="20558"/>
                    </a:cubicBezTo>
                    <a:cubicBezTo>
                      <a:pt x="99976" y="21074"/>
                      <a:pt x="101722" y="20518"/>
                      <a:pt x="102675" y="19129"/>
                    </a:cubicBezTo>
                    <a:cubicBezTo>
                      <a:pt x="103984" y="17264"/>
                      <a:pt x="106048" y="16193"/>
                      <a:pt x="108310" y="16193"/>
                    </a:cubicBezTo>
                    <a:cubicBezTo>
                      <a:pt x="112120" y="16193"/>
                      <a:pt x="115255" y="19288"/>
                      <a:pt x="115335" y="23058"/>
                    </a:cubicBezTo>
                    <a:cubicBezTo>
                      <a:pt x="115335" y="24130"/>
                      <a:pt x="115136" y="25162"/>
                      <a:pt x="114700" y="26114"/>
                    </a:cubicBezTo>
                    <a:cubicBezTo>
                      <a:pt x="114025" y="27503"/>
                      <a:pt x="114303" y="29170"/>
                      <a:pt x="115335" y="30361"/>
                    </a:cubicBezTo>
                    <a:cubicBezTo>
                      <a:pt x="116367" y="31552"/>
                      <a:pt x="118034" y="31948"/>
                      <a:pt x="119502" y="31472"/>
                    </a:cubicBezTo>
                    <a:cubicBezTo>
                      <a:pt x="120732" y="31036"/>
                      <a:pt x="122082" y="30837"/>
                      <a:pt x="123352" y="30837"/>
                    </a:cubicBezTo>
                    <a:cubicBezTo>
                      <a:pt x="129900" y="30837"/>
                      <a:pt x="135337" y="35917"/>
                      <a:pt x="135417" y="42148"/>
                    </a:cubicBezTo>
                    <a:cubicBezTo>
                      <a:pt x="135456" y="44887"/>
                      <a:pt x="134544" y="47387"/>
                      <a:pt x="132758" y="49411"/>
                    </a:cubicBezTo>
                    <a:cubicBezTo>
                      <a:pt x="132599" y="49570"/>
                      <a:pt x="130694" y="51435"/>
                      <a:pt x="126368" y="53380"/>
                    </a:cubicBezTo>
                    <a:cubicBezTo>
                      <a:pt x="124423" y="54253"/>
                      <a:pt x="123590" y="56515"/>
                      <a:pt x="124503" y="58460"/>
                    </a:cubicBezTo>
                    <a:cubicBezTo>
                      <a:pt x="125177" y="59888"/>
                      <a:pt x="126606" y="60762"/>
                      <a:pt x="128075" y="60762"/>
                    </a:cubicBezTo>
                    <a:cubicBezTo>
                      <a:pt x="128590" y="60762"/>
                      <a:pt x="129106" y="60643"/>
                      <a:pt x="129622" y="60444"/>
                    </a:cubicBezTo>
                    <a:cubicBezTo>
                      <a:pt x="132559" y="59134"/>
                      <a:pt x="134702" y="57785"/>
                      <a:pt x="136131" y="56753"/>
                    </a:cubicBezTo>
                    <a:cubicBezTo>
                      <a:pt x="140378" y="59611"/>
                      <a:pt x="143076" y="64413"/>
                      <a:pt x="143156" y="69572"/>
                    </a:cubicBezTo>
                    <a:cubicBezTo>
                      <a:pt x="143156" y="74414"/>
                      <a:pt x="140814" y="79018"/>
                      <a:pt x="137004" y="81915"/>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spTree>
    <p:extLst>
      <p:ext uri="{BB962C8B-B14F-4D97-AF65-F5344CB8AC3E}">
        <p14:creationId xmlns:p14="http://schemas.microsoft.com/office/powerpoint/2010/main" val="23739958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74A36F-04D9-D371-B289-EA269D7C2838}"/>
              </a:ext>
            </a:extLst>
          </p:cNvPr>
          <p:cNvSpPr/>
          <p:nvPr/>
        </p:nvSpPr>
        <p:spPr>
          <a:xfrm>
            <a:off x="515938" y="123025"/>
            <a:ext cx="7494206" cy="597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b"/>
          <a:lstStyle/>
          <a:p>
            <a:r>
              <a:rPr lang="en-US" b="1" dirty="0">
                <a:solidFill>
                  <a:schemeClr val="tx1"/>
                </a:solidFill>
                <a:latin typeface="Moderat" pitchFamily="2" charset="77"/>
              </a:rPr>
              <a:t>Functional Onboarding</a:t>
            </a:r>
          </a:p>
        </p:txBody>
      </p:sp>
      <p:sp>
        <p:nvSpPr>
          <p:cNvPr id="4" name="Text 1">
            <a:extLst>
              <a:ext uri="{FF2B5EF4-FFF2-40B4-BE49-F238E27FC236}">
                <a16:creationId xmlns:a16="http://schemas.microsoft.com/office/drawing/2014/main" id="{9928747D-A291-F562-30AF-004D6223FB71}"/>
              </a:ext>
            </a:extLst>
          </p:cNvPr>
          <p:cNvSpPr/>
          <p:nvPr/>
        </p:nvSpPr>
        <p:spPr>
          <a:xfrm>
            <a:off x="515938" y="1068714"/>
            <a:ext cx="11223390" cy="208006"/>
          </a:xfrm>
          <a:prstGeom prst="rect">
            <a:avLst/>
          </a:prstGeom>
          <a:noFill/>
          <a:ln/>
        </p:spPr>
        <p:txBody>
          <a:bodyPr wrap="square" lIns="0" tIns="0" rIns="0" bIns="0" rtlCol="0" anchor="t">
            <a:spAutoFit/>
          </a:bodyPr>
          <a:lstStyle/>
          <a:p>
            <a:pPr defTabSz="571500">
              <a:lnSpc>
                <a:spcPts val="1563"/>
              </a:lnSpc>
            </a:pPr>
            <a:r>
              <a:rPr lang="en-US" sz="1600" b="1" dirty="0">
                <a:solidFill>
                  <a:schemeClr val="accent1"/>
                </a:solidFill>
                <a:latin typeface="Moderat" pitchFamily="2" charset="77"/>
                <a:ea typeface="Source Serif 4" pitchFamily="34" charset="-122"/>
                <a:cs typeface="Source Serif 4" pitchFamily="34" charset="-120"/>
              </a:rPr>
              <a:t>Accelerating Time to Productivity</a:t>
            </a:r>
          </a:p>
        </p:txBody>
      </p:sp>
      <p:sp>
        <p:nvSpPr>
          <p:cNvPr id="9" name="Text 4">
            <a:extLst>
              <a:ext uri="{FF2B5EF4-FFF2-40B4-BE49-F238E27FC236}">
                <a16:creationId xmlns:a16="http://schemas.microsoft.com/office/drawing/2014/main" id="{171DC681-07E2-4598-1320-013D082C2A27}"/>
              </a:ext>
            </a:extLst>
          </p:cNvPr>
          <p:cNvSpPr/>
          <p:nvPr/>
        </p:nvSpPr>
        <p:spPr>
          <a:xfrm>
            <a:off x="530181" y="1399089"/>
            <a:ext cx="2965494" cy="207694"/>
          </a:xfrm>
          <a:prstGeom prst="rect">
            <a:avLst/>
          </a:prstGeom>
          <a:noFill/>
          <a:ln/>
        </p:spPr>
        <p:txBody>
          <a:bodyPr wrap="square" lIns="0" tIns="0" rIns="0" bIns="0" rtlCol="0" anchor="t">
            <a:spAutoFit/>
          </a:bodyPr>
          <a:lstStyle/>
          <a:p>
            <a:r>
              <a:rPr lang="en-US" sz="1600" b="1" dirty="0">
                <a:solidFill>
                  <a:schemeClr val="accent6"/>
                </a:solidFill>
                <a:latin typeface="Moderat" pitchFamily="2" charset="77"/>
                <a:ea typeface="Raleway" pitchFamily="34" charset="-122"/>
                <a:cs typeface="Raleway" pitchFamily="34" charset="-120"/>
              </a:rPr>
              <a:t>Business challenge</a:t>
            </a:r>
          </a:p>
        </p:txBody>
      </p:sp>
      <p:sp>
        <p:nvSpPr>
          <p:cNvPr id="10" name="Text 4">
            <a:extLst>
              <a:ext uri="{FF2B5EF4-FFF2-40B4-BE49-F238E27FC236}">
                <a16:creationId xmlns:a16="http://schemas.microsoft.com/office/drawing/2014/main" id="{9D8B9787-1F0B-4A22-2EA8-BF3F789BC4A3}"/>
              </a:ext>
            </a:extLst>
          </p:cNvPr>
          <p:cNvSpPr/>
          <p:nvPr/>
        </p:nvSpPr>
        <p:spPr>
          <a:xfrm>
            <a:off x="7852789" y="1399089"/>
            <a:ext cx="2965494" cy="207694"/>
          </a:xfrm>
          <a:prstGeom prst="rect">
            <a:avLst/>
          </a:prstGeom>
          <a:noFill/>
          <a:ln/>
        </p:spPr>
        <p:txBody>
          <a:bodyPr wrap="square" lIns="0" tIns="0" rIns="0" bIns="0" rtlCol="0" anchor="t">
            <a:spAutoFit/>
          </a:bodyPr>
          <a:lstStyle/>
          <a:p>
            <a:r>
              <a:rPr lang="en-US" sz="1600" b="1" dirty="0">
                <a:solidFill>
                  <a:schemeClr val="accent6"/>
                </a:solidFill>
                <a:latin typeface="Moderat" pitchFamily="2" charset="77"/>
                <a:ea typeface="Raleway" pitchFamily="34" charset="-122"/>
                <a:cs typeface="Raleway" pitchFamily="34" charset="-120"/>
              </a:rPr>
              <a:t>Business impact</a:t>
            </a:r>
          </a:p>
        </p:txBody>
      </p:sp>
      <p:sp>
        <p:nvSpPr>
          <p:cNvPr id="11" name="Rectangle 10">
            <a:extLst>
              <a:ext uri="{FF2B5EF4-FFF2-40B4-BE49-F238E27FC236}">
                <a16:creationId xmlns:a16="http://schemas.microsoft.com/office/drawing/2014/main" id="{30E4574F-15CF-391B-7E41-E0F6E3D7573E}"/>
              </a:ext>
            </a:extLst>
          </p:cNvPr>
          <p:cNvSpPr/>
          <p:nvPr/>
        </p:nvSpPr>
        <p:spPr>
          <a:xfrm>
            <a:off x="533400" y="1654681"/>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Rectangle 11">
            <a:extLst>
              <a:ext uri="{FF2B5EF4-FFF2-40B4-BE49-F238E27FC236}">
                <a16:creationId xmlns:a16="http://schemas.microsoft.com/office/drawing/2014/main" id="{2809D99D-7AC0-6FC3-7390-2D6811FBA8D7}"/>
              </a:ext>
            </a:extLst>
          </p:cNvPr>
          <p:cNvSpPr/>
          <p:nvPr/>
        </p:nvSpPr>
        <p:spPr>
          <a:xfrm>
            <a:off x="533400" y="2887299"/>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Rectangle 12">
            <a:extLst>
              <a:ext uri="{FF2B5EF4-FFF2-40B4-BE49-F238E27FC236}">
                <a16:creationId xmlns:a16="http://schemas.microsoft.com/office/drawing/2014/main" id="{AD72FAC5-1228-58E0-A651-A83186C1090B}"/>
              </a:ext>
            </a:extLst>
          </p:cNvPr>
          <p:cNvSpPr/>
          <p:nvPr/>
        </p:nvSpPr>
        <p:spPr>
          <a:xfrm>
            <a:off x="533400" y="4119916"/>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Rectangle: Rounded Corners 13">
            <a:extLst>
              <a:ext uri="{FF2B5EF4-FFF2-40B4-BE49-F238E27FC236}">
                <a16:creationId xmlns:a16="http://schemas.microsoft.com/office/drawing/2014/main" id="{514218CE-3818-A61E-F7C4-FFB5A9C3E446}"/>
              </a:ext>
            </a:extLst>
          </p:cNvPr>
          <p:cNvSpPr/>
          <p:nvPr/>
        </p:nvSpPr>
        <p:spPr>
          <a:xfrm>
            <a:off x="3920004" y="1536593"/>
            <a:ext cx="3823272" cy="3730732"/>
          </a:xfrm>
          <a:prstGeom prst="roundRect">
            <a:avLst>
              <a:gd name="adj" fmla="val 2478"/>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Text 8">
            <a:extLst>
              <a:ext uri="{FF2B5EF4-FFF2-40B4-BE49-F238E27FC236}">
                <a16:creationId xmlns:a16="http://schemas.microsoft.com/office/drawing/2014/main" id="{BCD486EE-715A-AFAF-7E40-203B4A864B43}"/>
              </a:ext>
            </a:extLst>
          </p:cNvPr>
          <p:cNvSpPr/>
          <p:nvPr/>
        </p:nvSpPr>
        <p:spPr>
          <a:xfrm>
            <a:off x="723900" y="2012940"/>
            <a:ext cx="2914650" cy="430887"/>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Rapid hiring created </a:t>
            </a:r>
            <a:r>
              <a:rPr lang="en-US" sz="1400" b="1" dirty="0">
                <a:solidFill>
                  <a:schemeClr val="bg2">
                    <a:lumMod val="25000"/>
                  </a:schemeClr>
                </a:solidFill>
                <a:latin typeface="Moderat" panose="020B0604020202020204"/>
                <a:ea typeface="Lato" pitchFamily="34" charset="-122"/>
                <a:cs typeface="Lato" pitchFamily="34" charset="-120"/>
              </a:rPr>
              <a:t>long ramp-up times for experienced hires</a:t>
            </a:r>
          </a:p>
        </p:txBody>
      </p:sp>
      <p:sp>
        <p:nvSpPr>
          <p:cNvPr id="16" name="Text 8">
            <a:extLst>
              <a:ext uri="{FF2B5EF4-FFF2-40B4-BE49-F238E27FC236}">
                <a16:creationId xmlns:a16="http://schemas.microsoft.com/office/drawing/2014/main" id="{8420E798-6AAB-686B-9E28-62EE7AD8B190}"/>
              </a:ext>
            </a:extLst>
          </p:cNvPr>
          <p:cNvSpPr/>
          <p:nvPr/>
        </p:nvSpPr>
        <p:spPr>
          <a:xfrm>
            <a:off x="723900" y="3137838"/>
            <a:ext cx="2914650" cy="646331"/>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New employees lacked clarity on </a:t>
            </a:r>
            <a:r>
              <a:rPr lang="en-US" sz="1400" b="1" dirty="0">
                <a:solidFill>
                  <a:schemeClr val="bg2">
                    <a:lumMod val="25000"/>
                  </a:schemeClr>
                </a:solidFill>
                <a:latin typeface="Moderat" panose="020B0604020202020204"/>
                <a:ea typeface="Lato" pitchFamily="34" charset="-122"/>
                <a:cs typeface="Lato" pitchFamily="34" charset="-120"/>
              </a:rPr>
              <a:t>products, processes, and </a:t>
            </a:r>
            <a:br>
              <a:rPr lang="en-US" sz="1400" b="1" dirty="0">
                <a:solidFill>
                  <a:schemeClr val="bg2">
                    <a:lumMod val="25000"/>
                  </a:schemeClr>
                </a:solidFill>
                <a:latin typeface="Moderat" panose="020B0604020202020204"/>
                <a:ea typeface="Lato" pitchFamily="34" charset="-122"/>
                <a:cs typeface="Lato" pitchFamily="34" charset="-120"/>
              </a:rPr>
            </a:br>
            <a:r>
              <a:rPr lang="en-US" sz="1400" b="1" dirty="0">
                <a:solidFill>
                  <a:schemeClr val="bg2">
                    <a:lumMod val="25000"/>
                  </a:schemeClr>
                </a:solidFill>
                <a:latin typeface="Moderat" panose="020B0604020202020204"/>
                <a:ea typeface="Lato" pitchFamily="34" charset="-122"/>
                <a:cs typeface="Lato" pitchFamily="34" charset="-120"/>
              </a:rPr>
              <a:t>escalation paths</a:t>
            </a:r>
          </a:p>
        </p:txBody>
      </p:sp>
      <p:sp>
        <p:nvSpPr>
          <p:cNvPr id="17" name="Text 8">
            <a:extLst>
              <a:ext uri="{FF2B5EF4-FFF2-40B4-BE49-F238E27FC236}">
                <a16:creationId xmlns:a16="http://schemas.microsoft.com/office/drawing/2014/main" id="{375FEE18-0F7F-E579-BBFD-35F58F748B2C}"/>
              </a:ext>
            </a:extLst>
          </p:cNvPr>
          <p:cNvSpPr/>
          <p:nvPr/>
        </p:nvSpPr>
        <p:spPr>
          <a:xfrm>
            <a:off x="723899" y="4370454"/>
            <a:ext cx="2949003" cy="646331"/>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Managers spent excessive time correcting early mistakes instead </a:t>
            </a:r>
            <a:br>
              <a:rPr lang="en-US" sz="1400" dirty="0">
                <a:solidFill>
                  <a:schemeClr val="bg2">
                    <a:lumMod val="25000"/>
                  </a:schemeClr>
                </a:solidFill>
                <a:latin typeface="Moderat" panose="020B0604020202020204"/>
                <a:ea typeface="Lato" pitchFamily="34" charset="-122"/>
                <a:cs typeface="Lato" pitchFamily="34" charset="-120"/>
              </a:rPr>
            </a:br>
            <a:r>
              <a:rPr lang="en-US" sz="1400" dirty="0">
                <a:solidFill>
                  <a:schemeClr val="bg2">
                    <a:lumMod val="25000"/>
                  </a:schemeClr>
                </a:solidFill>
                <a:latin typeface="Moderat" panose="020B0604020202020204"/>
                <a:ea typeface="Lato" pitchFamily="34" charset="-122"/>
                <a:cs typeface="Lato" pitchFamily="34" charset="-120"/>
              </a:rPr>
              <a:t>of delivering</a:t>
            </a:r>
          </a:p>
        </p:txBody>
      </p:sp>
      <p:sp>
        <p:nvSpPr>
          <p:cNvPr id="18" name="Rectangle 17">
            <a:extLst>
              <a:ext uri="{FF2B5EF4-FFF2-40B4-BE49-F238E27FC236}">
                <a16:creationId xmlns:a16="http://schemas.microsoft.com/office/drawing/2014/main" id="{55F6BA85-7737-D120-41C8-DF496EB76424}"/>
              </a:ext>
            </a:extLst>
          </p:cNvPr>
          <p:cNvSpPr/>
          <p:nvPr/>
        </p:nvSpPr>
        <p:spPr>
          <a:xfrm>
            <a:off x="533400" y="1654681"/>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19" name="Rectangle 18">
            <a:extLst>
              <a:ext uri="{FF2B5EF4-FFF2-40B4-BE49-F238E27FC236}">
                <a16:creationId xmlns:a16="http://schemas.microsoft.com/office/drawing/2014/main" id="{9BF3FD95-3E2D-812D-B472-3222D1FC6FE4}"/>
              </a:ext>
            </a:extLst>
          </p:cNvPr>
          <p:cNvSpPr/>
          <p:nvPr/>
        </p:nvSpPr>
        <p:spPr>
          <a:xfrm rot="10800000">
            <a:off x="533400" y="2887299"/>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44" name="Rectangle 43">
            <a:extLst>
              <a:ext uri="{FF2B5EF4-FFF2-40B4-BE49-F238E27FC236}">
                <a16:creationId xmlns:a16="http://schemas.microsoft.com/office/drawing/2014/main" id="{614C1786-848A-E7D0-E32F-9340451FF582}"/>
              </a:ext>
            </a:extLst>
          </p:cNvPr>
          <p:cNvSpPr/>
          <p:nvPr/>
        </p:nvSpPr>
        <p:spPr>
          <a:xfrm>
            <a:off x="533400" y="4119916"/>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45" name="Text 5">
            <a:extLst>
              <a:ext uri="{FF2B5EF4-FFF2-40B4-BE49-F238E27FC236}">
                <a16:creationId xmlns:a16="http://schemas.microsoft.com/office/drawing/2014/main" id="{7079B5FF-866D-FCB7-8799-CC4C58B62508}"/>
              </a:ext>
            </a:extLst>
          </p:cNvPr>
          <p:cNvSpPr/>
          <p:nvPr/>
        </p:nvSpPr>
        <p:spPr>
          <a:xfrm>
            <a:off x="4083049" y="1766489"/>
            <a:ext cx="3413126" cy="2473360"/>
          </a:xfrm>
          <a:prstGeom prst="rect">
            <a:avLst/>
          </a:prstGeom>
          <a:noFill/>
          <a:ln/>
        </p:spPr>
        <p:txBody>
          <a:bodyPr wrap="square" lIns="0" tIns="36000" rIns="90000" bIns="36000" rtlCol="0" anchor="t">
            <a:spAutoFit/>
          </a:bodyPr>
          <a:lstStyle/>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Implemented a </a:t>
            </a:r>
            <a:r>
              <a:rPr lang="en-US" sz="1400" b="1" dirty="0">
                <a:solidFill>
                  <a:srgbClr val="4A4A45"/>
                </a:solidFill>
                <a:latin typeface="Moderat" pitchFamily="2" charset="77"/>
              </a:rPr>
              <a:t>simple, repeatable functional onboarding model </a:t>
            </a:r>
            <a:r>
              <a:rPr lang="en-US" sz="1400" dirty="0">
                <a:solidFill>
                  <a:srgbClr val="4A4A45"/>
                </a:solidFill>
                <a:latin typeface="Moderat" pitchFamily="2" charset="77"/>
              </a:rPr>
              <a:t>owned by the GCC</a:t>
            </a:r>
          </a:p>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Role-specific onboarding journeys tied directly to real work</a:t>
            </a:r>
          </a:p>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Clear visibility into products, processes, and support mechanisms</a:t>
            </a:r>
          </a:p>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Consistent onboarding experience across teams and managers</a:t>
            </a:r>
          </a:p>
        </p:txBody>
      </p:sp>
      <p:sp>
        <p:nvSpPr>
          <p:cNvPr id="47" name="Rectangle: Rounded Corners 46">
            <a:extLst>
              <a:ext uri="{FF2B5EF4-FFF2-40B4-BE49-F238E27FC236}">
                <a16:creationId xmlns:a16="http://schemas.microsoft.com/office/drawing/2014/main" id="{545CC8F9-B666-8A93-A2A4-DDC749D36A07}"/>
              </a:ext>
            </a:extLst>
          </p:cNvPr>
          <p:cNvSpPr/>
          <p:nvPr/>
        </p:nvSpPr>
        <p:spPr>
          <a:xfrm>
            <a:off x="4083049" y="1414467"/>
            <a:ext cx="1955801" cy="253358"/>
          </a:xfrm>
          <a:prstGeom prst="roundRect">
            <a:avLst>
              <a:gd name="adj" fmla="val 2618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36000" bIns="36000" rtlCol="0" anchor="ctr"/>
          <a:lstStyle/>
          <a:p>
            <a:r>
              <a:rPr lang="en-US" sz="1600" b="1" dirty="0">
                <a:latin typeface="Moderat" pitchFamily="2" charset="77"/>
              </a:rPr>
              <a:t>Intervention</a:t>
            </a:r>
          </a:p>
        </p:txBody>
      </p:sp>
      <p:sp>
        <p:nvSpPr>
          <p:cNvPr id="48" name="Rectangle: Rounded Corners 47">
            <a:extLst>
              <a:ext uri="{FF2B5EF4-FFF2-40B4-BE49-F238E27FC236}">
                <a16:creationId xmlns:a16="http://schemas.microsoft.com/office/drawing/2014/main" id="{3AED9960-CBD4-3108-CA0F-2A9EBEE05A4A}"/>
              </a:ext>
            </a:extLst>
          </p:cNvPr>
          <p:cNvSpPr/>
          <p:nvPr/>
        </p:nvSpPr>
        <p:spPr>
          <a:xfrm>
            <a:off x="533400" y="5391150"/>
            <a:ext cx="11131831" cy="594362"/>
          </a:xfrm>
          <a:prstGeom prst="roundRect">
            <a:avLst>
              <a:gd name="adj" fmla="val 181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36000" bIns="36000" rtlCol="0" anchor="ctr"/>
          <a:lstStyle/>
          <a:p>
            <a:r>
              <a:rPr lang="en-US" sz="1400" dirty="0">
                <a:latin typeface="Moderat" pitchFamily="2" charset="77"/>
              </a:rPr>
              <a:t>For mid-market GCCs, structured functional onboarding is one of the fastest, lowest-risk ways to </a:t>
            </a:r>
            <a:r>
              <a:rPr lang="en-US" sz="1400" b="1" dirty="0">
                <a:latin typeface="Moderat" pitchFamily="2" charset="77"/>
              </a:rPr>
              <a:t>scale delivery capacity while protecting margins.</a:t>
            </a:r>
          </a:p>
        </p:txBody>
      </p:sp>
      <p:sp>
        <p:nvSpPr>
          <p:cNvPr id="49" name="Rectangle: Rounded Corners 48">
            <a:extLst>
              <a:ext uri="{FF2B5EF4-FFF2-40B4-BE49-F238E27FC236}">
                <a16:creationId xmlns:a16="http://schemas.microsoft.com/office/drawing/2014/main" id="{97843126-0540-9EF9-7427-7E99E14F3CD9}"/>
              </a:ext>
            </a:extLst>
          </p:cNvPr>
          <p:cNvSpPr/>
          <p:nvPr/>
        </p:nvSpPr>
        <p:spPr>
          <a:xfrm>
            <a:off x="7852789" y="1841960"/>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b="1" dirty="0">
                <a:solidFill>
                  <a:srgbClr val="4A4A45"/>
                </a:solidFill>
                <a:latin typeface="Moderat" panose="020B0604020202020204"/>
              </a:rPr>
              <a:t>35% reduction </a:t>
            </a:r>
            <a:r>
              <a:rPr lang="en-US" sz="1400" dirty="0">
                <a:solidFill>
                  <a:srgbClr val="4A4A45"/>
                </a:solidFill>
                <a:latin typeface="Moderat" panose="020B0604020202020204"/>
              </a:rPr>
              <a:t>in time to productivity</a:t>
            </a:r>
          </a:p>
        </p:txBody>
      </p:sp>
      <p:sp>
        <p:nvSpPr>
          <p:cNvPr id="50" name="Rectangle: Rounded Corners 49">
            <a:extLst>
              <a:ext uri="{FF2B5EF4-FFF2-40B4-BE49-F238E27FC236}">
                <a16:creationId xmlns:a16="http://schemas.microsoft.com/office/drawing/2014/main" id="{21869EC5-E583-7126-A87E-7B3552304EF4}"/>
              </a:ext>
            </a:extLst>
          </p:cNvPr>
          <p:cNvSpPr/>
          <p:nvPr/>
        </p:nvSpPr>
        <p:spPr>
          <a:xfrm>
            <a:off x="7852789" y="2715755"/>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dirty="0">
                <a:solidFill>
                  <a:srgbClr val="4A4A45"/>
                </a:solidFill>
                <a:latin typeface="Moderat" panose="020B0604020202020204"/>
              </a:rPr>
              <a:t>New hires reached benchmarks within </a:t>
            </a:r>
            <a:br>
              <a:rPr lang="en-US" sz="1400" b="1" dirty="0">
                <a:solidFill>
                  <a:srgbClr val="4A4A45"/>
                </a:solidFill>
                <a:latin typeface="Moderat" panose="020B0604020202020204"/>
              </a:rPr>
            </a:br>
            <a:r>
              <a:rPr lang="en-US" sz="1400" b="1" dirty="0">
                <a:solidFill>
                  <a:srgbClr val="4A4A45"/>
                </a:solidFill>
                <a:latin typeface="Moderat" panose="020B0604020202020204"/>
              </a:rPr>
              <a:t>45 – 60 days</a:t>
            </a:r>
          </a:p>
        </p:txBody>
      </p:sp>
      <p:sp>
        <p:nvSpPr>
          <p:cNvPr id="53" name="Rectangle: Rounded Corners 52">
            <a:extLst>
              <a:ext uri="{FF2B5EF4-FFF2-40B4-BE49-F238E27FC236}">
                <a16:creationId xmlns:a16="http://schemas.microsoft.com/office/drawing/2014/main" id="{FB346A88-39C7-DA0B-56DD-867DDD20DA01}"/>
              </a:ext>
            </a:extLst>
          </p:cNvPr>
          <p:cNvSpPr/>
          <p:nvPr/>
        </p:nvSpPr>
        <p:spPr>
          <a:xfrm>
            <a:off x="7852789" y="3589551"/>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b="1" dirty="0">
                <a:solidFill>
                  <a:srgbClr val="4A4A45"/>
                </a:solidFill>
                <a:latin typeface="Moderat" panose="020B0604020202020204"/>
              </a:rPr>
              <a:t>40% reduction </a:t>
            </a:r>
            <a:r>
              <a:rPr lang="en-US" sz="1400" dirty="0">
                <a:solidFill>
                  <a:srgbClr val="4A4A45"/>
                </a:solidFill>
                <a:latin typeface="Moderat" panose="020B0604020202020204"/>
              </a:rPr>
              <a:t>in early-cycle project rework</a:t>
            </a:r>
          </a:p>
        </p:txBody>
      </p:sp>
      <p:sp>
        <p:nvSpPr>
          <p:cNvPr id="54" name="Rectangle: Rounded Corners 53">
            <a:extLst>
              <a:ext uri="{FF2B5EF4-FFF2-40B4-BE49-F238E27FC236}">
                <a16:creationId xmlns:a16="http://schemas.microsoft.com/office/drawing/2014/main" id="{C1FE3894-00BA-A8B9-2850-687CC2279280}"/>
              </a:ext>
            </a:extLst>
          </p:cNvPr>
          <p:cNvSpPr/>
          <p:nvPr/>
        </p:nvSpPr>
        <p:spPr>
          <a:xfrm>
            <a:off x="7852789" y="4463347"/>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dirty="0">
                <a:solidFill>
                  <a:srgbClr val="4A4A45"/>
                </a:solidFill>
                <a:latin typeface="Moderat" panose="020B0604020202020204"/>
              </a:rPr>
              <a:t>Improved manager confidence and employee satisfaction</a:t>
            </a:r>
          </a:p>
        </p:txBody>
      </p:sp>
      <p:grpSp>
        <p:nvGrpSpPr>
          <p:cNvPr id="55" name="Group 54">
            <a:extLst>
              <a:ext uri="{FF2B5EF4-FFF2-40B4-BE49-F238E27FC236}">
                <a16:creationId xmlns:a16="http://schemas.microsoft.com/office/drawing/2014/main" id="{BD6A1904-A378-3C0A-E4C9-3A8144B5B2ED}"/>
              </a:ext>
            </a:extLst>
          </p:cNvPr>
          <p:cNvGrpSpPr/>
          <p:nvPr/>
        </p:nvGrpSpPr>
        <p:grpSpPr>
          <a:xfrm>
            <a:off x="7936609" y="2889144"/>
            <a:ext cx="457200" cy="457200"/>
            <a:chOff x="7936609" y="3156397"/>
            <a:chExt cx="457200" cy="457200"/>
          </a:xfrm>
        </p:grpSpPr>
        <p:sp>
          <p:nvSpPr>
            <p:cNvPr id="58" name="Oval 57">
              <a:extLst>
                <a:ext uri="{FF2B5EF4-FFF2-40B4-BE49-F238E27FC236}">
                  <a16:creationId xmlns:a16="http://schemas.microsoft.com/office/drawing/2014/main" id="{6B98C619-E471-AA0E-12F7-E05830D09334}"/>
                </a:ext>
              </a:extLst>
            </p:cNvPr>
            <p:cNvSpPr>
              <a:spLocks noChangeAspect="1"/>
            </p:cNvSpPr>
            <p:nvPr/>
          </p:nvSpPr>
          <p:spPr>
            <a:xfrm>
              <a:off x="7936609" y="3156397"/>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sp>
          <p:nvSpPr>
            <p:cNvPr id="59" name="Pic">
              <a:extLst>
                <a:ext uri="{FF2B5EF4-FFF2-40B4-BE49-F238E27FC236}">
                  <a16:creationId xmlns:a16="http://schemas.microsoft.com/office/drawing/2014/main" id="{7D567235-2EB2-5B2B-6BBE-5B6B7E77A529}"/>
                </a:ext>
              </a:extLst>
            </p:cNvPr>
            <p:cNvSpPr>
              <a:spLocks noChangeAspect="1"/>
            </p:cNvSpPr>
            <p:nvPr/>
          </p:nvSpPr>
          <p:spPr>
            <a:xfrm>
              <a:off x="8045691" y="3274373"/>
              <a:ext cx="239036" cy="221248"/>
            </a:xfrm>
            <a:custGeom>
              <a:avLst/>
              <a:gdLst>
                <a:gd name="csX0" fmla="*/ 34765 w 239036"/>
                <a:gd name="csY0" fmla="*/ 34473 h 221248"/>
                <a:gd name="csX1" fmla="*/ 26594 w 239036"/>
                <a:gd name="csY1" fmla="*/ 34474 h 221248"/>
                <a:gd name="csX2" fmla="*/ 26595 w 239036"/>
                <a:gd name="csY2" fmla="*/ 42645 h 221248"/>
                <a:gd name="csX3" fmla="*/ 34765 w 239036"/>
                <a:gd name="csY3" fmla="*/ 42645 h 221248"/>
                <a:gd name="csX4" fmla="*/ 34765 w 239036"/>
                <a:gd name="csY4" fmla="*/ 34473 h 221248"/>
                <a:gd name="csX5" fmla="*/ 16797 w 239036"/>
                <a:gd name="csY5" fmla="*/ 61552 h 221248"/>
                <a:gd name="csX6" fmla="*/ 44561 w 239036"/>
                <a:gd name="csY6" fmla="*/ 61552 h 221248"/>
                <a:gd name="csX7" fmla="*/ 16797 w 239036"/>
                <a:gd name="csY7" fmla="*/ 61552 h 221248"/>
                <a:gd name="csX8" fmla="*/ 47872 w 239036"/>
                <a:gd name="csY8" fmla="*/ 24395 h 221248"/>
                <a:gd name="csX9" fmla="*/ 48751 w 239036"/>
                <a:gd name="csY9" fmla="*/ 57853 h 221248"/>
                <a:gd name="csX10" fmla="*/ 36398 w 239036"/>
                <a:gd name="csY10" fmla="*/ 48225 h 221248"/>
                <a:gd name="csX11" fmla="*/ 41908 w 239036"/>
                <a:gd name="csY11" fmla="*/ 38559 h 221248"/>
                <a:gd name="csX12" fmla="*/ 22736 w 239036"/>
                <a:gd name="csY12" fmla="*/ 30618 h 221248"/>
                <a:gd name="csX13" fmla="*/ 22744 w 239036"/>
                <a:gd name="csY13" fmla="*/ 46508 h 221248"/>
                <a:gd name="csX14" fmla="*/ 24957 w 239036"/>
                <a:gd name="csY14" fmla="*/ 48226 h 221248"/>
                <a:gd name="csX15" fmla="*/ 12605 w 239036"/>
                <a:gd name="csY15" fmla="*/ 57854 h 221248"/>
                <a:gd name="csX16" fmla="*/ 14376 w 239036"/>
                <a:gd name="csY16" fmla="*/ 23514 h 221248"/>
                <a:gd name="csX17" fmla="*/ 47872 w 239036"/>
                <a:gd name="csY17" fmla="*/ 24396 h 221248"/>
                <a:gd name="csX18" fmla="*/ 30679 w 239036"/>
                <a:gd name="csY18" fmla="*/ 11821 h 221248"/>
                <a:gd name="csX19" fmla="*/ 60445 w 239036"/>
                <a:gd name="csY19" fmla="*/ 41587 h 221248"/>
                <a:gd name="csX20" fmla="*/ 30679 w 239036"/>
                <a:gd name="csY20" fmla="*/ 71353 h 221248"/>
                <a:gd name="csX21" fmla="*/ 913 w 239036"/>
                <a:gd name="csY21" fmla="*/ 41587 h 221248"/>
                <a:gd name="csX22" fmla="*/ 30679 w 239036"/>
                <a:gd name="csY22" fmla="*/ 11821 h 221248"/>
                <a:gd name="csX23" fmla="*/ 99123 w 239036"/>
                <a:gd name="csY23" fmla="*/ 84301 h 221248"/>
                <a:gd name="csX24" fmla="*/ 90952 w 239036"/>
                <a:gd name="csY24" fmla="*/ 84301 h 221248"/>
                <a:gd name="csX25" fmla="*/ 90953 w 239036"/>
                <a:gd name="csY25" fmla="*/ 92472 h 221248"/>
                <a:gd name="csX26" fmla="*/ 99123 w 239036"/>
                <a:gd name="csY26" fmla="*/ 92472 h 221248"/>
                <a:gd name="csX27" fmla="*/ 99123 w 239036"/>
                <a:gd name="csY27" fmla="*/ 84301 h 221248"/>
                <a:gd name="csX28" fmla="*/ 81155 w 239036"/>
                <a:gd name="csY28" fmla="*/ 111379 h 221248"/>
                <a:gd name="csX29" fmla="*/ 108919 w 239036"/>
                <a:gd name="csY29" fmla="*/ 111379 h 221248"/>
                <a:gd name="csX30" fmla="*/ 81155 w 239036"/>
                <a:gd name="csY30" fmla="*/ 111379 h 221248"/>
                <a:gd name="csX31" fmla="*/ 112230 w 239036"/>
                <a:gd name="csY31" fmla="*/ 74221 h 221248"/>
                <a:gd name="csX32" fmla="*/ 113109 w 239036"/>
                <a:gd name="csY32" fmla="*/ 107679 h 221248"/>
                <a:gd name="csX33" fmla="*/ 100756 w 239036"/>
                <a:gd name="csY33" fmla="*/ 98051 h 221248"/>
                <a:gd name="csX34" fmla="*/ 106267 w 239036"/>
                <a:gd name="csY34" fmla="*/ 88385 h 221248"/>
                <a:gd name="csX35" fmla="*/ 87095 w 239036"/>
                <a:gd name="csY35" fmla="*/ 80444 h 221248"/>
                <a:gd name="csX36" fmla="*/ 87102 w 239036"/>
                <a:gd name="csY36" fmla="*/ 96334 h 221248"/>
                <a:gd name="csX37" fmla="*/ 89315 w 239036"/>
                <a:gd name="csY37" fmla="*/ 98051 h 221248"/>
                <a:gd name="csX38" fmla="*/ 76962 w 239036"/>
                <a:gd name="csY38" fmla="*/ 107679 h 221248"/>
                <a:gd name="csX39" fmla="*/ 78772 w 239036"/>
                <a:gd name="csY39" fmla="*/ 73342 h 221248"/>
                <a:gd name="csX40" fmla="*/ 112227 w 239036"/>
                <a:gd name="csY40" fmla="*/ 74221 h 221248"/>
                <a:gd name="csX41" fmla="*/ 95037 w 239036"/>
                <a:gd name="csY41" fmla="*/ 61647 h 221248"/>
                <a:gd name="csX42" fmla="*/ 124803 w 239036"/>
                <a:gd name="csY42" fmla="*/ 91413 h 221248"/>
                <a:gd name="csX43" fmla="*/ 95037 w 239036"/>
                <a:gd name="csY43" fmla="*/ 121178 h 221248"/>
                <a:gd name="csX44" fmla="*/ 65272 w 239036"/>
                <a:gd name="csY44" fmla="*/ 91413 h 221248"/>
                <a:gd name="csX45" fmla="*/ 95037 w 239036"/>
                <a:gd name="csY45" fmla="*/ 61647 h 221248"/>
                <a:gd name="csX46" fmla="*/ 163481 w 239036"/>
                <a:gd name="csY46" fmla="*/ 34453 h 221248"/>
                <a:gd name="csX47" fmla="*/ 155310 w 239036"/>
                <a:gd name="csY47" fmla="*/ 34453 h 221248"/>
                <a:gd name="csX48" fmla="*/ 155310 w 239036"/>
                <a:gd name="csY48" fmla="*/ 42624 h 221248"/>
                <a:gd name="csX49" fmla="*/ 163481 w 239036"/>
                <a:gd name="csY49" fmla="*/ 42624 h 221248"/>
                <a:gd name="csX50" fmla="*/ 163481 w 239036"/>
                <a:gd name="csY50" fmla="*/ 42624 h 221248"/>
                <a:gd name="csX51" fmla="*/ 163481 w 239036"/>
                <a:gd name="csY51" fmla="*/ 34453 h 221248"/>
                <a:gd name="csX52" fmla="*/ 145514 w 239036"/>
                <a:gd name="csY52" fmla="*/ 61531 h 221248"/>
                <a:gd name="csX53" fmla="*/ 173277 w 239036"/>
                <a:gd name="csY53" fmla="*/ 61531 h 221248"/>
                <a:gd name="csX54" fmla="*/ 145514 w 239036"/>
                <a:gd name="csY54" fmla="*/ 61531 h 221248"/>
                <a:gd name="csX55" fmla="*/ 176588 w 239036"/>
                <a:gd name="csY55" fmla="*/ 24374 h 221248"/>
                <a:gd name="csX56" fmla="*/ 177468 w 239036"/>
                <a:gd name="csY56" fmla="*/ 57832 h 221248"/>
                <a:gd name="csX57" fmla="*/ 165115 w 239036"/>
                <a:gd name="csY57" fmla="*/ 48204 h 221248"/>
                <a:gd name="csX58" fmla="*/ 170625 w 239036"/>
                <a:gd name="csY58" fmla="*/ 38537 h 221248"/>
                <a:gd name="csX59" fmla="*/ 151453 w 239036"/>
                <a:gd name="csY59" fmla="*/ 30596 h 221248"/>
                <a:gd name="csX60" fmla="*/ 151461 w 239036"/>
                <a:gd name="csY60" fmla="*/ 46487 h 221248"/>
                <a:gd name="csX61" fmla="*/ 153674 w 239036"/>
                <a:gd name="csY61" fmla="*/ 48204 h 221248"/>
                <a:gd name="csX62" fmla="*/ 141326 w 239036"/>
                <a:gd name="csY62" fmla="*/ 57833 h 221248"/>
                <a:gd name="csX63" fmla="*/ 143181 w 239036"/>
                <a:gd name="csY63" fmla="*/ 23498 h 221248"/>
                <a:gd name="csX64" fmla="*/ 176588 w 239036"/>
                <a:gd name="csY64" fmla="*/ 24375 h 221248"/>
                <a:gd name="csX65" fmla="*/ 159395 w 239036"/>
                <a:gd name="csY65" fmla="*/ 11802 h 221248"/>
                <a:gd name="csX66" fmla="*/ 189161 w 239036"/>
                <a:gd name="csY66" fmla="*/ 41568 h 221248"/>
                <a:gd name="csX67" fmla="*/ 159395 w 239036"/>
                <a:gd name="csY67" fmla="*/ 71333 h 221248"/>
                <a:gd name="csX68" fmla="*/ 129630 w 239036"/>
                <a:gd name="csY68" fmla="*/ 41568 h 221248"/>
                <a:gd name="csX69" fmla="*/ 159395 w 239036"/>
                <a:gd name="csY69" fmla="*/ 11802 h 221248"/>
                <a:gd name="csX70" fmla="*/ 141874 w 239036"/>
                <a:gd name="csY70" fmla="*/ 214888 h 221248"/>
                <a:gd name="csX71" fmla="*/ 172820 w 239036"/>
                <a:gd name="csY71" fmla="*/ 214888 h 221248"/>
                <a:gd name="csX72" fmla="*/ 172820 w 239036"/>
                <a:gd name="csY72" fmla="*/ 95699 h 221248"/>
                <a:gd name="csX73" fmla="*/ 141874 w 239036"/>
                <a:gd name="csY73" fmla="*/ 95699 h 221248"/>
                <a:gd name="csX74" fmla="*/ 141874 w 239036"/>
                <a:gd name="csY74" fmla="*/ 214886 h 221248"/>
                <a:gd name="csX75" fmla="*/ 79564 w 239036"/>
                <a:gd name="csY75" fmla="*/ 214888 h 221248"/>
                <a:gd name="csX76" fmla="*/ 110510 w 239036"/>
                <a:gd name="csY76" fmla="*/ 214888 h 221248"/>
                <a:gd name="csX77" fmla="*/ 110510 w 239036"/>
                <a:gd name="csY77" fmla="*/ 144641 h 221248"/>
                <a:gd name="csX78" fmla="*/ 79564 w 239036"/>
                <a:gd name="csY78" fmla="*/ 144641 h 221248"/>
                <a:gd name="csX79" fmla="*/ 17255 w 239036"/>
                <a:gd name="csY79" fmla="*/ 214888 h 221248"/>
                <a:gd name="csX80" fmla="*/ 48201 w 239036"/>
                <a:gd name="csY80" fmla="*/ 214888 h 221248"/>
                <a:gd name="csX81" fmla="*/ 48201 w 239036"/>
                <a:gd name="csY81" fmla="*/ 106357 h 221248"/>
                <a:gd name="csX82" fmla="*/ 17253 w 239036"/>
                <a:gd name="csY82" fmla="*/ 106357 h 221248"/>
                <a:gd name="csX83" fmla="*/ 17253 w 239036"/>
                <a:gd name="csY83" fmla="*/ 214888 h 221248"/>
                <a:gd name="csX84" fmla="*/ 3142 w 239036"/>
                <a:gd name="csY84" fmla="*/ 221249 h 221248"/>
                <a:gd name="csX85" fmla="*/ 0 w 239036"/>
                <a:gd name="csY85" fmla="*/ 218028 h 221248"/>
                <a:gd name="csX86" fmla="*/ 3142 w 239036"/>
                <a:gd name="csY86" fmla="*/ 214886 h 221248"/>
                <a:gd name="csX87" fmla="*/ 10893 w 239036"/>
                <a:gd name="csY87" fmla="*/ 214886 h 221248"/>
                <a:gd name="csX88" fmla="*/ 10893 w 239036"/>
                <a:gd name="csY88" fmla="*/ 103174 h 221248"/>
                <a:gd name="csX89" fmla="*/ 14074 w 239036"/>
                <a:gd name="csY89" fmla="*/ 99993 h 221248"/>
                <a:gd name="csX90" fmla="*/ 51380 w 239036"/>
                <a:gd name="csY90" fmla="*/ 99993 h 221248"/>
                <a:gd name="csX91" fmla="*/ 54561 w 239036"/>
                <a:gd name="csY91" fmla="*/ 103174 h 221248"/>
                <a:gd name="csX92" fmla="*/ 54561 w 239036"/>
                <a:gd name="csY92" fmla="*/ 214886 h 221248"/>
                <a:gd name="csX93" fmla="*/ 73202 w 239036"/>
                <a:gd name="csY93" fmla="*/ 214886 h 221248"/>
                <a:gd name="csX94" fmla="*/ 73202 w 239036"/>
                <a:gd name="csY94" fmla="*/ 141457 h 221248"/>
                <a:gd name="csX95" fmla="*/ 76383 w 239036"/>
                <a:gd name="csY95" fmla="*/ 138276 h 221248"/>
                <a:gd name="csX96" fmla="*/ 113689 w 239036"/>
                <a:gd name="csY96" fmla="*/ 138276 h 221248"/>
                <a:gd name="csX97" fmla="*/ 116870 w 239036"/>
                <a:gd name="csY97" fmla="*/ 141457 h 221248"/>
                <a:gd name="csX98" fmla="*/ 116870 w 239036"/>
                <a:gd name="csY98" fmla="*/ 214886 h 221248"/>
                <a:gd name="csX99" fmla="*/ 135511 w 239036"/>
                <a:gd name="csY99" fmla="*/ 214886 h 221248"/>
                <a:gd name="csX100" fmla="*/ 135511 w 239036"/>
                <a:gd name="csY100" fmla="*/ 92516 h 221248"/>
                <a:gd name="csX101" fmla="*/ 138693 w 239036"/>
                <a:gd name="csY101" fmla="*/ 89335 h 221248"/>
                <a:gd name="csX102" fmla="*/ 175999 w 239036"/>
                <a:gd name="csY102" fmla="*/ 89335 h 221248"/>
                <a:gd name="csX103" fmla="*/ 179180 w 239036"/>
                <a:gd name="csY103" fmla="*/ 92516 h 221248"/>
                <a:gd name="csX104" fmla="*/ 179180 w 239036"/>
                <a:gd name="csY104" fmla="*/ 214886 h 221248"/>
                <a:gd name="csX105" fmla="*/ 186931 w 239036"/>
                <a:gd name="csY105" fmla="*/ 214886 h 221248"/>
                <a:gd name="csX106" fmla="*/ 190152 w 239036"/>
                <a:gd name="csY106" fmla="*/ 218028 h 221248"/>
                <a:gd name="csX107" fmla="*/ 187010 w 239036"/>
                <a:gd name="csY107" fmla="*/ 221249 h 221248"/>
                <a:gd name="csX108" fmla="*/ 186931 w 239036"/>
                <a:gd name="csY108" fmla="*/ 221249 h 221248"/>
                <a:gd name="csX109" fmla="*/ 131438 w 239036"/>
                <a:gd name="csY109" fmla="*/ 18323 h 221248"/>
                <a:gd name="csX110" fmla="*/ 135845 w 239036"/>
                <a:gd name="csY110" fmla="*/ 69257 h 221248"/>
                <a:gd name="csX111" fmla="*/ 181240 w 239036"/>
                <a:gd name="csY111" fmla="*/ 70169 h 221248"/>
                <a:gd name="csX112" fmla="*/ 184774 w 239036"/>
                <a:gd name="csY112" fmla="*/ 70349 h 221248"/>
                <a:gd name="csX113" fmla="*/ 186334 w 239036"/>
                <a:gd name="csY113" fmla="*/ 71661 h 221248"/>
                <a:gd name="csX114" fmla="*/ 187200 w 239036"/>
                <a:gd name="csY114" fmla="*/ 71586 h 221248"/>
                <a:gd name="csX115" fmla="*/ 193477 w 239036"/>
                <a:gd name="csY115" fmla="*/ 64122 h 221248"/>
                <a:gd name="csX116" fmla="*/ 193223 w 239036"/>
                <a:gd name="csY116" fmla="*/ 63105 h 221248"/>
                <a:gd name="csX117" fmla="*/ 191718 w 239036"/>
                <a:gd name="csY117" fmla="*/ 61837 h 221248"/>
                <a:gd name="csX118" fmla="*/ 191063 w 239036"/>
                <a:gd name="csY118" fmla="*/ 58496 h 221248"/>
                <a:gd name="csX119" fmla="*/ 191058 w 239036"/>
                <a:gd name="csY119" fmla="*/ 58493 h 221248"/>
                <a:gd name="csX120" fmla="*/ 175988 w 239036"/>
                <a:gd name="csY120" fmla="*/ 9640 h 221248"/>
                <a:gd name="csX121" fmla="*/ 131438 w 239036"/>
                <a:gd name="csY121" fmla="*/ 18323 h 221248"/>
                <a:gd name="csX122" fmla="*/ 209403 w 239036"/>
                <a:gd name="csY122" fmla="*/ 72356 h 221248"/>
                <a:gd name="csX123" fmla="*/ 199057 w 239036"/>
                <a:gd name="csY123" fmla="*/ 63728 h 221248"/>
                <a:gd name="csX124" fmla="*/ 197072 w 239036"/>
                <a:gd name="csY124" fmla="*/ 59256 h 221248"/>
                <a:gd name="csX125" fmla="*/ 197077 w 239036"/>
                <a:gd name="csY125" fmla="*/ 59251 h 221248"/>
                <a:gd name="csX126" fmla="*/ 196853 w 239036"/>
                <a:gd name="csY126" fmla="*/ 59053 h 221248"/>
                <a:gd name="csX127" fmla="*/ 176575 w 239036"/>
                <a:gd name="csY127" fmla="*/ 3854 h 221248"/>
                <a:gd name="csX128" fmla="*/ 121376 w 239036"/>
                <a:gd name="csY128" fmla="*/ 24131 h 221248"/>
                <a:gd name="csX129" fmla="*/ 141654 w 239036"/>
                <a:gd name="csY129" fmla="*/ 79331 h 221248"/>
                <a:gd name="csX130" fmla="*/ 182791 w 239036"/>
                <a:gd name="csY130" fmla="*/ 75775 h 221248"/>
                <a:gd name="csX131" fmla="*/ 187693 w 239036"/>
                <a:gd name="csY131" fmla="*/ 77164 h 221248"/>
                <a:gd name="csX132" fmla="*/ 198029 w 239036"/>
                <a:gd name="csY132" fmla="*/ 85784 h 221248"/>
                <a:gd name="csX133" fmla="*/ 199964 w 239036"/>
                <a:gd name="csY133" fmla="*/ 92249 h 221248"/>
                <a:gd name="csX134" fmla="*/ 199959 w 239036"/>
                <a:gd name="csY134" fmla="*/ 92254 h 221248"/>
                <a:gd name="csX135" fmla="*/ 199974 w 239036"/>
                <a:gd name="csY135" fmla="*/ 92269 h 221248"/>
                <a:gd name="csX136" fmla="*/ 220196 w 239036"/>
                <a:gd name="csY136" fmla="*/ 109247 h 221248"/>
                <a:gd name="csX137" fmla="*/ 231248 w 239036"/>
                <a:gd name="csY137" fmla="*/ 108281 h 221248"/>
                <a:gd name="csX138" fmla="*/ 237186 w 239036"/>
                <a:gd name="csY138" fmla="*/ 101230 h 221248"/>
                <a:gd name="csX139" fmla="*/ 237191 w 239036"/>
                <a:gd name="csY139" fmla="*/ 101235 h 221248"/>
                <a:gd name="csX140" fmla="*/ 237207 w 239036"/>
                <a:gd name="csY140" fmla="*/ 101218 h 221248"/>
                <a:gd name="csX141" fmla="*/ 236249 w 239036"/>
                <a:gd name="csY141" fmla="*/ 90193 h 221248"/>
                <a:gd name="csX142" fmla="*/ 236254 w 239036"/>
                <a:gd name="csY142" fmla="*/ 90188 h 221248"/>
                <a:gd name="csX143" fmla="*/ 236237 w 239036"/>
                <a:gd name="csY143" fmla="*/ 90172 h 221248"/>
                <a:gd name="csX144" fmla="*/ 216016 w 239036"/>
                <a:gd name="csY144" fmla="*/ 73195 h 221248"/>
                <a:gd name="csX145" fmla="*/ 209405 w 239036"/>
                <a:gd name="csY145" fmla="*/ 72356 h 221248"/>
                <a:gd name="csX146" fmla="*/ 201145 w 239036"/>
                <a:gd name="csY146" fmla="*/ 81313 h 221248"/>
                <a:gd name="csX147" fmla="*/ 192309 w 239036"/>
                <a:gd name="csY147" fmla="*/ 73944 h 221248"/>
                <a:gd name="csX148" fmla="*/ 196645 w 239036"/>
                <a:gd name="csY148" fmla="*/ 68788 h 221248"/>
                <a:gd name="csX149" fmla="*/ 205485 w 239036"/>
                <a:gd name="csY149" fmla="*/ 76160 h 221248"/>
                <a:gd name="csX150" fmla="*/ 211496 w 239036"/>
                <a:gd name="csY150" fmla="*/ 77448 h 221248"/>
                <a:gd name="csX151" fmla="*/ 212520 w 239036"/>
                <a:gd name="csY151" fmla="*/ 77370 h 221248"/>
                <a:gd name="csX152" fmla="*/ 232741 w 239036"/>
                <a:gd name="csY152" fmla="*/ 94347 h 221248"/>
                <a:gd name="csX153" fmla="*/ 232747 w 239036"/>
                <a:gd name="csY153" fmla="*/ 94341 h 221248"/>
                <a:gd name="csX154" fmla="*/ 233029 w 239036"/>
                <a:gd name="csY154" fmla="*/ 97725 h 221248"/>
                <a:gd name="csX155" fmla="*/ 233035 w 239036"/>
                <a:gd name="csY155" fmla="*/ 97730 h 221248"/>
                <a:gd name="csX156" fmla="*/ 227091 w 239036"/>
                <a:gd name="csY156" fmla="*/ 104788 h 221248"/>
                <a:gd name="csX157" fmla="*/ 223687 w 239036"/>
                <a:gd name="csY157" fmla="*/ 105072 h 221248"/>
                <a:gd name="csX158" fmla="*/ 203465 w 239036"/>
                <a:gd name="csY158" fmla="*/ 88093 h 221248"/>
                <a:gd name="csX159" fmla="*/ 203460 w 239036"/>
                <a:gd name="csY159" fmla="*/ 88100 h 221248"/>
                <a:gd name="csX160" fmla="*/ 203385 w 239036"/>
                <a:gd name="csY160" fmla="*/ 87092 h 221248"/>
                <a:gd name="csX161" fmla="*/ 203378 w 239036"/>
                <a:gd name="csY161" fmla="*/ 87087 h 22124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Lst>
              <a:rect l="l" t="t" r="r" b="b"/>
              <a:pathLst>
                <a:path w="239036" h="221248">
                  <a:moveTo>
                    <a:pt x="34765" y="34473"/>
                  </a:moveTo>
                  <a:cubicBezTo>
                    <a:pt x="32508" y="32217"/>
                    <a:pt x="28850" y="32218"/>
                    <a:pt x="26594" y="34474"/>
                  </a:cubicBezTo>
                  <a:cubicBezTo>
                    <a:pt x="24338" y="36730"/>
                    <a:pt x="24338" y="40388"/>
                    <a:pt x="26595" y="42645"/>
                  </a:cubicBezTo>
                  <a:cubicBezTo>
                    <a:pt x="28851" y="44900"/>
                    <a:pt x="32509" y="44900"/>
                    <a:pt x="34765" y="42645"/>
                  </a:cubicBezTo>
                  <a:cubicBezTo>
                    <a:pt x="37018" y="40387"/>
                    <a:pt x="37018" y="36731"/>
                    <a:pt x="34765" y="34473"/>
                  </a:cubicBezTo>
                  <a:close/>
                  <a:moveTo>
                    <a:pt x="16797" y="61552"/>
                  </a:moveTo>
                  <a:cubicBezTo>
                    <a:pt x="25142" y="67354"/>
                    <a:pt x="36215" y="67354"/>
                    <a:pt x="44561" y="61552"/>
                  </a:cubicBezTo>
                  <a:cubicBezTo>
                    <a:pt x="38939" y="50023"/>
                    <a:pt x="22418" y="50023"/>
                    <a:pt x="16797" y="61552"/>
                  </a:cubicBezTo>
                  <a:close/>
                  <a:moveTo>
                    <a:pt x="47872" y="24395"/>
                  </a:moveTo>
                  <a:cubicBezTo>
                    <a:pt x="57018" y="33538"/>
                    <a:pt x="57405" y="48242"/>
                    <a:pt x="48751" y="57853"/>
                  </a:cubicBezTo>
                  <a:cubicBezTo>
                    <a:pt x="46031" y="53168"/>
                    <a:pt x="41604" y="49718"/>
                    <a:pt x="36398" y="48225"/>
                  </a:cubicBezTo>
                  <a:cubicBezTo>
                    <a:pt x="39815" y="46204"/>
                    <a:pt x="41910" y="42529"/>
                    <a:pt x="41908" y="38559"/>
                  </a:cubicBezTo>
                  <a:cubicBezTo>
                    <a:pt x="41908" y="28588"/>
                    <a:pt x="29796" y="23559"/>
                    <a:pt x="22736" y="30618"/>
                  </a:cubicBezTo>
                  <a:cubicBezTo>
                    <a:pt x="18351" y="35008"/>
                    <a:pt x="18354" y="42123"/>
                    <a:pt x="22744" y="46508"/>
                  </a:cubicBezTo>
                  <a:cubicBezTo>
                    <a:pt x="23408" y="47171"/>
                    <a:pt x="24151" y="47748"/>
                    <a:pt x="24957" y="48226"/>
                  </a:cubicBezTo>
                  <a:cubicBezTo>
                    <a:pt x="19751" y="49719"/>
                    <a:pt x="15324" y="53169"/>
                    <a:pt x="12605" y="57854"/>
                  </a:cubicBezTo>
                  <a:cubicBezTo>
                    <a:pt x="3611" y="47882"/>
                    <a:pt x="4404" y="32508"/>
                    <a:pt x="14376" y="23514"/>
                  </a:cubicBezTo>
                  <a:cubicBezTo>
                    <a:pt x="23994" y="14840"/>
                    <a:pt x="38723" y="15227"/>
                    <a:pt x="47872" y="24396"/>
                  </a:cubicBezTo>
                  <a:close/>
                  <a:moveTo>
                    <a:pt x="30679" y="11821"/>
                  </a:moveTo>
                  <a:cubicBezTo>
                    <a:pt x="47118" y="11821"/>
                    <a:pt x="60445" y="25148"/>
                    <a:pt x="60445" y="41587"/>
                  </a:cubicBezTo>
                  <a:cubicBezTo>
                    <a:pt x="60445" y="58026"/>
                    <a:pt x="47118" y="71353"/>
                    <a:pt x="30679" y="71353"/>
                  </a:cubicBezTo>
                  <a:cubicBezTo>
                    <a:pt x="14240" y="71353"/>
                    <a:pt x="913" y="58026"/>
                    <a:pt x="913" y="41587"/>
                  </a:cubicBezTo>
                  <a:cubicBezTo>
                    <a:pt x="915" y="25148"/>
                    <a:pt x="14240" y="11823"/>
                    <a:pt x="30679" y="11821"/>
                  </a:cubicBezTo>
                  <a:close/>
                  <a:moveTo>
                    <a:pt x="99123" y="84301"/>
                  </a:moveTo>
                  <a:cubicBezTo>
                    <a:pt x="96867" y="82044"/>
                    <a:pt x="93208" y="82045"/>
                    <a:pt x="90952" y="84301"/>
                  </a:cubicBezTo>
                  <a:cubicBezTo>
                    <a:pt x="88696" y="86557"/>
                    <a:pt x="88696" y="90216"/>
                    <a:pt x="90953" y="92472"/>
                  </a:cubicBezTo>
                  <a:cubicBezTo>
                    <a:pt x="93209" y="94728"/>
                    <a:pt x="96867" y="94728"/>
                    <a:pt x="99123" y="92472"/>
                  </a:cubicBezTo>
                  <a:cubicBezTo>
                    <a:pt x="101376" y="90214"/>
                    <a:pt x="101376" y="86558"/>
                    <a:pt x="99123" y="84301"/>
                  </a:cubicBezTo>
                  <a:close/>
                  <a:moveTo>
                    <a:pt x="81155" y="111379"/>
                  </a:moveTo>
                  <a:cubicBezTo>
                    <a:pt x="89501" y="117181"/>
                    <a:pt x="100574" y="117181"/>
                    <a:pt x="108919" y="111379"/>
                  </a:cubicBezTo>
                  <a:cubicBezTo>
                    <a:pt x="103298" y="99850"/>
                    <a:pt x="86777" y="99850"/>
                    <a:pt x="81155" y="111379"/>
                  </a:cubicBezTo>
                  <a:close/>
                  <a:moveTo>
                    <a:pt x="112230" y="74221"/>
                  </a:moveTo>
                  <a:cubicBezTo>
                    <a:pt x="121376" y="83365"/>
                    <a:pt x="121763" y="98069"/>
                    <a:pt x="113109" y="107679"/>
                  </a:cubicBezTo>
                  <a:cubicBezTo>
                    <a:pt x="110389" y="102995"/>
                    <a:pt x="105963" y="99545"/>
                    <a:pt x="100756" y="98051"/>
                  </a:cubicBezTo>
                  <a:cubicBezTo>
                    <a:pt x="104173" y="96030"/>
                    <a:pt x="106268" y="92355"/>
                    <a:pt x="106267" y="88385"/>
                  </a:cubicBezTo>
                  <a:cubicBezTo>
                    <a:pt x="106267" y="78414"/>
                    <a:pt x="94154" y="73385"/>
                    <a:pt x="87095" y="80444"/>
                  </a:cubicBezTo>
                  <a:cubicBezTo>
                    <a:pt x="82709" y="84834"/>
                    <a:pt x="82712" y="91948"/>
                    <a:pt x="87102" y="96334"/>
                  </a:cubicBezTo>
                  <a:cubicBezTo>
                    <a:pt x="87765" y="96997"/>
                    <a:pt x="88509" y="97573"/>
                    <a:pt x="89315" y="98051"/>
                  </a:cubicBezTo>
                  <a:cubicBezTo>
                    <a:pt x="84109" y="99545"/>
                    <a:pt x="79682" y="102995"/>
                    <a:pt x="76962" y="107679"/>
                  </a:cubicBezTo>
                  <a:cubicBezTo>
                    <a:pt x="67980" y="97698"/>
                    <a:pt x="68790" y="82324"/>
                    <a:pt x="78772" y="73342"/>
                  </a:cubicBezTo>
                  <a:cubicBezTo>
                    <a:pt x="88384" y="64693"/>
                    <a:pt x="103083" y="65079"/>
                    <a:pt x="112227" y="74221"/>
                  </a:cubicBezTo>
                  <a:close/>
                  <a:moveTo>
                    <a:pt x="95037" y="61647"/>
                  </a:moveTo>
                  <a:cubicBezTo>
                    <a:pt x="111476" y="61647"/>
                    <a:pt x="124803" y="74973"/>
                    <a:pt x="124803" y="91413"/>
                  </a:cubicBezTo>
                  <a:cubicBezTo>
                    <a:pt x="124803" y="107852"/>
                    <a:pt x="111476" y="121178"/>
                    <a:pt x="95037" y="121178"/>
                  </a:cubicBezTo>
                  <a:cubicBezTo>
                    <a:pt x="78598" y="121178"/>
                    <a:pt x="65272" y="107852"/>
                    <a:pt x="65272" y="91413"/>
                  </a:cubicBezTo>
                  <a:cubicBezTo>
                    <a:pt x="65273" y="74974"/>
                    <a:pt x="78599" y="61649"/>
                    <a:pt x="95037" y="61647"/>
                  </a:cubicBezTo>
                  <a:close/>
                  <a:moveTo>
                    <a:pt x="163481" y="34453"/>
                  </a:moveTo>
                  <a:cubicBezTo>
                    <a:pt x="161225" y="32197"/>
                    <a:pt x="157566" y="32196"/>
                    <a:pt x="155310" y="34453"/>
                  </a:cubicBezTo>
                  <a:cubicBezTo>
                    <a:pt x="153053" y="36709"/>
                    <a:pt x="153053" y="40368"/>
                    <a:pt x="155310" y="42624"/>
                  </a:cubicBezTo>
                  <a:cubicBezTo>
                    <a:pt x="157566" y="44881"/>
                    <a:pt x="161225" y="44881"/>
                    <a:pt x="163481" y="42624"/>
                  </a:cubicBezTo>
                  <a:cubicBezTo>
                    <a:pt x="163481" y="42624"/>
                    <a:pt x="163481" y="42624"/>
                    <a:pt x="163481" y="42624"/>
                  </a:cubicBezTo>
                  <a:cubicBezTo>
                    <a:pt x="165734" y="40366"/>
                    <a:pt x="165734" y="36711"/>
                    <a:pt x="163481" y="34453"/>
                  </a:cubicBezTo>
                  <a:close/>
                  <a:moveTo>
                    <a:pt x="145514" y="61531"/>
                  </a:moveTo>
                  <a:cubicBezTo>
                    <a:pt x="153859" y="67333"/>
                    <a:pt x="164932" y="67333"/>
                    <a:pt x="173277" y="61531"/>
                  </a:cubicBezTo>
                  <a:cubicBezTo>
                    <a:pt x="167656" y="50002"/>
                    <a:pt x="151135" y="50003"/>
                    <a:pt x="145514" y="61531"/>
                  </a:cubicBezTo>
                  <a:close/>
                  <a:moveTo>
                    <a:pt x="176588" y="24374"/>
                  </a:moveTo>
                  <a:cubicBezTo>
                    <a:pt x="185735" y="33517"/>
                    <a:pt x="186121" y="48221"/>
                    <a:pt x="177468" y="57832"/>
                  </a:cubicBezTo>
                  <a:cubicBezTo>
                    <a:pt x="174748" y="53148"/>
                    <a:pt x="170321" y="49697"/>
                    <a:pt x="165115" y="48204"/>
                  </a:cubicBezTo>
                  <a:cubicBezTo>
                    <a:pt x="168532" y="46183"/>
                    <a:pt x="170627" y="42507"/>
                    <a:pt x="170625" y="38537"/>
                  </a:cubicBezTo>
                  <a:cubicBezTo>
                    <a:pt x="170625" y="28566"/>
                    <a:pt x="158513" y="23537"/>
                    <a:pt x="151453" y="30596"/>
                  </a:cubicBezTo>
                  <a:cubicBezTo>
                    <a:pt x="147068" y="34987"/>
                    <a:pt x="147071" y="42101"/>
                    <a:pt x="151461" y="46487"/>
                  </a:cubicBezTo>
                  <a:cubicBezTo>
                    <a:pt x="152125" y="47149"/>
                    <a:pt x="152868" y="47726"/>
                    <a:pt x="153674" y="48204"/>
                  </a:cubicBezTo>
                  <a:cubicBezTo>
                    <a:pt x="148469" y="49698"/>
                    <a:pt x="144044" y="53149"/>
                    <a:pt x="141326" y="57833"/>
                  </a:cubicBezTo>
                  <a:cubicBezTo>
                    <a:pt x="132357" y="47839"/>
                    <a:pt x="133187" y="32467"/>
                    <a:pt x="143181" y="23498"/>
                  </a:cubicBezTo>
                  <a:cubicBezTo>
                    <a:pt x="152785" y="14879"/>
                    <a:pt x="167450" y="15264"/>
                    <a:pt x="176588" y="24375"/>
                  </a:cubicBezTo>
                  <a:close/>
                  <a:moveTo>
                    <a:pt x="159395" y="11802"/>
                  </a:moveTo>
                  <a:cubicBezTo>
                    <a:pt x="175834" y="11802"/>
                    <a:pt x="189161" y="25128"/>
                    <a:pt x="189161" y="41568"/>
                  </a:cubicBezTo>
                  <a:cubicBezTo>
                    <a:pt x="189161" y="58007"/>
                    <a:pt x="175834" y="71333"/>
                    <a:pt x="159395" y="71333"/>
                  </a:cubicBezTo>
                  <a:cubicBezTo>
                    <a:pt x="142956" y="71333"/>
                    <a:pt x="129630" y="58007"/>
                    <a:pt x="129630" y="41568"/>
                  </a:cubicBezTo>
                  <a:cubicBezTo>
                    <a:pt x="129631" y="25129"/>
                    <a:pt x="142957" y="11803"/>
                    <a:pt x="159395" y="11802"/>
                  </a:cubicBezTo>
                  <a:close/>
                  <a:moveTo>
                    <a:pt x="141874" y="214888"/>
                  </a:moveTo>
                  <a:lnTo>
                    <a:pt x="172820" y="214888"/>
                  </a:lnTo>
                  <a:lnTo>
                    <a:pt x="172820" y="95699"/>
                  </a:lnTo>
                  <a:lnTo>
                    <a:pt x="141874" y="95699"/>
                  </a:lnTo>
                  <a:lnTo>
                    <a:pt x="141874" y="214886"/>
                  </a:lnTo>
                  <a:close/>
                  <a:moveTo>
                    <a:pt x="79564" y="214888"/>
                  </a:moveTo>
                  <a:lnTo>
                    <a:pt x="110510" y="214888"/>
                  </a:lnTo>
                  <a:lnTo>
                    <a:pt x="110510" y="144641"/>
                  </a:lnTo>
                  <a:lnTo>
                    <a:pt x="79564" y="144641"/>
                  </a:lnTo>
                  <a:close/>
                  <a:moveTo>
                    <a:pt x="17255" y="214888"/>
                  </a:moveTo>
                  <a:lnTo>
                    <a:pt x="48201" y="214888"/>
                  </a:lnTo>
                  <a:lnTo>
                    <a:pt x="48201" y="106357"/>
                  </a:lnTo>
                  <a:lnTo>
                    <a:pt x="17253" y="106357"/>
                  </a:lnTo>
                  <a:lnTo>
                    <a:pt x="17253" y="214888"/>
                  </a:lnTo>
                  <a:close/>
                  <a:moveTo>
                    <a:pt x="3142" y="221249"/>
                  </a:moveTo>
                  <a:cubicBezTo>
                    <a:pt x="1385" y="221227"/>
                    <a:pt x="-22" y="219785"/>
                    <a:pt x="0" y="218028"/>
                  </a:cubicBezTo>
                  <a:cubicBezTo>
                    <a:pt x="22" y="216302"/>
                    <a:pt x="1416" y="214908"/>
                    <a:pt x="3142" y="214886"/>
                  </a:cubicBezTo>
                  <a:lnTo>
                    <a:pt x="10893" y="214886"/>
                  </a:lnTo>
                  <a:lnTo>
                    <a:pt x="10893" y="103174"/>
                  </a:lnTo>
                  <a:cubicBezTo>
                    <a:pt x="10893" y="101418"/>
                    <a:pt x="12317" y="99993"/>
                    <a:pt x="14074" y="99993"/>
                  </a:cubicBezTo>
                  <a:lnTo>
                    <a:pt x="51380" y="99993"/>
                  </a:lnTo>
                  <a:cubicBezTo>
                    <a:pt x="53137" y="99993"/>
                    <a:pt x="54561" y="101418"/>
                    <a:pt x="54561" y="103174"/>
                  </a:cubicBezTo>
                  <a:lnTo>
                    <a:pt x="54561" y="214886"/>
                  </a:lnTo>
                  <a:lnTo>
                    <a:pt x="73202" y="214886"/>
                  </a:lnTo>
                  <a:lnTo>
                    <a:pt x="73202" y="141457"/>
                  </a:lnTo>
                  <a:cubicBezTo>
                    <a:pt x="73202" y="139700"/>
                    <a:pt x="74626" y="138276"/>
                    <a:pt x="76383" y="138276"/>
                  </a:cubicBezTo>
                  <a:lnTo>
                    <a:pt x="113689" y="138276"/>
                  </a:lnTo>
                  <a:cubicBezTo>
                    <a:pt x="115446" y="138276"/>
                    <a:pt x="116870" y="139700"/>
                    <a:pt x="116870" y="141457"/>
                  </a:cubicBezTo>
                  <a:lnTo>
                    <a:pt x="116870" y="214886"/>
                  </a:lnTo>
                  <a:lnTo>
                    <a:pt x="135511" y="214886"/>
                  </a:lnTo>
                  <a:lnTo>
                    <a:pt x="135511" y="92516"/>
                  </a:lnTo>
                  <a:cubicBezTo>
                    <a:pt x="135512" y="90759"/>
                    <a:pt x="136936" y="89335"/>
                    <a:pt x="138693" y="89335"/>
                  </a:cubicBezTo>
                  <a:lnTo>
                    <a:pt x="175999" y="89335"/>
                  </a:lnTo>
                  <a:cubicBezTo>
                    <a:pt x="177756" y="89335"/>
                    <a:pt x="179180" y="90760"/>
                    <a:pt x="179180" y="92516"/>
                  </a:cubicBezTo>
                  <a:lnTo>
                    <a:pt x="179180" y="214886"/>
                  </a:lnTo>
                  <a:lnTo>
                    <a:pt x="186931" y="214886"/>
                  </a:lnTo>
                  <a:cubicBezTo>
                    <a:pt x="188688" y="214864"/>
                    <a:pt x="190130" y="216271"/>
                    <a:pt x="190152" y="218028"/>
                  </a:cubicBezTo>
                  <a:cubicBezTo>
                    <a:pt x="190173" y="219785"/>
                    <a:pt x="188767" y="221227"/>
                    <a:pt x="187010" y="221249"/>
                  </a:cubicBezTo>
                  <a:cubicBezTo>
                    <a:pt x="186984" y="221249"/>
                    <a:pt x="186957" y="221249"/>
                    <a:pt x="186931" y="221249"/>
                  </a:cubicBezTo>
                  <a:close/>
                  <a:moveTo>
                    <a:pt x="131438" y="18323"/>
                  </a:moveTo>
                  <a:cubicBezTo>
                    <a:pt x="118590" y="33605"/>
                    <a:pt x="120563" y="56409"/>
                    <a:pt x="135845" y="69257"/>
                  </a:cubicBezTo>
                  <a:cubicBezTo>
                    <a:pt x="148875" y="80211"/>
                    <a:pt x="167781" y="80591"/>
                    <a:pt x="181240" y="70169"/>
                  </a:cubicBezTo>
                  <a:cubicBezTo>
                    <a:pt x="182301" y="69350"/>
                    <a:pt x="183801" y="69427"/>
                    <a:pt x="184774" y="70349"/>
                  </a:cubicBezTo>
                  <a:lnTo>
                    <a:pt x="186334" y="71661"/>
                  </a:lnTo>
                  <a:cubicBezTo>
                    <a:pt x="186601" y="71858"/>
                    <a:pt x="186972" y="71826"/>
                    <a:pt x="187200" y="71586"/>
                  </a:cubicBezTo>
                  <a:lnTo>
                    <a:pt x="193477" y="64122"/>
                  </a:lnTo>
                  <a:cubicBezTo>
                    <a:pt x="193800" y="63737"/>
                    <a:pt x="193527" y="63360"/>
                    <a:pt x="193223" y="63105"/>
                  </a:cubicBezTo>
                  <a:lnTo>
                    <a:pt x="191718" y="61837"/>
                  </a:lnTo>
                  <a:cubicBezTo>
                    <a:pt x="190742" y="61016"/>
                    <a:pt x="190469" y="59625"/>
                    <a:pt x="191063" y="58496"/>
                  </a:cubicBezTo>
                  <a:lnTo>
                    <a:pt x="191058" y="58493"/>
                  </a:lnTo>
                  <a:cubicBezTo>
                    <a:pt x="200387" y="40841"/>
                    <a:pt x="193640" y="18969"/>
                    <a:pt x="175988" y="9640"/>
                  </a:cubicBezTo>
                  <a:cubicBezTo>
                    <a:pt x="160945" y="1689"/>
                    <a:pt x="142394" y="5305"/>
                    <a:pt x="131438" y="18323"/>
                  </a:cubicBezTo>
                  <a:close/>
                  <a:moveTo>
                    <a:pt x="209403" y="72356"/>
                  </a:moveTo>
                  <a:lnTo>
                    <a:pt x="199057" y="63728"/>
                  </a:lnTo>
                  <a:cubicBezTo>
                    <a:pt x="199058" y="62024"/>
                    <a:pt x="198337" y="60399"/>
                    <a:pt x="197072" y="59256"/>
                  </a:cubicBezTo>
                  <a:lnTo>
                    <a:pt x="197077" y="59251"/>
                  </a:lnTo>
                  <a:cubicBezTo>
                    <a:pt x="197006" y="59181"/>
                    <a:pt x="196931" y="59115"/>
                    <a:pt x="196853" y="59053"/>
                  </a:cubicBezTo>
                  <a:cubicBezTo>
                    <a:pt x="206496" y="38210"/>
                    <a:pt x="197418" y="13497"/>
                    <a:pt x="176575" y="3854"/>
                  </a:cubicBezTo>
                  <a:cubicBezTo>
                    <a:pt x="155733" y="-5790"/>
                    <a:pt x="131019" y="3289"/>
                    <a:pt x="121376" y="24131"/>
                  </a:cubicBezTo>
                  <a:cubicBezTo>
                    <a:pt x="111733" y="44974"/>
                    <a:pt x="120811" y="69687"/>
                    <a:pt x="141654" y="79331"/>
                  </a:cubicBezTo>
                  <a:cubicBezTo>
                    <a:pt x="155028" y="85518"/>
                    <a:pt x="170677" y="84166"/>
                    <a:pt x="182791" y="75775"/>
                  </a:cubicBezTo>
                  <a:cubicBezTo>
                    <a:pt x="184141" y="76938"/>
                    <a:pt x="185934" y="77446"/>
                    <a:pt x="187693" y="77164"/>
                  </a:cubicBezTo>
                  <a:lnTo>
                    <a:pt x="198029" y="85784"/>
                  </a:lnTo>
                  <a:cubicBezTo>
                    <a:pt x="197326" y="88132"/>
                    <a:pt x="198087" y="90673"/>
                    <a:pt x="199964" y="92249"/>
                  </a:cubicBezTo>
                  <a:lnTo>
                    <a:pt x="199959" y="92254"/>
                  </a:lnTo>
                  <a:lnTo>
                    <a:pt x="199974" y="92269"/>
                  </a:lnTo>
                  <a:lnTo>
                    <a:pt x="220196" y="109247"/>
                  </a:lnTo>
                  <a:cubicBezTo>
                    <a:pt x="223515" y="112029"/>
                    <a:pt x="228461" y="111597"/>
                    <a:pt x="231248" y="108281"/>
                  </a:cubicBezTo>
                  <a:lnTo>
                    <a:pt x="237186" y="101230"/>
                  </a:lnTo>
                  <a:lnTo>
                    <a:pt x="237191" y="101235"/>
                  </a:lnTo>
                  <a:lnTo>
                    <a:pt x="237207" y="101218"/>
                  </a:lnTo>
                  <a:cubicBezTo>
                    <a:pt x="239912" y="98192"/>
                    <a:pt x="239638" y="93054"/>
                    <a:pt x="236249" y="90193"/>
                  </a:cubicBezTo>
                  <a:lnTo>
                    <a:pt x="236254" y="90188"/>
                  </a:lnTo>
                  <a:lnTo>
                    <a:pt x="236237" y="90172"/>
                  </a:lnTo>
                  <a:lnTo>
                    <a:pt x="216016" y="73195"/>
                  </a:lnTo>
                  <a:cubicBezTo>
                    <a:pt x="214167" y="71642"/>
                    <a:pt x="211582" y="71314"/>
                    <a:pt x="209405" y="72356"/>
                  </a:cubicBezTo>
                  <a:close/>
                  <a:moveTo>
                    <a:pt x="201145" y="81313"/>
                  </a:moveTo>
                  <a:lnTo>
                    <a:pt x="192309" y="73944"/>
                  </a:lnTo>
                  <a:lnTo>
                    <a:pt x="196645" y="68788"/>
                  </a:lnTo>
                  <a:lnTo>
                    <a:pt x="205485" y="76160"/>
                  </a:lnTo>
                  <a:close/>
                  <a:moveTo>
                    <a:pt x="211496" y="77448"/>
                  </a:moveTo>
                  <a:cubicBezTo>
                    <a:pt x="211765" y="77159"/>
                    <a:pt x="212210" y="77125"/>
                    <a:pt x="212520" y="77370"/>
                  </a:cubicBezTo>
                  <a:lnTo>
                    <a:pt x="232741" y="94347"/>
                  </a:lnTo>
                  <a:lnTo>
                    <a:pt x="232747" y="94341"/>
                  </a:lnTo>
                  <a:cubicBezTo>
                    <a:pt x="233742" y="95207"/>
                    <a:pt x="233867" y="96707"/>
                    <a:pt x="233029" y="97725"/>
                  </a:cubicBezTo>
                  <a:lnTo>
                    <a:pt x="233035" y="97730"/>
                  </a:lnTo>
                  <a:lnTo>
                    <a:pt x="227091" y="104788"/>
                  </a:lnTo>
                  <a:cubicBezTo>
                    <a:pt x="226220" y="105787"/>
                    <a:pt x="224712" y="105913"/>
                    <a:pt x="223687" y="105072"/>
                  </a:cubicBezTo>
                  <a:lnTo>
                    <a:pt x="203465" y="88093"/>
                  </a:lnTo>
                  <a:lnTo>
                    <a:pt x="203460" y="88100"/>
                  </a:lnTo>
                  <a:cubicBezTo>
                    <a:pt x="203176" y="87835"/>
                    <a:pt x="203143" y="87396"/>
                    <a:pt x="203385" y="87092"/>
                  </a:cubicBezTo>
                  <a:lnTo>
                    <a:pt x="203378" y="87087"/>
                  </a:lnTo>
                  <a:close/>
                </a:path>
              </a:pathLst>
            </a:custGeom>
            <a:solidFill>
              <a:schemeClr val="bg1"/>
            </a:solid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60" name="Group 59">
            <a:extLst>
              <a:ext uri="{FF2B5EF4-FFF2-40B4-BE49-F238E27FC236}">
                <a16:creationId xmlns:a16="http://schemas.microsoft.com/office/drawing/2014/main" id="{7FC7EFDE-6CC2-F3F2-F31F-B76E7495C765}"/>
              </a:ext>
            </a:extLst>
          </p:cNvPr>
          <p:cNvGrpSpPr/>
          <p:nvPr/>
        </p:nvGrpSpPr>
        <p:grpSpPr>
          <a:xfrm>
            <a:off x="7936609" y="2015349"/>
            <a:ext cx="457200" cy="457200"/>
            <a:chOff x="7936609" y="2099558"/>
            <a:chExt cx="457200" cy="457200"/>
          </a:xfrm>
        </p:grpSpPr>
        <p:sp>
          <p:nvSpPr>
            <p:cNvPr id="63" name="Oval 62">
              <a:extLst>
                <a:ext uri="{FF2B5EF4-FFF2-40B4-BE49-F238E27FC236}">
                  <a16:creationId xmlns:a16="http://schemas.microsoft.com/office/drawing/2014/main" id="{9AF65700-40C6-8AC9-18D9-021881DDF22D}"/>
                </a:ext>
              </a:extLst>
            </p:cNvPr>
            <p:cNvSpPr>
              <a:spLocks noChangeAspect="1"/>
            </p:cNvSpPr>
            <p:nvPr/>
          </p:nvSpPr>
          <p:spPr>
            <a:xfrm>
              <a:off x="7936609" y="2099558"/>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sp>
          <p:nvSpPr>
            <p:cNvPr id="64" name="Pic">
              <a:extLst>
                <a:ext uri="{FF2B5EF4-FFF2-40B4-BE49-F238E27FC236}">
                  <a16:creationId xmlns:a16="http://schemas.microsoft.com/office/drawing/2014/main" id="{FF3DDCB8-BF0E-D148-7CC4-DEE207CF10C2}"/>
                </a:ext>
              </a:extLst>
            </p:cNvPr>
            <p:cNvSpPr>
              <a:spLocks noChangeAspect="1"/>
            </p:cNvSpPr>
            <p:nvPr/>
          </p:nvSpPr>
          <p:spPr>
            <a:xfrm>
              <a:off x="8046143" y="2209143"/>
              <a:ext cx="238132" cy="238030"/>
            </a:xfrm>
            <a:custGeom>
              <a:avLst/>
              <a:gdLst>
                <a:gd name="csX0" fmla="*/ 102908 w 238132"/>
                <a:gd name="csY0" fmla="*/ 22857 h 238030"/>
                <a:gd name="csX1" fmla="*/ 22927 w 238132"/>
                <a:gd name="csY1" fmla="*/ 22876 h 238030"/>
                <a:gd name="csX2" fmla="*/ 22947 w 238132"/>
                <a:gd name="csY2" fmla="*/ 102857 h 238030"/>
                <a:gd name="csX3" fmla="*/ 102908 w 238132"/>
                <a:gd name="csY3" fmla="*/ 102857 h 238030"/>
                <a:gd name="csX4" fmla="*/ 102927 w 238132"/>
                <a:gd name="csY4" fmla="*/ 22876 h 238030"/>
                <a:gd name="csX5" fmla="*/ 102908 w 238132"/>
                <a:gd name="csY5" fmla="*/ 22857 h 238030"/>
                <a:gd name="csX6" fmla="*/ 59748 w 238132"/>
                <a:gd name="csY6" fmla="*/ 16154 h 238030"/>
                <a:gd name="csX7" fmla="*/ 62790 w 238132"/>
                <a:gd name="csY7" fmla="*/ 12862 h 238030"/>
                <a:gd name="csX8" fmla="*/ 66083 w 238132"/>
                <a:gd name="csY8" fmla="*/ 15904 h 238030"/>
                <a:gd name="csX9" fmla="*/ 66083 w 238132"/>
                <a:gd name="csY9" fmla="*/ 16154 h 238030"/>
                <a:gd name="csX10" fmla="*/ 66083 w 238132"/>
                <a:gd name="csY10" fmla="*/ 18789 h 238030"/>
                <a:gd name="csX11" fmla="*/ 63041 w 238132"/>
                <a:gd name="csY11" fmla="*/ 22082 h 238030"/>
                <a:gd name="csX12" fmla="*/ 59748 w 238132"/>
                <a:gd name="csY12" fmla="*/ 19039 h 238030"/>
                <a:gd name="csX13" fmla="*/ 59748 w 238132"/>
                <a:gd name="csY13" fmla="*/ 18789 h 238030"/>
                <a:gd name="csX14" fmla="*/ 27645 w 238132"/>
                <a:gd name="csY14" fmla="*/ 32074 h 238030"/>
                <a:gd name="csX15" fmla="*/ 27241 w 238132"/>
                <a:gd name="csY15" fmla="*/ 27609 h 238030"/>
                <a:gd name="csX16" fmla="*/ 31706 w 238132"/>
                <a:gd name="csY16" fmla="*/ 27205 h 238030"/>
                <a:gd name="csX17" fmla="*/ 32110 w 238132"/>
                <a:gd name="csY17" fmla="*/ 27609 h 238030"/>
                <a:gd name="csX18" fmla="*/ 33985 w 238132"/>
                <a:gd name="csY18" fmla="*/ 29484 h 238030"/>
                <a:gd name="csX19" fmla="*/ 33581 w 238132"/>
                <a:gd name="csY19" fmla="*/ 33949 h 238030"/>
                <a:gd name="csX20" fmla="*/ 29521 w 238132"/>
                <a:gd name="csY20" fmla="*/ 33949 h 238030"/>
                <a:gd name="csX21" fmla="*/ 16205 w 238132"/>
                <a:gd name="csY21" fmla="*/ 66027 h 238030"/>
                <a:gd name="csX22" fmla="*/ 13035 w 238132"/>
                <a:gd name="csY22" fmla="*/ 62857 h 238030"/>
                <a:gd name="csX23" fmla="*/ 16205 w 238132"/>
                <a:gd name="csY23" fmla="*/ 59687 h 238030"/>
                <a:gd name="csX24" fmla="*/ 18860 w 238132"/>
                <a:gd name="csY24" fmla="*/ 59687 h 238030"/>
                <a:gd name="csX25" fmla="*/ 22030 w 238132"/>
                <a:gd name="csY25" fmla="*/ 62857 h 238030"/>
                <a:gd name="csX26" fmla="*/ 18860 w 238132"/>
                <a:gd name="csY26" fmla="*/ 66027 h 238030"/>
                <a:gd name="csX27" fmla="*/ 32125 w 238132"/>
                <a:gd name="csY27" fmla="*/ 98119 h 238030"/>
                <a:gd name="csX28" fmla="*/ 27660 w 238132"/>
                <a:gd name="csY28" fmla="*/ 97715 h 238030"/>
                <a:gd name="csX29" fmla="*/ 27660 w 238132"/>
                <a:gd name="csY29" fmla="*/ 93654 h 238030"/>
                <a:gd name="csX30" fmla="*/ 29535 w 238132"/>
                <a:gd name="csY30" fmla="*/ 91779 h 238030"/>
                <a:gd name="csX31" fmla="*/ 34000 w 238132"/>
                <a:gd name="csY31" fmla="*/ 92183 h 238030"/>
                <a:gd name="csX32" fmla="*/ 34000 w 238132"/>
                <a:gd name="csY32" fmla="*/ 96244 h 238030"/>
                <a:gd name="csX33" fmla="*/ 66078 w 238132"/>
                <a:gd name="csY33" fmla="*/ 109574 h 238030"/>
                <a:gd name="csX34" fmla="*/ 63036 w 238132"/>
                <a:gd name="csY34" fmla="*/ 112867 h 238030"/>
                <a:gd name="csX35" fmla="*/ 59743 w 238132"/>
                <a:gd name="csY35" fmla="*/ 109825 h 238030"/>
                <a:gd name="csX36" fmla="*/ 59743 w 238132"/>
                <a:gd name="csY36" fmla="*/ 109574 h 238030"/>
                <a:gd name="csX37" fmla="*/ 59743 w 238132"/>
                <a:gd name="csY37" fmla="*/ 106925 h 238030"/>
                <a:gd name="csX38" fmla="*/ 62785 w 238132"/>
                <a:gd name="csY38" fmla="*/ 103632 h 238030"/>
                <a:gd name="csX39" fmla="*/ 66078 w 238132"/>
                <a:gd name="csY39" fmla="*/ 106674 h 238030"/>
                <a:gd name="csX40" fmla="*/ 66078 w 238132"/>
                <a:gd name="csY40" fmla="*/ 106925 h 238030"/>
                <a:gd name="csX41" fmla="*/ 98175 w 238132"/>
                <a:gd name="csY41" fmla="*/ 93654 h 238030"/>
                <a:gd name="csX42" fmla="*/ 97771 w 238132"/>
                <a:gd name="csY42" fmla="*/ 98119 h 238030"/>
                <a:gd name="csX43" fmla="*/ 93710 w 238132"/>
                <a:gd name="csY43" fmla="*/ 98119 h 238030"/>
                <a:gd name="csX44" fmla="*/ 91835 w 238132"/>
                <a:gd name="csY44" fmla="*/ 96244 h 238030"/>
                <a:gd name="csX45" fmla="*/ 92239 w 238132"/>
                <a:gd name="csY45" fmla="*/ 91779 h 238030"/>
                <a:gd name="csX46" fmla="*/ 96300 w 238132"/>
                <a:gd name="csY46" fmla="*/ 91779 h 238030"/>
                <a:gd name="csX47" fmla="*/ 93710 w 238132"/>
                <a:gd name="csY47" fmla="*/ 27604 h 238030"/>
                <a:gd name="csX48" fmla="*/ 98175 w 238132"/>
                <a:gd name="csY48" fmla="*/ 27200 h 238030"/>
                <a:gd name="csX49" fmla="*/ 98579 w 238132"/>
                <a:gd name="csY49" fmla="*/ 31665 h 238030"/>
                <a:gd name="csX50" fmla="*/ 98175 w 238132"/>
                <a:gd name="csY50" fmla="*/ 32069 h 238030"/>
                <a:gd name="csX51" fmla="*/ 96300 w 238132"/>
                <a:gd name="csY51" fmla="*/ 33944 h 238030"/>
                <a:gd name="csX52" fmla="*/ 91835 w 238132"/>
                <a:gd name="csY52" fmla="*/ 34349 h 238030"/>
                <a:gd name="csX53" fmla="*/ 91431 w 238132"/>
                <a:gd name="csY53" fmla="*/ 29884 h 238030"/>
                <a:gd name="csX54" fmla="*/ 91835 w 238132"/>
                <a:gd name="csY54" fmla="*/ 29480 h 238030"/>
                <a:gd name="csX55" fmla="*/ 59758 w 238132"/>
                <a:gd name="csY55" fmla="*/ 32069 h 238030"/>
                <a:gd name="csX56" fmla="*/ 62800 w 238132"/>
                <a:gd name="csY56" fmla="*/ 28776 h 238030"/>
                <a:gd name="csX57" fmla="*/ 66093 w 238132"/>
                <a:gd name="csY57" fmla="*/ 31818 h 238030"/>
                <a:gd name="csX58" fmla="*/ 66093 w 238132"/>
                <a:gd name="csY58" fmla="*/ 32069 h 238030"/>
                <a:gd name="csX59" fmla="*/ 66093 w 238132"/>
                <a:gd name="csY59" fmla="*/ 61537 h 238030"/>
                <a:gd name="csX60" fmla="*/ 89841 w 238132"/>
                <a:gd name="csY60" fmla="*/ 85285 h 238030"/>
                <a:gd name="csX61" fmla="*/ 89436 w 238132"/>
                <a:gd name="csY61" fmla="*/ 89750 h 238030"/>
                <a:gd name="csX62" fmla="*/ 85376 w 238132"/>
                <a:gd name="csY62" fmla="*/ 89750 h 238030"/>
                <a:gd name="csX63" fmla="*/ 60720 w 238132"/>
                <a:gd name="csY63" fmla="*/ 65094 h 238030"/>
                <a:gd name="csX64" fmla="*/ 59772 w 238132"/>
                <a:gd name="csY64" fmla="*/ 62837 h 238030"/>
                <a:gd name="csX65" fmla="*/ 59772 w 238132"/>
                <a:gd name="csY65" fmla="*/ 32074 h 238030"/>
                <a:gd name="csX66" fmla="*/ 109630 w 238132"/>
                <a:gd name="csY66" fmla="*/ 59682 h 238030"/>
                <a:gd name="csX67" fmla="*/ 112800 w 238132"/>
                <a:gd name="csY67" fmla="*/ 62852 h 238030"/>
                <a:gd name="csX68" fmla="*/ 109630 w 238132"/>
                <a:gd name="csY68" fmla="*/ 66022 h 238030"/>
                <a:gd name="csX69" fmla="*/ 106976 w 238132"/>
                <a:gd name="csY69" fmla="*/ 66022 h 238030"/>
                <a:gd name="csX70" fmla="*/ 103806 w 238132"/>
                <a:gd name="csY70" fmla="*/ 62852 h 238030"/>
                <a:gd name="csX71" fmla="*/ 106976 w 238132"/>
                <a:gd name="csY71" fmla="*/ 59682 h 238030"/>
                <a:gd name="csX72" fmla="*/ 77384 w 238132"/>
                <a:gd name="csY72" fmla="*/ 124090 h 238030"/>
                <a:gd name="csX73" fmla="*/ 115975 w 238132"/>
                <a:gd name="csY73" fmla="*/ 96695 h 238030"/>
                <a:gd name="csX74" fmla="*/ 116248 w 238132"/>
                <a:gd name="csY74" fmla="*/ 96968 h 238030"/>
                <a:gd name="csX75" fmla="*/ 127187 w 238132"/>
                <a:gd name="csY75" fmla="*/ 107907 h 238030"/>
                <a:gd name="csX76" fmla="*/ 131651 w 238132"/>
                <a:gd name="csY76" fmla="*/ 107907 h 238030"/>
                <a:gd name="csX77" fmla="*/ 175769 w 238132"/>
                <a:gd name="csY77" fmla="*/ 63789 h 238030"/>
                <a:gd name="csX78" fmla="*/ 175769 w 238132"/>
                <a:gd name="csY78" fmla="*/ 59325 h 238030"/>
                <a:gd name="csX79" fmla="*/ 166874 w 238132"/>
                <a:gd name="csY79" fmla="*/ 50435 h 238030"/>
                <a:gd name="csX80" fmla="*/ 166856 w 238132"/>
                <a:gd name="csY80" fmla="*/ 47109 h 238030"/>
                <a:gd name="csX81" fmla="*/ 168546 w 238132"/>
                <a:gd name="csY81" fmla="*/ 46411 h 238030"/>
                <a:gd name="csX82" fmla="*/ 202280 w 238132"/>
                <a:gd name="csY82" fmla="*/ 46550 h 238030"/>
                <a:gd name="csX83" fmla="*/ 204627 w 238132"/>
                <a:gd name="csY83" fmla="*/ 48902 h 238030"/>
                <a:gd name="csX84" fmla="*/ 204771 w 238132"/>
                <a:gd name="csY84" fmla="*/ 82636 h 238030"/>
                <a:gd name="csX85" fmla="*/ 204106 w 238132"/>
                <a:gd name="csY85" fmla="*/ 84293 h 238030"/>
                <a:gd name="csX86" fmla="*/ 200857 w 238132"/>
                <a:gd name="csY86" fmla="*/ 84427 h 238030"/>
                <a:gd name="csX87" fmla="*/ 191847 w 238132"/>
                <a:gd name="csY87" fmla="*/ 75413 h 238030"/>
                <a:gd name="csX88" fmla="*/ 187383 w 238132"/>
                <a:gd name="csY88" fmla="*/ 75413 h 238030"/>
                <a:gd name="csX89" fmla="*/ 135293 w 238132"/>
                <a:gd name="csY89" fmla="*/ 127503 h 238030"/>
                <a:gd name="csX90" fmla="*/ 129419 w 238132"/>
                <a:gd name="csY90" fmla="*/ 129939 h 238030"/>
                <a:gd name="csX91" fmla="*/ 123535 w 238132"/>
                <a:gd name="csY91" fmla="*/ 127518 h 238030"/>
                <a:gd name="csX92" fmla="*/ 112596 w 238132"/>
                <a:gd name="csY92" fmla="*/ 116579 h 238030"/>
                <a:gd name="csX93" fmla="*/ 108132 w 238132"/>
                <a:gd name="csY93" fmla="*/ 116579 h 238030"/>
                <a:gd name="csX94" fmla="*/ 77101 w 238132"/>
                <a:gd name="csY94" fmla="*/ 147575 h 238030"/>
                <a:gd name="csX95" fmla="*/ 65492 w 238132"/>
                <a:gd name="csY95" fmla="*/ 135956 h 238030"/>
                <a:gd name="csX96" fmla="*/ 77359 w 238132"/>
                <a:gd name="csY96" fmla="*/ 124095 h 238030"/>
                <a:gd name="csX97" fmla="*/ 64912 w 238132"/>
                <a:gd name="csY97" fmla="*/ 125727 h 238030"/>
                <a:gd name="csX98" fmla="*/ 36332 w 238132"/>
                <a:gd name="csY98" fmla="*/ 152337 h 238030"/>
                <a:gd name="csX99" fmla="*/ 56860 w 238132"/>
                <a:gd name="csY99" fmla="*/ 140828 h 238030"/>
                <a:gd name="csX100" fmla="*/ 61003 w 238132"/>
                <a:gd name="csY100" fmla="*/ 131501 h 238030"/>
                <a:gd name="csX101" fmla="*/ 66842 w 238132"/>
                <a:gd name="csY101" fmla="*/ 125662 h 238030"/>
                <a:gd name="csX102" fmla="*/ 64857 w 238132"/>
                <a:gd name="csY102" fmla="*/ 125756 h 238030"/>
                <a:gd name="csX103" fmla="*/ 220115 w 238132"/>
                <a:gd name="csY103" fmla="*/ 168053 h 238030"/>
                <a:gd name="csX104" fmla="*/ 169245 w 238132"/>
                <a:gd name="csY104" fmla="*/ 197407 h 238030"/>
                <a:gd name="csX105" fmla="*/ 172024 w 238132"/>
                <a:gd name="csY105" fmla="*/ 213997 h 238030"/>
                <a:gd name="csX106" fmla="*/ 231753 w 238132"/>
                <a:gd name="csY106" fmla="*/ 213997 h 238030"/>
                <a:gd name="csX107" fmla="*/ 220080 w 238132"/>
                <a:gd name="csY107" fmla="*/ 168058 h 238030"/>
                <a:gd name="csX108" fmla="*/ 137366 w 238132"/>
                <a:gd name="csY108" fmla="*/ 213396 h 238030"/>
                <a:gd name="csX109" fmla="*/ 119543 w 238132"/>
                <a:gd name="csY109" fmla="*/ 203112 h 238030"/>
                <a:gd name="csX110" fmla="*/ 109259 w 238132"/>
                <a:gd name="csY110" fmla="*/ 220936 h 238030"/>
                <a:gd name="csX111" fmla="*/ 127077 w 238132"/>
                <a:gd name="csY111" fmla="*/ 231221 h 238030"/>
                <a:gd name="csX112" fmla="*/ 137370 w 238132"/>
                <a:gd name="csY112" fmla="*/ 213411 h 238030"/>
                <a:gd name="csX113" fmla="*/ 137366 w 238132"/>
                <a:gd name="csY113" fmla="*/ 213396 h 238030"/>
                <a:gd name="csX114" fmla="*/ 140194 w 238132"/>
                <a:gd name="csY114" fmla="*/ 204873 h 238030"/>
                <a:gd name="csX115" fmla="*/ 155652 w 238132"/>
                <a:gd name="csY115" fmla="*/ 178084 h 238030"/>
                <a:gd name="csX116" fmla="*/ 155826 w 238132"/>
                <a:gd name="csY116" fmla="*/ 177782 h 238030"/>
                <a:gd name="csX117" fmla="*/ 172455 w 238132"/>
                <a:gd name="csY117" fmla="*/ 148979 h 238030"/>
                <a:gd name="csX118" fmla="*/ 172554 w 238132"/>
                <a:gd name="csY118" fmla="*/ 148805 h 238030"/>
                <a:gd name="csX119" fmla="*/ 169548 w 238132"/>
                <a:gd name="csY119" fmla="*/ 137211 h 238030"/>
                <a:gd name="csX120" fmla="*/ 157954 w 238132"/>
                <a:gd name="csY120" fmla="*/ 140218 h 238030"/>
                <a:gd name="csX121" fmla="*/ 157756 w 238132"/>
                <a:gd name="csY121" fmla="*/ 140555 h 238030"/>
                <a:gd name="csX122" fmla="*/ 125520 w 238132"/>
                <a:gd name="csY122" fmla="*/ 196390 h 238030"/>
                <a:gd name="csX123" fmla="*/ 140194 w 238132"/>
                <a:gd name="csY123" fmla="*/ 204864 h 238030"/>
                <a:gd name="csX124" fmla="*/ 142064 w 238132"/>
                <a:gd name="csY124" fmla="*/ 154952 h 238030"/>
                <a:gd name="csX125" fmla="*/ 97942 w 238132"/>
                <a:gd name="csY125" fmla="*/ 135698 h 238030"/>
                <a:gd name="csX126" fmla="*/ 110344 w 238132"/>
                <a:gd name="csY126" fmla="*/ 123296 h 238030"/>
                <a:gd name="csX127" fmla="*/ 119046 w 238132"/>
                <a:gd name="csY127" fmla="*/ 131992 h 238030"/>
                <a:gd name="csX128" fmla="*/ 129394 w 238132"/>
                <a:gd name="csY128" fmla="*/ 136274 h 238030"/>
                <a:gd name="csX129" fmla="*/ 139748 w 238132"/>
                <a:gd name="csY129" fmla="*/ 132007 h 238030"/>
                <a:gd name="csX130" fmla="*/ 157557 w 238132"/>
                <a:gd name="csY130" fmla="*/ 114197 h 238030"/>
                <a:gd name="csX131" fmla="*/ 217059 w 238132"/>
                <a:gd name="csY131" fmla="*/ 162527 h 238030"/>
                <a:gd name="csX132" fmla="*/ 167306 w 238132"/>
                <a:gd name="csY132" fmla="*/ 191236 h 238030"/>
                <a:gd name="csX133" fmla="*/ 162097 w 238132"/>
                <a:gd name="csY133" fmla="*/ 179553 h 238030"/>
                <a:gd name="csX134" fmla="*/ 177922 w 238132"/>
                <a:gd name="csY134" fmla="*/ 152144 h 238030"/>
                <a:gd name="csX135" fmla="*/ 177977 w 238132"/>
                <a:gd name="csY135" fmla="*/ 152059 h 238030"/>
                <a:gd name="csX136" fmla="*/ 172802 w 238132"/>
                <a:gd name="csY136" fmla="*/ 131943 h 238030"/>
                <a:gd name="csX137" fmla="*/ 172768 w 238132"/>
                <a:gd name="csY137" fmla="*/ 131918 h 238030"/>
                <a:gd name="csX138" fmla="*/ 152512 w 238132"/>
                <a:gd name="csY138" fmla="*/ 137018 h 238030"/>
                <a:gd name="csX139" fmla="*/ 152512 w 238132"/>
                <a:gd name="csY139" fmla="*/ 137053 h 238030"/>
                <a:gd name="csX140" fmla="*/ 142094 w 238132"/>
                <a:gd name="csY140" fmla="*/ 154957 h 238030"/>
                <a:gd name="csX141" fmla="*/ 117870 w 238132"/>
                <a:gd name="csY141" fmla="*/ 197005 h 238030"/>
                <a:gd name="csX142" fmla="*/ 138860 w 238132"/>
                <a:gd name="csY142" fmla="*/ 160508 h 238030"/>
                <a:gd name="csX143" fmla="*/ 92128 w 238132"/>
                <a:gd name="csY143" fmla="*/ 141512 h 238030"/>
                <a:gd name="csX144" fmla="*/ 81581 w 238132"/>
                <a:gd name="csY144" fmla="*/ 152059 h 238030"/>
                <a:gd name="csX145" fmla="*/ 58264 w 238132"/>
                <a:gd name="csY145" fmla="*/ 147044 h 238030"/>
                <a:gd name="csX146" fmla="*/ 23225 w 238132"/>
                <a:gd name="csY146" fmla="*/ 175004 h 238030"/>
                <a:gd name="csX147" fmla="*/ 17768 w 238132"/>
                <a:gd name="csY147" fmla="*/ 171779 h 238030"/>
                <a:gd name="csX148" fmla="*/ 54504 w 238132"/>
                <a:gd name="csY148" fmla="*/ 125206 h 238030"/>
                <a:gd name="csX149" fmla="*/ 569 w 238132"/>
                <a:gd name="csY149" fmla="*/ 54504 h 238030"/>
                <a:gd name="csX150" fmla="*/ 71271 w 238132"/>
                <a:gd name="csY150" fmla="*/ 569 h 238030"/>
                <a:gd name="csX151" fmla="*/ 125206 w 238132"/>
                <a:gd name="csY151" fmla="*/ 71271 h 238030"/>
                <a:gd name="csX152" fmla="*/ 119066 w 238132"/>
                <a:gd name="csY152" fmla="*/ 91134 h 238030"/>
                <a:gd name="csX153" fmla="*/ 120648 w 238132"/>
                <a:gd name="csY153" fmla="*/ 92488 h 238030"/>
                <a:gd name="csX154" fmla="*/ 129389 w 238132"/>
                <a:gd name="csY154" fmla="*/ 101190 h 238030"/>
                <a:gd name="csX155" fmla="*/ 169027 w 238132"/>
                <a:gd name="csY155" fmla="*/ 61557 h 238030"/>
                <a:gd name="csX156" fmla="*/ 162375 w 238132"/>
                <a:gd name="csY156" fmla="*/ 54904 h 238030"/>
                <a:gd name="csX157" fmla="*/ 168551 w 238132"/>
                <a:gd name="csY157" fmla="*/ 40086 h 238030"/>
                <a:gd name="csX158" fmla="*/ 202285 w 238132"/>
                <a:gd name="csY158" fmla="*/ 40230 h 238030"/>
                <a:gd name="csX159" fmla="*/ 210922 w 238132"/>
                <a:gd name="csY159" fmla="*/ 48867 h 238030"/>
                <a:gd name="csX160" fmla="*/ 211061 w 238132"/>
                <a:gd name="csY160" fmla="*/ 82601 h 238030"/>
                <a:gd name="csX161" fmla="*/ 208581 w 238132"/>
                <a:gd name="csY161" fmla="*/ 88763 h 238030"/>
                <a:gd name="csX162" fmla="*/ 196275 w 238132"/>
                <a:gd name="csY162" fmla="*/ 88770 h 238030"/>
                <a:gd name="csX163" fmla="*/ 196268 w 238132"/>
                <a:gd name="csY163" fmla="*/ 88763 h 238030"/>
                <a:gd name="csX164" fmla="*/ 189615 w 238132"/>
                <a:gd name="csY164" fmla="*/ 82110 h 238030"/>
                <a:gd name="csX165" fmla="*/ 162533 w 238132"/>
                <a:gd name="csY165" fmla="*/ 109192 h 238030"/>
                <a:gd name="csX166" fmla="*/ 238133 w 238132"/>
                <a:gd name="csY166" fmla="*/ 217167 h 238030"/>
                <a:gd name="csX167" fmla="*/ 234963 w 238132"/>
                <a:gd name="csY167" fmla="*/ 220332 h 238030"/>
                <a:gd name="csX168" fmla="*/ 169017 w 238132"/>
                <a:gd name="csY168" fmla="*/ 220332 h 238030"/>
                <a:gd name="csX169" fmla="*/ 165847 w 238132"/>
                <a:gd name="csY169" fmla="*/ 217181 h 238030"/>
                <a:gd name="csX170" fmla="*/ 165852 w 238132"/>
                <a:gd name="csY170" fmla="*/ 216998 h 238030"/>
                <a:gd name="csX171" fmla="*/ 158326 w 238132"/>
                <a:gd name="csY171" fmla="*/ 186081 h 238030"/>
                <a:gd name="csX172" fmla="*/ 143488 w 238132"/>
                <a:gd name="csY172" fmla="*/ 211769 h 238030"/>
                <a:gd name="csX173" fmla="*/ 128687 w 238132"/>
                <a:gd name="csY173" fmla="*/ 237321 h 238030"/>
                <a:gd name="csX174" fmla="*/ 103135 w 238132"/>
                <a:gd name="csY174" fmla="*/ 222520 h 238030"/>
                <a:gd name="csX175" fmla="*/ 117870 w 238132"/>
                <a:gd name="csY175" fmla="*/ 196986 h 238030"/>
                <a:gd name="csX176" fmla="*/ 125490 w 238132"/>
                <a:gd name="csY176" fmla="*/ 214984 h 238030"/>
                <a:gd name="csX177" fmla="*/ 125498 w 238132"/>
                <a:gd name="csY177" fmla="*/ 219348 h 238030"/>
                <a:gd name="csX178" fmla="*/ 121134 w 238132"/>
                <a:gd name="csY178" fmla="*/ 219356 h 238030"/>
                <a:gd name="csX179" fmla="*/ 120226 w 238132"/>
                <a:gd name="csY179" fmla="*/ 217167 h 238030"/>
                <a:gd name="csX180" fmla="*/ 123298 w 238132"/>
                <a:gd name="csY180" fmla="*/ 214077 h 238030"/>
                <a:gd name="csX181" fmla="*/ 125490 w 238132"/>
                <a:gd name="csY181" fmla="*/ 214984 h 238030"/>
                <a:gd name="csX182" fmla="*/ 123312 w 238132"/>
                <a:gd name="csY182" fmla="*/ 207741 h 238030"/>
                <a:gd name="csX183" fmla="*/ 129975 w 238132"/>
                <a:gd name="csY183" fmla="*/ 223829 h 238030"/>
                <a:gd name="csX184" fmla="*/ 113886 w 238132"/>
                <a:gd name="csY184" fmla="*/ 217167 h 238030"/>
                <a:gd name="csX185" fmla="*/ 123312 w 238132"/>
                <a:gd name="csY185" fmla="*/ 207741 h 23803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Lst>
              <a:rect l="l" t="t" r="r" b="b"/>
              <a:pathLst>
                <a:path w="238132" h="238030">
                  <a:moveTo>
                    <a:pt x="102908" y="22857"/>
                  </a:moveTo>
                  <a:cubicBezTo>
                    <a:pt x="80816" y="776"/>
                    <a:pt x="45008" y="785"/>
                    <a:pt x="22927" y="22876"/>
                  </a:cubicBezTo>
                  <a:cubicBezTo>
                    <a:pt x="847" y="44968"/>
                    <a:pt x="856" y="80776"/>
                    <a:pt x="22947" y="102857"/>
                  </a:cubicBezTo>
                  <a:cubicBezTo>
                    <a:pt x="45031" y="124930"/>
                    <a:pt x="80824" y="124930"/>
                    <a:pt x="102908" y="102857"/>
                  </a:cubicBezTo>
                  <a:cubicBezTo>
                    <a:pt x="124999" y="80776"/>
                    <a:pt x="125008" y="44968"/>
                    <a:pt x="102927" y="22876"/>
                  </a:cubicBezTo>
                  <a:cubicBezTo>
                    <a:pt x="102921" y="22870"/>
                    <a:pt x="102914" y="22863"/>
                    <a:pt x="102908" y="22857"/>
                  </a:cubicBezTo>
                  <a:close/>
                  <a:moveTo>
                    <a:pt x="59748" y="16154"/>
                  </a:moveTo>
                  <a:cubicBezTo>
                    <a:pt x="59678" y="14405"/>
                    <a:pt x="61040" y="12931"/>
                    <a:pt x="62790" y="12862"/>
                  </a:cubicBezTo>
                  <a:cubicBezTo>
                    <a:pt x="64539" y="12792"/>
                    <a:pt x="66013" y="14154"/>
                    <a:pt x="66083" y="15904"/>
                  </a:cubicBezTo>
                  <a:cubicBezTo>
                    <a:pt x="66086" y="15987"/>
                    <a:pt x="66086" y="16071"/>
                    <a:pt x="66083" y="16154"/>
                  </a:cubicBezTo>
                  <a:lnTo>
                    <a:pt x="66083" y="18789"/>
                  </a:lnTo>
                  <a:cubicBezTo>
                    <a:pt x="66152" y="20538"/>
                    <a:pt x="64790" y="22012"/>
                    <a:pt x="63041" y="22082"/>
                  </a:cubicBezTo>
                  <a:cubicBezTo>
                    <a:pt x="61291" y="22151"/>
                    <a:pt x="59817" y="20789"/>
                    <a:pt x="59748" y="19039"/>
                  </a:cubicBezTo>
                  <a:cubicBezTo>
                    <a:pt x="59744" y="18956"/>
                    <a:pt x="59744" y="18872"/>
                    <a:pt x="59748" y="18789"/>
                  </a:cubicBezTo>
                  <a:close/>
                  <a:moveTo>
                    <a:pt x="27645" y="32074"/>
                  </a:moveTo>
                  <a:cubicBezTo>
                    <a:pt x="26301" y="30953"/>
                    <a:pt x="26120" y="28954"/>
                    <a:pt x="27241" y="27609"/>
                  </a:cubicBezTo>
                  <a:cubicBezTo>
                    <a:pt x="28362" y="26265"/>
                    <a:pt x="30361" y="26084"/>
                    <a:pt x="31706" y="27205"/>
                  </a:cubicBezTo>
                  <a:cubicBezTo>
                    <a:pt x="31853" y="27327"/>
                    <a:pt x="31988" y="27463"/>
                    <a:pt x="32110" y="27609"/>
                  </a:cubicBezTo>
                  <a:lnTo>
                    <a:pt x="33985" y="29484"/>
                  </a:lnTo>
                  <a:cubicBezTo>
                    <a:pt x="35107" y="30829"/>
                    <a:pt x="34926" y="32828"/>
                    <a:pt x="33581" y="33949"/>
                  </a:cubicBezTo>
                  <a:cubicBezTo>
                    <a:pt x="32405" y="34930"/>
                    <a:pt x="30696" y="34930"/>
                    <a:pt x="29521" y="33949"/>
                  </a:cubicBezTo>
                  <a:close/>
                  <a:moveTo>
                    <a:pt x="16205" y="66027"/>
                  </a:moveTo>
                  <a:cubicBezTo>
                    <a:pt x="14455" y="66027"/>
                    <a:pt x="13035" y="64607"/>
                    <a:pt x="13035" y="62857"/>
                  </a:cubicBezTo>
                  <a:cubicBezTo>
                    <a:pt x="13035" y="61106"/>
                    <a:pt x="14455" y="59687"/>
                    <a:pt x="16205" y="59687"/>
                  </a:cubicBezTo>
                  <a:lnTo>
                    <a:pt x="18860" y="59687"/>
                  </a:lnTo>
                  <a:cubicBezTo>
                    <a:pt x="20610" y="59687"/>
                    <a:pt x="22030" y="61106"/>
                    <a:pt x="22030" y="62857"/>
                  </a:cubicBezTo>
                  <a:cubicBezTo>
                    <a:pt x="22030" y="64607"/>
                    <a:pt x="20610" y="66027"/>
                    <a:pt x="18860" y="66027"/>
                  </a:cubicBezTo>
                  <a:close/>
                  <a:moveTo>
                    <a:pt x="32125" y="98119"/>
                  </a:moveTo>
                  <a:cubicBezTo>
                    <a:pt x="30781" y="99240"/>
                    <a:pt x="28782" y="99059"/>
                    <a:pt x="27660" y="97715"/>
                  </a:cubicBezTo>
                  <a:cubicBezTo>
                    <a:pt x="26680" y="96539"/>
                    <a:pt x="26680" y="94830"/>
                    <a:pt x="27660" y="93654"/>
                  </a:cubicBezTo>
                  <a:lnTo>
                    <a:pt x="29535" y="91779"/>
                  </a:lnTo>
                  <a:cubicBezTo>
                    <a:pt x="30880" y="90658"/>
                    <a:pt x="32879" y="90839"/>
                    <a:pt x="34000" y="92183"/>
                  </a:cubicBezTo>
                  <a:cubicBezTo>
                    <a:pt x="34981" y="93359"/>
                    <a:pt x="34981" y="95068"/>
                    <a:pt x="34000" y="96244"/>
                  </a:cubicBezTo>
                  <a:close/>
                  <a:moveTo>
                    <a:pt x="66078" y="109574"/>
                  </a:moveTo>
                  <a:cubicBezTo>
                    <a:pt x="66147" y="111323"/>
                    <a:pt x="64785" y="112798"/>
                    <a:pt x="63036" y="112867"/>
                  </a:cubicBezTo>
                  <a:cubicBezTo>
                    <a:pt x="61286" y="112936"/>
                    <a:pt x="59812" y="111574"/>
                    <a:pt x="59743" y="109825"/>
                  </a:cubicBezTo>
                  <a:cubicBezTo>
                    <a:pt x="59739" y="109741"/>
                    <a:pt x="59739" y="109657"/>
                    <a:pt x="59743" y="109574"/>
                  </a:cubicBezTo>
                  <a:lnTo>
                    <a:pt x="59743" y="106925"/>
                  </a:lnTo>
                  <a:cubicBezTo>
                    <a:pt x="59673" y="105175"/>
                    <a:pt x="61035" y="103701"/>
                    <a:pt x="62785" y="103632"/>
                  </a:cubicBezTo>
                  <a:cubicBezTo>
                    <a:pt x="64534" y="103563"/>
                    <a:pt x="66008" y="104925"/>
                    <a:pt x="66078" y="106674"/>
                  </a:cubicBezTo>
                  <a:cubicBezTo>
                    <a:pt x="66081" y="106758"/>
                    <a:pt x="66081" y="106841"/>
                    <a:pt x="66078" y="106925"/>
                  </a:cubicBezTo>
                  <a:close/>
                  <a:moveTo>
                    <a:pt x="98175" y="93654"/>
                  </a:moveTo>
                  <a:cubicBezTo>
                    <a:pt x="99296" y="94999"/>
                    <a:pt x="99115" y="96998"/>
                    <a:pt x="97771" y="98119"/>
                  </a:cubicBezTo>
                  <a:cubicBezTo>
                    <a:pt x="96595" y="99100"/>
                    <a:pt x="94886" y="99100"/>
                    <a:pt x="93710" y="98119"/>
                  </a:cubicBezTo>
                  <a:lnTo>
                    <a:pt x="91835" y="96244"/>
                  </a:lnTo>
                  <a:cubicBezTo>
                    <a:pt x="90714" y="94899"/>
                    <a:pt x="90895" y="92900"/>
                    <a:pt x="92239" y="91779"/>
                  </a:cubicBezTo>
                  <a:cubicBezTo>
                    <a:pt x="93415" y="90798"/>
                    <a:pt x="95124" y="90798"/>
                    <a:pt x="96300" y="91779"/>
                  </a:cubicBezTo>
                  <a:close/>
                  <a:moveTo>
                    <a:pt x="93710" y="27604"/>
                  </a:moveTo>
                  <a:cubicBezTo>
                    <a:pt x="94831" y="26260"/>
                    <a:pt x="96830" y="26079"/>
                    <a:pt x="98175" y="27200"/>
                  </a:cubicBezTo>
                  <a:cubicBezTo>
                    <a:pt x="99520" y="28321"/>
                    <a:pt x="99701" y="30320"/>
                    <a:pt x="98579" y="31665"/>
                  </a:cubicBezTo>
                  <a:cubicBezTo>
                    <a:pt x="98457" y="31811"/>
                    <a:pt x="98322" y="31947"/>
                    <a:pt x="98175" y="32069"/>
                  </a:cubicBezTo>
                  <a:lnTo>
                    <a:pt x="96300" y="33944"/>
                  </a:lnTo>
                  <a:cubicBezTo>
                    <a:pt x="95178" y="35289"/>
                    <a:pt x="93180" y="35470"/>
                    <a:pt x="91835" y="34349"/>
                  </a:cubicBezTo>
                  <a:cubicBezTo>
                    <a:pt x="90490" y="33227"/>
                    <a:pt x="90309" y="31228"/>
                    <a:pt x="91431" y="29884"/>
                  </a:cubicBezTo>
                  <a:cubicBezTo>
                    <a:pt x="91553" y="29737"/>
                    <a:pt x="91688" y="29602"/>
                    <a:pt x="91835" y="29480"/>
                  </a:cubicBezTo>
                  <a:close/>
                  <a:moveTo>
                    <a:pt x="59758" y="32069"/>
                  </a:moveTo>
                  <a:cubicBezTo>
                    <a:pt x="59688" y="30320"/>
                    <a:pt x="61050" y="28845"/>
                    <a:pt x="62800" y="28776"/>
                  </a:cubicBezTo>
                  <a:cubicBezTo>
                    <a:pt x="64549" y="28707"/>
                    <a:pt x="66023" y="30069"/>
                    <a:pt x="66093" y="31818"/>
                  </a:cubicBezTo>
                  <a:cubicBezTo>
                    <a:pt x="66096" y="31902"/>
                    <a:pt x="66096" y="31986"/>
                    <a:pt x="66093" y="32069"/>
                  </a:cubicBezTo>
                  <a:lnTo>
                    <a:pt x="66093" y="61537"/>
                  </a:lnTo>
                  <a:lnTo>
                    <a:pt x="89841" y="85285"/>
                  </a:lnTo>
                  <a:cubicBezTo>
                    <a:pt x="90962" y="86630"/>
                    <a:pt x="90781" y="88629"/>
                    <a:pt x="89436" y="89750"/>
                  </a:cubicBezTo>
                  <a:cubicBezTo>
                    <a:pt x="88260" y="90731"/>
                    <a:pt x="86552" y="90731"/>
                    <a:pt x="85376" y="89750"/>
                  </a:cubicBezTo>
                  <a:lnTo>
                    <a:pt x="60720" y="65094"/>
                  </a:lnTo>
                  <a:cubicBezTo>
                    <a:pt x="60113" y="64500"/>
                    <a:pt x="59772" y="63686"/>
                    <a:pt x="59772" y="62837"/>
                  </a:cubicBezTo>
                  <a:lnTo>
                    <a:pt x="59772" y="32074"/>
                  </a:lnTo>
                  <a:close/>
                  <a:moveTo>
                    <a:pt x="109630" y="59682"/>
                  </a:moveTo>
                  <a:cubicBezTo>
                    <a:pt x="111381" y="59682"/>
                    <a:pt x="112800" y="61101"/>
                    <a:pt x="112800" y="62852"/>
                  </a:cubicBezTo>
                  <a:cubicBezTo>
                    <a:pt x="112800" y="64603"/>
                    <a:pt x="111381" y="66022"/>
                    <a:pt x="109630" y="66022"/>
                  </a:cubicBezTo>
                  <a:lnTo>
                    <a:pt x="106976" y="66022"/>
                  </a:lnTo>
                  <a:cubicBezTo>
                    <a:pt x="105225" y="66022"/>
                    <a:pt x="103806" y="64603"/>
                    <a:pt x="103806" y="62852"/>
                  </a:cubicBezTo>
                  <a:cubicBezTo>
                    <a:pt x="103806" y="61101"/>
                    <a:pt x="105225" y="59682"/>
                    <a:pt x="106976" y="59682"/>
                  </a:cubicBezTo>
                  <a:close/>
                  <a:moveTo>
                    <a:pt x="77384" y="124090"/>
                  </a:moveTo>
                  <a:cubicBezTo>
                    <a:pt x="93320" y="120323"/>
                    <a:pt x="107162" y="110497"/>
                    <a:pt x="115975" y="96695"/>
                  </a:cubicBezTo>
                  <a:lnTo>
                    <a:pt x="116248" y="96968"/>
                  </a:lnTo>
                  <a:lnTo>
                    <a:pt x="127187" y="107907"/>
                  </a:lnTo>
                  <a:cubicBezTo>
                    <a:pt x="128422" y="109133"/>
                    <a:pt x="130416" y="109133"/>
                    <a:pt x="131651" y="107907"/>
                  </a:cubicBezTo>
                  <a:lnTo>
                    <a:pt x="175769" y="63789"/>
                  </a:lnTo>
                  <a:cubicBezTo>
                    <a:pt x="176995" y="62554"/>
                    <a:pt x="176995" y="60560"/>
                    <a:pt x="175769" y="59325"/>
                  </a:cubicBezTo>
                  <a:lnTo>
                    <a:pt x="166874" y="50435"/>
                  </a:lnTo>
                  <a:cubicBezTo>
                    <a:pt x="165951" y="49521"/>
                    <a:pt x="165942" y="48032"/>
                    <a:pt x="166856" y="47109"/>
                  </a:cubicBezTo>
                  <a:cubicBezTo>
                    <a:pt x="167302" y="46658"/>
                    <a:pt x="167911" y="46406"/>
                    <a:pt x="168546" y="46411"/>
                  </a:cubicBezTo>
                  <a:lnTo>
                    <a:pt x="202280" y="46550"/>
                  </a:lnTo>
                  <a:cubicBezTo>
                    <a:pt x="203567" y="46577"/>
                    <a:pt x="204603" y="47615"/>
                    <a:pt x="204627" y="48902"/>
                  </a:cubicBezTo>
                  <a:lnTo>
                    <a:pt x="204771" y="82636"/>
                  </a:lnTo>
                  <a:cubicBezTo>
                    <a:pt x="204782" y="83255"/>
                    <a:pt x="204542" y="83853"/>
                    <a:pt x="204106" y="84293"/>
                  </a:cubicBezTo>
                  <a:cubicBezTo>
                    <a:pt x="203232" y="85198"/>
                    <a:pt x="201802" y="85257"/>
                    <a:pt x="200857" y="84427"/>
                  </a:cubicBezTo>
                  <a:lnTo>
                    <a:pt x="191847" y="75413"/>
                  </a:lnTo>
                  <a:cubicBezTo>
                    <a:pt x="190610" y="74190"/>
                    <a:pt x="188620" y="74190"/>
                    <a:pt x="187383" y="75413"/>
                  </a:cubicBezTo>
                  <a:lnTo>
                    <a:pt x="135293" y="127503"/>
                  </a:lnTo>
                  <a:cubicBezTo>
                    <a:pt x="133736" y="129063"/>
                    <a:pt x="131623" y="129940"/>
                    <a:pt x="129419" y="129939"/>
                  </a:cubicBezTo>
                  <a:cubicBezTo>
                    <a:pt x="127214" y="129947"/>
                    <a:pt x="125096" y="129075"/>
                    <a:pt x="123535" y="127518"/>
                  </a:cubicBezTo>
                  <a:lnTo>
                    <a:pt x="112596" y="116579"/>
                  </a:lnTo>
                  <a:cubicBezTo>
                    <a:pt x="111363" y="115347"/>
                    <a:pt x="109365" y="115347"/>
                    <a:pt x="108132" y="116579"/>
                  </a:cubicBezTo>
                  <a:lnTo>
                    <a:pt x="77101" y="147575"/>
                  </a:lnTo>
                  <a:cubicBezTo>
                    <a:pt x="69957" y="154718"/>
                    <a:pt x="58363" y="143080"/>
                    <a:pt x="65492" y="135956"/>
                  </a:cubicBezTo>
                  <a:lnTo>
                    <a:pt x="77359" y="124095"/>
                  </a:lnTo>
                  <a:close/>
                  <a:moveTo>
                    <a:pt x="64912" y="125727"/>
                  </a:moveTo>
                  <a:cubicBezTo>
                    <a:pt x="53862" y="132805"/>
                    <a:pt x="44180" y="141820"/>
                    <a:pt x="36332" y="152337"/>
                  </a:cubicBezTo>
                  <a:cubicBezTo>
                    <a:pt x="42604" y="147561"/>
                    <a:pt x="49514" y="143687"/>
                    <a:pt x="56860" y="140828"/>
                  </a:cubicBezTo>
                  <a:cubicBezTo>
                    <a:pt x="56895" y="137633"/>
                    <a:pt x="58130" y="134379"/>
                    <a:pt x="61003" y="131501"/>
                  </a:cubicBezTo>
                  <a:lnTo>
                    <a:pt x="66842" y="125662"/>
                  </a:lnTo>
                  <a:cubicBezTo>
                    <a:pt x="66187" y="125702"/>
                    <a:pt x="65537" y="125732"/>
                    <a:pt x="64857" y="125756"/>
                  </a:cubicBezTo>
                  <a:close/>
                  <a:moveTo>
                    <a:pt x="220115" y="168053"/>
                  </a:moveTo>
                  <a:lnTo>
                    <a:pt x="169245" y="197407"/>
                  </a:lnTo>
                  <a:cubicBezTo>
                    <a:pt x="170722" y="202831"/>
                    <a:pt x="171653" y="208388"/>
                    <a:pt x="172024" y="213997"/>
                  </a:cubicBezTo>
                  <a:lnTo>
                    <a:pt x="231753" y="213997"/>
                  </a:lnTo>
                  <a:cubicBezTo>
                    <a:pt x="231312" y="198008"/>
                    <a:pt x="227325" y="182318"/>
                    <a:pt x="220080" y="168058"/>
                  </a:cubicBezTo>
                  <a:close/>
                  <a:moveTo>
                    <a:pt x="137366" y="213396"/>
                  </a:moveTo>
                  <a:cubicBezTo>
                    <a:pt x="135284" y="205635"/>
                    <a:pt x="127305" y="201030"/>
                    <a:pt x="119543" y="203112"/>
                  </a:cubicBezTo>
                  <a:cubicBezTo>
                    <a:pt x="111782" y="205194"/>
                    <a:pt x="107177" y="213174"/>
                    <a:pt x="109259" y="220936"/>
                  </a:cubicBezTo>
                  <a:cubicBezTo>
                    <a:pt x="111341" y="228695"/>
                    <a:pt x="119317" y="233300"/>
                    <a:pt x="127077" y="231221"/>
                  </a:cubicBezTo>
                  <a:cubicBezTo>
                    <a:pt x="134838" y="229145"/>
                    <a:pt x="139446" y="221171"/>
                    <a:pt x="137370" y="213411"/>
                  </a:cubicBezTo>
                  <a:cubicBezTo>
                    <a:pt x="137369" y="213406"/>
                    <a:pt x="137368" y="213401"/>
                    <a:pt x="137366" y="213396"/>
                  </a:cubicBezTo>
                  <a:close/>
                  <a:moveTo>
                    <a:pt x="140194" y="204873"/>
                  </a:moveTo>
                  <a:lnTo>
                    <a:pt x="155652" y="178084"/>
                  </a:lnTo>
                  <a:cubicBezTo>
                    <a:pt x="155707" y="177980"/>
                    <a:pt x="155762" y="177881"/>
                    <a:pt x="155826" y="177782"/>
                  </a:cubicBezTo>
                  <a:lnTo>
                    <a:pt x="172455" y="148979"/>
                  </a:lnTo>
                  <a:cubicBezTo>
                    <a:pt x="172485" y="148919"/>
                    <a:pt x="172520" y="148864"/>
                    <a:pt x="172554" y="148805"/>
                  </a:cubicBezTo>
                  <a:cubicBezTo>
                    <a:pt x="174926" y="144773"/>
                    <a:pt x="173580" y="139583"/>
                    <a:pt x="169548" y="137211"/>
                  </a:cubicBezTo>
                  <a:cubicBezTo>
                    <a:pt x="165516" y="134840"/>
                    <a:pt x="160326" y="136186"/>
                    <a:pt x="157954" y="140218"/>
                  </a:cubicBezTo>
                  <a:cubicBezTo>
                    <a:pt x="157895" y="140334"/>
                    <a:pt x="157829" y="140446"/>
                    <a:pt x="157756" y="140555"/>
                  </a:cubicBezTo>
                  <a:lnTo>
                    <a:pt x="125520" y="196390"/>
                  </a:lnTo>
                  <a:cubicBezTo>
                    <a:pt x="131387" y="197020"/>
                    <a:pt x="136715" y="200097"/>
                    <a:pt x="140194" y="204864"/>
                  </a:cubicBezTo>
                  <a:close/>
                  <a:moveTo>
                    <a:pt x="142064" y="154952"/>
                  </a:moveTo>
                  <a:cubicBezTo>
                    <a:pt x="129547" y="144371"/>
                    <a:pt x="114211" y="137679"/>
                    <a:pt x="97942" y="135698"/>
                  </a:cubicBezTo>
                  <a:lnTo>
                    <a:pt x="110344" y="123296"/>
                  </a:lnTo>
                  <a:lnTo>
                    <a:pt x="119046" y="131992"/>
                  </a:lnTo>
                  <a:cubicBezTo>
                    <a:pt x="121789" y="134739"/>
                    <a:pt x="125513" y="136279"/>
                    <a:pt x="129394" y="136274"/>
                  </a:cubicBezTo>
                  <a:cubicBezTo>
                    <a:pt x="133276" y="136287"/>
                    <a:pt x="137003" y="134752"/>
                    <a:pt x="139748" y="132007"/>
                  </a:cubicBezTo>
                  <a:lnTo>
                    <a:pt x="157557" y="114197"/>
                  </a:lnTo>
                  <a:cubicBezTo>
                    <a:pt x="182600" y="122551"/>
                    <a:pt x="203749" y="139729"/>
                    <a:pt x="217059" y="162527"/>
                  </a:cubicBezTo>
                  <a:lnTo>
                    <a:pt x="167306" y="191236"/>
                  </a:lnTo>
                  <a:cubicBezTo>
                    <a:pt x="165869" y="187215"/>
                    <a:pt x="164128" y="183309"/>
                    <a:pt x="162097" y="179553"/>
                  </a:cubicBezTo>
                  <a:lnTo>
                    <a:pt x="177922" y="152144"/>
                  </a:lnTo>
                  <a:lnTo>
                    <a:pt x="177977" y="152059"/>
                  </a:lnTo>
                  <a:cubicBezTo>
                    <a:pt x="182038" y="145066"/>
                    <a:pt x="179734" y="136108"/>
                    <a:pt x="172802" y="131943"/>
                  </a:cubicBezTo>
                  <a:lnTo>
                    <a:pt x="172768" y="131918"/>
                  </a:lnTo>
                  <a:cubicBezTo>
                    <a:pt x="165761" y="127764"/>
                    <a:pt x="156716" y="130042"/>
                    <a:pt x="152512" y="137018"/>
                  </a:cubicBezTo>
                  <a:lnTo>
                    <a:pt x="152512" y="137053"/>
                  </a:lnTo>
                  <a:cubicBezTo>
                    <a:pt x="149020" y="143006"/>
                    <a:pt x="145547" y="148974"/>
                    <a:pt x="142094" y="154957"/>
                  </a:cubicBezTo>
                  <a:close/>
                  <a:moveTo>
                    <a:pt x="117870" y="197005"/>
                  </a:moveTo>
                  <a:cubicBezTo>
                    <a:pt x="124875" y="184861"/>
                    <a:pt x="131871" y="172695"/>
                    <a:pt x="138860" y="160508"/>
                  </a:cubicBezTo>
                  <a:cubicBezTo>
                    <a:pt x="125811" y="149184"/>
                    <a:pt x="109377" y="142504"/>
                    <a:pt x="92128" y="141512"/>
                  </a:cubicBezTo>
                  <a:lnTo>
                    <a:pt x="81581" y="152059"/>
                  </a:lnTo>
                  <a:cubicBezTo>
                    <a:pt x="73643" y="159997"/>
                    <a:pt x="62283" y="155477"/>
                    <a:pt x="58264" y="147044"/>
                  </a:cubicBezTo>
                  <a:cubicBezTo>
                    <a:pt x="44116" y="152761"/>
                    <a:pt x="31939" y="162477"/>
                    <a:pt x="23225" y="175004"/>
                  </a:cubicBezTo>
                  <a:cubicBezTo>
                    <a:pt x="21057" y="178114"/>
                    <a:pt x="16096" y="175420"/>
                    <a:pt x="17768" y="171779"/>
                  </a:cubicBezTo>
                  <a:cubicBezTo>
                    <a:pt x="25737" y="153313"/>
                    <a:pt x="38402" y="137257"/>
                    <a:pt x="54504" y="125206"/>
                  </a:cubicBezTo>
                  <a:cubicBezTo>
                    <a:pt x="20086" y="120576"/>
                    <a:pt x="-4061" y="88921"/>
                    <a:pt x="569" y="54504"/>
                  </a:cubicBezTo>
                  <a:cubicBezTo>
                    <a:pt x="5199" y="20086"/>
                    <a:pt x="36853" y="-4061"/>
                    <a:pt x="71271" y="569"/>
                  </a:cubicBezTo>
                  <a:cubicBezTo>
                    <a:pt x="105688" y="5199"/>
                    <a:pt x="129836" y="36853"/>
                    <a:pt x="125206" y="71271"/>
                  </a:cubicBezTo>
                  <a:cubicBezTo>
                    <a:pt x="124275" y="78187"/>
                    <a:pt x="122200" y="84899"/>
                    <a:pt x="119066" y="91134"/>
                  </a:cubicBezTo>
                  <a:lnTo>
                    <a:pt x="120648" y="92488"/>
                  </a:lnTo>
                  <a:lnTo>
                    <a:pt x="129389" y="101190"/>
                  </a:lnTo>
                  <a:lnTo>
                    <a:pt x="169027" y="61557"/>
                  </a:lnTo>
                  <a:lnTo>
                    <a:pt x="162375" y="54904"/>
                  </a:lnTo>
                  <a:cubicBezTo>
                    <a:pt x="156917" y="49447"/>
                    <a:pt x="160747" y="40056"/>
                    <a:pt x="168551" y="40086"/>
                  </a:cubicBezTo>
                  <a:lnTo>
                    <a:pt x="202285" y="40230"/>
                  </a:lnTo>
                  <a:cubicBezTo>
                    <a:pt x="207052" y="40238"/>
                    <a:pt x="210914" y="44100"/>
                    <a:pt x="210922" y="48867"/>
                  </a:cubicBezTo>
                  <a:lnTo>
                    <a:pt x="211061" y="82601"/>
                  </a:lnTo>
                  <a:cubicBezTo>
                    <a:pt x="211104" y="84906"/>
                    <a:pt x="210209" y="87130"/>
                    <a:pt x="208581" y="88763"/>
                  </a:cubicBezTo>
                  <a:cubicBezTo>
                    <a:pt x="205185" y="92163"/>
                    <a:pt x="199675" y="92166"/>
                    <a:pt x="196275" y="88770"/>
                  </a:cubicBezTo>
                  <a:cubicBezTo>
                    <a:pt x="196272" y="88768"/>
                    <a:pt x="196270" y="88765"/>
                    <a:pt x="196268" y="88763"/>
                  </a:cubicBezTo>
                  <a:lnTo>
                    <a:pt x="189615" y="82110"/>
                  </a:lnTo>
                  <a:lnTo>
                    <a:pt x="162533" y="109192"/>
                  </a:lnTo>
                  <a:cubicBezTo>
                    <a:pt x="207926" y="125712"/>
                    <a:pt x="238138" y="168861"/>
                    <a:pt x="238133" y="217167"/>
                  </a:cubicBezTo>
                  <a:cubicBezTo>
                    <a:pt x="238130" y="218916"/>
                    <a:pt x="236712" y="220332"/>
                    <a:pt x="234963" y="220332"/>
                  </a:cubicBezTo>
                  <a:lnTo>
                    <a:pt x="169017" y="220332"/>
                  </a:lnTo>
                  <a:cubicBezTo>
                    <a:pt x="167272" y="220337"/>
                    <a:pt x="165853" y="218927"/>
                    <a:pt x="165847" y="217181"/>
                  </a:cubicBezTo>
                  <a:cubicBezTo>
                    <a:pt x="165847" y="217120"/>
                    <a:pt x="165849" y="217059"/>
                    <a:pt x="165852" y="216998"/>
                  </a:cubicBezTo>
                  <a:cubicBezTo>
                    <a:pt x="165496" y="206285"/>
                    <a:pt x="162934" y="195760"/>
                    <a:pt x="158326" y="186081"/>
                  </a:cubicBezTo>
                  <a:lnTo>
                    <a:pt x="143488" y="211769"/>
                  </a:lnTo>
                  <a:cubicBezTo>
                    <a:pt x="146457" y="222913"/>
                    <a:pt x="139830" y="234353"/>
                    <a:pt x="128687" y="237321"/>
                  </a:cubicBezTo>
                  <a:cubicBezTo>
                    <a:pt x="117544" y="240290"/>
                    <a:pt x="106103" y="233664"/>
                    <a:pt x="103135" y="222520"/>
                  </a:cubicBezTo>
                  <a:cubicBezTo>
                    <a:pt x="100173" y="211403"/>
                    <a:pt x="106762" y="199984"/>
                    <a:pt x="117870" y="196986"/>
                  </a:cubicBezTo>
                  <a:close/>
                  <a:moveTo>
                    <a:pt x="125490" y="214984"/>
                  </a:moveTo>
                  <a:cubicBezTo>
                    <a:pt x="126697" y="216187"/>
                    <a:pt x="126701" y="218140"/>
                    <a:pt x="125498" y="219348"/>
                  </a:cubicBezTo>
                  <a:cubicBezTo>
                    <a:pt x="124295" y="220555"/>
                    <a:pt x="122342" y="220559"/>
                    <a:pt x="121134" y="219356"/>
                  </a:cubicBezTo>
                  <a:cubicBezTo>
                    <a:pt x="120552" y="218776"/>
                    <a:pt x="120226" y="217988"/>
                    <a:pt x="120226" y="217167"/>
                  </a:cubicBezTo>
                  <a:cubicBezTo>
                    <a:pt x="120222" y="215465"/>
                    <a:pt x="121597" y="214082"/>
                    <a:pt x="123298" y="214077"/>
                  </a:cubicBezTo>
                  <a:cubicBezTo>
                    <a:pt x="124121" y="214075"/>
                    <a:pt x="124910" y="214401"/>
                    <a:pt x="125490" y="214984"/>
                  </a:cubicBezTo>
                  <a:close/>
                  <a:moveTo>
                    <a:pt x="123312" y="207741"/>
                  </a:moveTo>
                  <a:cubicBezTo>
                    <a:pt x="131676" y="207741"/>
                    <a:pt x="135893" y="217906"/>
                    <a:pt x="129975" y="223829"/>
                  </a:cubicBezTo>
                  <a:cubicBezTo>
                    <a:pt x="124056" y="229753"/>
                    <a:pt x="113886" y="225531"/>
                    <a:pt x="113886" y="217167"/>
                  </a:cubicBezTo>
                  <a:cubicBezTo>
                    <a:pt x="113886" y="211961"/>
                    <a:pt x="118106" y="207741"/>
                    <a:pt x="123312" y="207741"/>
                  </a:cubicBezTo>
                  <a:close/>
                </a:path>
              </a:pathLst>
            </a:custGeom>
            <a:solidFill>
              <a:schemeClr val="bg1"/>
            </a:solid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65" name="Group 64">
            <a:extLst>
              <a:ext uri="{FF2B5EF4-FFF2-40B4-BE49-F238E27FC236}">
                <a16:creationId xmlns:a16="http://schemas.microsoft.com/office/drawing/2014/main" id="{9064BC2B-F78D-A1B1-7F0C-829F745F2D94}"/>
              </a:ext>
            </a:extLst>
          </p:cNvPr>
          <p:cNvGrpSpPr/>
          <p:nvPr/>
        </p:nvGrpSpPr>
        <p:grpSpPr>
          <a:xfrm>
            <a:off x="7936609" y="3762940"/>
            <a:ext cx="457200" cy="457200"/>
            <a:chOff x="7936609" y="4213236"/>
            <a:chExt cx="457200" cy="457200"/>
          </a:xfrm>
        </p:grpSpPr>
        <p:sp>
          <p:nvSpPr>
            <p:cNvPr id="66" name="Oval 65">
              <a:extLst>
                <a:ext uri="{FF2B5EF4-FFF2-40B4-BE49-F238E27FC236}">
                  <a16:creationId xmlns:a16="http://schemas.microsoft.com/office/drawing/2014/main" id="{41E6EB14-1F8E-DFA2-8F8D-67D3E1DA7C9C}"/>
                </a:ext>
              </a:extLst>
            </p:cNvPr>
            <p:cNvSpPr>
              <a:spLocks noChangeAspect="1"/>
            </p:cNvSpPr>
            <p:nvPr/>
          </p:nvSpPr>
          <p:spPr>
            <a:xfrm>
              <a:off x="7936609" y="4213236"/>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grpSp>
          <p:nvGrpSpPr>
            <p:cNvPr id="67" name="Group 66">
              <a:extLst>
                <a:ext uri="{FF2B5EF4-FFF2-40B4-BE49-F238E27FC236}">
                  <a16:creationId xmlns:a16="http://schemas.microsoft.com/office/drawing/2014/main" id="{5E6BF688-9580-97E9-A214-0F20D17249BD}"/>
                </a:ext>
              </a:extLst>
            </p:cNvPr>
            <p:cNvGrpSpPr>
              <a:grpSpLocks noChangeAspect="1"/>
            </p:cNvGrpSpPr>
            <p:nvPr/>
          </p:nvGrpSpPr>
          <p:grpSpPr>
            <a:xfrm>
              <a:off x="8050116" y="4326742"/>
              <a:ext cx="230187" cy="230187"/>
              <a:chOff x="2307431" y="1399381"/>
              <a:chExt cx="230187" cy="230187"/>
            </a:xfrm>
            <a:solidFill>
              <a:schemeClr val="bg1"/>
            </a:solidFill>
          </p:grpSpPr>
          <p:sp>
            <p:nvSpPr>
              <p:cNvPr id="68" name="Freeform: Shape 67">
                <a:extLst>
                  <a:ext uri="{FF2B5EF4-FFF2-40B4-BE49-F238E27FC236}">
                    <a16:creationId xmlns:a16="http://schemas.microsoft.com/office/drawing/2014/main" id="{B84BBAB7-0228-0D8E-1C55-9451D7495AAF}"/>
                  </a:ext>
                </a:extLst>
              </p:cNvPr>
              <p:cNvSpPr/>
              <p:nvPr/>
            </p:nvSpPr>
            <p:spPr>
              <a:xfrm>
                <a:off x="2339366" y="1497076"/>
                <a:ext cx="105375" cy="100724"/>
              </a:xfrm>
              <a:custGeom>
                <a:avLst/>
                <a:gdLst>
                  <a:gd name="csX0" fmla="*/ 103634 w 105375"/>
                  <a:gd name="csY0" fmla="*/ 76515 h 100724"/>
                  <a:gd name="csX1" fmla="*/ 71129 w 105375"/>
                  <a:gd name="csY1" fmla="*/ 54842 h 100724"/>
                  <a:gd name="csX2" fmla="*/ 65602 w 105375"/>
                  <a:gd name="csY2" fmla="*/ 56018 h 100724"/>
                  <a:gd name="csX3" fmla="*/ 64959 w 105375"/>
                  <a:gd name="csY3" fmla="*/ 58144 h 100724"/>
                  <a:gd name="csX4" fmla="*/ 64959 w 105375"/>
                  <a:gd name="csY4" fmla="*/ 63466 h 100724"/>
                  <a:gd name="csX5" fmla="*/ 8633 w 105375"/>
                  <a:gd name="csY5" fmla="*/ 3422 h 100724"/>
                  <a:gd name="csX6" fmla="*/ 4153 w 105375"/>
                  <a:gd name="csY6" fmla="*/ 38 h 100724"/>
                  <a:gd name="csX7" fmla="*/ 773 w 105375"/>
                  <a:gd name="csY7" fmla="*/ 3396 h 100724"/>
                  <a:gd name="csX8" fmla="*/ 64959 w 105375"/>
                  <a:gd name="csY8" fmla="*/ 93231 h 100724"/>
                  <a:gd name="csX9" fmla="*/ 64959 w 105375"/>
                  <a:gd name="csY9" fmla="*/ 96774 h 100724"/>
                  <a:gd name="csX10" fmla="*/ 69001 w 105375"/>
                  <a:gd name="csY10" fmla="*/ 100724 h 100724"/>
                  <a:gd name="csX11" fmla="*/ 70762 w 105375"/>
                  <a:gd name="csY11" fmla="*/ 100293 h 100724"/>
                  <a:gd name="csX12" fmla="*/ 103268 w 105375"/>
                  <a:gd name="csY12" fmla="*/ 83336 h 100724"/>
                  <a:gd name="csX13" fmla="*/ 104899 w 105375"/>
                  <a:gd name="csY13" fmla="*/ 77924 h 100724"/>
                  <a:gd name="csX14" fmla="*/ 103634 w 105375"/>
                  <a:gd name="csY14" fmla="*/ 76515 h 100724"/>
                  <a:gd name="csX15" fmla="*/ 72896 w 105375"/>
                  <a:gd name="csY15" fmla="*/ 90227 h 100724"/>
                  <a:gd name="csX16" fmla="*/ 69489 w 105375"/>
                  <a:gd name="csY16" fmla="*/ 85937 h 100724"/>
                  <a:gd name="csX17" fmla="*/ 9950 w 105375"/>
                  <a:gd name="csY17" fmla="*/ 31824 h 100724"/>
                  <a:gd name="csX18" fmla="*/ 68365 w 105375"/>
                  <a:gd name="csY18" fmla="*/ 72124 h 100724"/>
                  <a:gd name="csX19" fmla="*/ 72860 w 105375"/>
                  <a:gd name="csY19" fmla="*/ 68702 h 100724"/>
                  <a:gd name="csX20" fmla="*/ 72896 w 105375"/>
                  <a:gd name="csY20" fmla="*/ 68194 h 100724"/>
                  <a:gd name="csX21" fmla="*/ 72896 w 105375"/>
                  <a:gd name="csY21" fmla="*/ 65559 h 100724"/>
                  <a:gd name="csX22" fmla="*/ 93653 w 105375"/>
                  <a:gd name="csY22" fmla="*/ 79399 h 10072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Lst>
                <a:rect l="l" t="t" r="r" b="b"/>
                <a:pathLst>
                  <a:path w="105375" h="100724">
                    <a:moveTo>
                      <a:pt x="103634" y="76515"/>
                    </a:moveTo>
                    <a:lnTo>
                      <a:pt x="71129" y="54842"/>
                    </a:lnTo>
                    <a:cubicBezTo>
                      <a:pt x="69278" y="53641"/>
                      <a:pt x="66804" y="54167"/>
                      <a:pt x="65602" y="56018"/>
                    </a:cubicBezTo>
                    <a:cubicBezTo>
                      <a:pt x="65191" y="56651"/>
                      <a:pt x="64968" y="57389"/>
                      <a:pt x="64959" y="58144"/>
                    </a:cubicBezTo>
                    <a:lnTo>
                      <a:pt x="64959" y="63466"/>
                    </a:lnTo>
                    <a:cubicBezTo>
                      <a:pt x="35476" y="57197"/>
                      <a:pt x="13006" y="33245"/>
                      <a:pt x="8633" y="3422"/>
                    </a:cubicBezTo>
                    <a:cubicBezTo>
                      <a:pt x="8330" y="1251"/>
                      <a:pt x="6324" y="-264"/>
                      <a:pt x="4153" y="38"/>
                    </a:cubicBezTo>
                    <a:cubicBezTo>
                      <a:pt x="2405" y="282"/>
                      <a:pt x="1028" y="1650"/>
                      <a:pt x="773" y="3396"/>
                    </a:cubicBezTo>
                    <a:cubicBezTo>
                      <a:pt x="-5098" y="45638"/>
                      <a:pt x="23093" y="85095"/>
                      <a:pt x="64959" y="93231"/>
                    </a:cubicBezTo>
                    <a:lnTo>
                      <a:pt x="64959" y="96774"/>
                    </a:lnTo>
                    <a:cubicBezTo>
                      <a:pt x="64984" y="98981"/>
                      <a:pt x="66794" y="100750"/>
                      <a:pt x="69001" y="100724"/>
                    </a:cubicBezTo>
                    <a:cubicBezTo>
                      <a:pt x="69614" y="100717"/>
                      <a:pt x="70216" y="100570"/>
                      <a:pt x="70762" y="100293"/>
                    </a:cubicBezTo>
                    <a:lnTo>
                      <a:pt x="103268" y="83336"/>
                    </a:lnTo>
                    <a:cubicBezTo>
                      <a:pt x="105213" y="82292"/>
                      <a:pt x="105944" y="79869"/>
                      <a:pt x="104899" y="77924"/>
                    </a:cubicBezTo>
                    <a:cubicBezTo>
                      <a:pt x="104597" y="77360"/>
                      <a:pt x="104163" y="76877"/>
                      <a:pt x="103634" y="76515"/>
                    </a:cubicBezTo>
                    <a:close/>
                    <a:moveTo>
                      <a:pt x="72896" y="90227"/>
                    </a:moveTo>
                    <a:cubicBezTo>
                      <a:pt x="73067" y="88123"/>
                      <a:pt x="71577" y="86247"/>
                      <a:pt x="69489" y="85937"/>
                    </a:cubicBezTo>
                    <a:cubicBezTo>
                      <a:pt x="40502" y="81649"/>
                      <a:pt x="16980" y="60271"/>
                      <a:pt x="9950" y="31824"/>
                    </a:cubicBezTo>
                    <a:cubicBezTo>
                      <a:pt x="22063" y="53640"/>
                      <a:pt x="43670" y="68546"/>
                      <a:pt x="68365" y="72124"/>
                    </a:cubicBezTo>
                    <a:cubicBezTo>
                      <a:pt x="70551" y="72420"/>
                      <a:pt x="72564" y="70888"/>
                      <a:pt x="72860" y="68702"/>
                    </a:cubicBezTo>
                    <a:cubicBezTo>
                      <a:pt x="72883" y="68533"/>
                      <a:pt x="72895" y="68364"/>
                      <a:pt x="72896" y="68194"/>
                    </a:cubicBezTo>
                    <a:lnTo>
                      <a:pt x="72896" y="65559"/>
                    </a:lnTo>
                    <a:lnTo>
                      <a:pt x="93653" y="79399"/>
                    </a:ln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9" name="Freeform: Shape 68">
                <a:extLst>
                  <a:ext uri="{FF2B5EF4-FFF2-40B4-BE49-F238E27FC236}">
                    <a16:creationId xmlns:a16="http://schemas.microsoft.com/office/drawing/2014/main" id="{F9A1DFFE-1F1A-F7DA-D670-E933A8E7918E}"/>
                  </a:ext>
                </a:extLst>
              </p:cNvPr>
              <p:cNvSpPr/>
              <p:nvPr/>
            </p:nvSpPr>
            <p:spPr>
              <a:xfrm>
                <a:off x="2399978" y="1431149"/>
                <a:ext cx="105401" cy="100722"/>
              </a:xfrm>
              <a:custGeom>
                <a:avLst/>
                <a:gdLst>
                  <a:gd name="csX0" fmla="*/ 40444 w 105401"/>
                  <a:gd name="csY0" fmla="*/ 7491 h 100722"/>
                  <a:gd name="csX1" fmla="*/ 40444 w 105401"/>
                  <a:gd name="csY1" fmla="*/ 3951 h 100722"/>
                  <a:gd name="csX2" fmla="*/ 36400 w 105401"/>
                  <a:gd name="csY2" fmla="*/ 0 h 100722"/>
                  <a:gd name="csX3" fmla="*/ 34640 w 105401"/>
                  <a:gd name="csY3" fmla="*/ 432 h 100722"/>
                  <a:gd name="csX4" fmla="*/ 2134 w 105401"/>
                  <a:gd name="csY4" fmla="*/ 17388 h 100722"/>
                  <a:gd name="csX5" fmla="*/ 451 w 105401"/>
                  <a:gd name="csY5" fmla="*/ 22742 h 100722"/>
                  <a:gd name="csX6" fmla="*/ 1768 w 105401"/>
                  <a:gd name="csY6" fmla="*/ 24209 h 100722"/>
                  <a:gd name="csX7" fmla="*/ 34274 w 105401"/>
                  <a:gd name="csY7" fmla="*/ 45880 h 100722"/>
                  <a:gd name="csX8" fmla="*/ 39801 w 105401"/>
                  <a:gd name="csY8" fmla="*/ 44702 h 100722"/>
                  <a:gd name="csX9" fmla="*/ 40444 w 105401"/>
                  <a:gd name="csY9" fmla="*/ 42578 h 100722"/>
                  <a:gd name="csX10" fmla="*/ 40444 w 105401"/>
                  <a:gd name="csY10" fmla="*/ 37257 h 100722"/>
                  <a:gd name="csX11" fmla="*/ 96770 w 105401"/>
                  <a:gd name="csY11" fmla="*/ 97298 h 100722"/>
                  <a:gd name="csX12" fmla="*/ 101246 w 105401"/>
                  <a:gd name="csY12" fmla="*/ 100685 h 100722"/>
                  <a:gd name="csX13" fmla="*/ 104628 w 105401"/>
                  <a:gd name="csY13" fmla="*/ 97329 h 100722"/>
                  <a:gd name="csX14" fmla="*/ 40444 w 105401"/>
                  <a:gd name="csY14" fmla="*/ 7491 h 100722"/>
                  <a:gd name="csX15" fmla="*/ 37037 w 105401"/>
                  <a:gd name="csY15" fmla="*/ 28600 h 100722"/>
                  <a:gd name="csX16" fmla="*/ 32543 w 105401"/>
                  <a:gd name="csY16" fmla="*/ 32022 h 100722"/>
                  <a:gd name="csX17" fmla="*/ 32507 w 105401"/>
                  <a:gd name="csY17" fmla="*/ 32528 h 100722"/>
                  <a:gd name="csX18" fmla="*/ 32507 w 105401"/>
                  <a:gd name="csY18" fmla="*/ 35162 h 100722"/>
                  <a:gd name="csX19" fmla="*/ 11750 w 105401"/>
                  <a:gd name="csY19" fmla="*/ 21324 h 100722"/>
                  <a:gd name="csX20" fmla="*/ 32507 w 105401"/>
                  <a:gd name="csY20" fmla="*/ 10497 h 100722"/>
                  <a:gd name="csX21" fmla="*/ 35913 w 105401"/>
                  <a:gd name="csY21" fmla="*/ 14785 h 100722"/>
                  <a:gd name="csX22" fmla="*/ 95456 w 105401"/>
                  <a:gd name="csY22" fmla="*/ 68906 h 100722"/>
                  <a:gd name="csX23" fmla="*/ 37037 w 105401"/>
                  <a:gd name="csY23" fmla="*/ 28600 h 10072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Lst>
                <a:rect l="l" t="t" r="r" b="b"/>
                <a:pathLst>
                  <a:path w="105401" h="100722">
                    <a:moveTo>
                      <a:pt x="40444" y="7491"/>
                    </a:moveTo>
                    <a:lnTo>
                      <a:pt x="40444" y="3951"/>
                    </a:lnTo>
                    <a:cubicBezTo>
                      <a:pt x="40418" y="1743"/>
                      <a:pt x="38608" y="-26"/>
                      <a:pt x="36400" y="0"/>
                    </a:cubicBezTo>
                    <a:cubicBezTo>
                      <a:pt x="35788" y="7"/>
                      <a:pt x="35186" y="155"/>
                      <a:pt x="34640" y="432"/>
                    </a:cubicBezTo>
                    <a:lnTo>
                      <a:pt x="2134" y="17388"/>
                    </a:lnTo>
                    <a:cubicBezTo>
                      <a:pt x="191" y="18401"/>
                      <a:pt x="-563" y="20798"/>
                      <a:pt x="451" y="22742"/>
                    </a:cubicBezTo>
                    <a:cubicBezTo>
                      <a:pt x="759" y="23334"/>
                      <a:pt x="1213" y="23839"/>
                      <a:pt x="1768" y="24209"/>
                    </a:cubicBezTo>
                    <a:lnTo>
                      <a:pt x="34274" y="45880"/>
                    </a:lnTo>
                    <a:cubicBezTo>
                      <a:pt x="36125" y="47081"/>
                      <a:pt x="38600" y="46554"/>
                      <a:pt x="39801" y="44702"/>
                    </a:cubicBezTo>
                    <a:cubicBezTo>
                      <a:pt x="40212" y="44069"/>
                      <a:pt x="40435" y="43333"/>
                      <a:pt x="40444" y="42578"/>
                    </a:cubicBezTo>
                    <a:lnTo>
                      <a:pt x="40444" y="37257"/>
                    </a:lnTo>
                    <a:cubicBezTo>
                      <a:pt x="69926" y="43526"/>
                      <a:pt x="92394" y="67477"/>
                      <a:pt x="96770" y="97298"/>
                    </a:cubicBezTo>
                    <a:cubicBezTo>
                      <a:pt x="97071" y="99469"/>
                      <a:pt x="99074" y="100985"/>
                      <a:pt x="101246" y="100685"/>
                    </a:cubicBezTo>
                    <a:cubicBezTo>
                      <a:pt x="102994" y="100443"/>
                      <a:pt x="104372" y="99075"/>
                      <a:pt x="104628" y="97329"/>
                    </a:cubicBezTo>
                    <a:cubicBezTo>
                      <a:pt x="110503" y="55085"/>
                      <a:pt x="82311" y="15625"/>
                      <a:pt x="40444" y="7491"/>
                    </a:cubicBezTo>
                    <a:close/>
                    <a:moveTo>
                      <a:pt x="37037" y="28600"/>
                    </a:moveTo>
                    <a:cubicBezTo>
                      <a:pt x="34851" y="28304"/>
                      <a:pt x="32839" y="29836"/>
                      <a:pt x="32543" y="32022"/>
                    </a:cubicBezTo>
                    <a:cubicBezTo>
                      <a:pt x="32520" y="32190"/>
                      <a:pt x="32508" y="32359"/>
                      <a:pt x="32507" y="32528"/>
                    </a:cubicBezTo>
                    <a:lnTo>
                      <a:pt x="32507" y="35162"/>
                    </a:lnTo>
                    <a:lnTo>
                      <a:pt x="11750" y="21324"/>
                    </a:lnTo>
                    <a:lnTo>
                      <a:pt x="32507" y="10497"/>
                    </a:lnTo>
                    <a:cubicBezTo>
                      <a:pt x="32336" y="12600"/>
                      <a:pt x="33826" y="14476"/>
                      <a:pt x="35913" y="14785"/>
                    </a:cubicBezTo>
                    <a:cubicBezTo>
                      <a:pt x="64902" y="19078"/>
                      <a:pt x="88424" y="40458"/>
                      <a:pt x="95456" y="68906"/>
                    </a:cubicBezTo>
                    <a:cubicBezTo>
                      <a:pt x="83342" y="47088"/>
                      <a:pt x="61734" y="32180"/>
                      <a:pt x="37037" y="28600"/>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70" name="Freeform: Shape 69">
                <a:extLst>
                  <a:ext uri="{FF2B5EF4-FFF2-40B4-BE49-F238E27FC236}">
                    <a16:creationId xmlns:a16="http://schemas.microsoft.com/office/drawing/2014/main" id="{5B899373-07D6-6DF2-6F88-6DE9FE7A935E}"/>
                  </a:ext>
                </a:extLst>
              </p:cNvPr>
              <p:cNvSpPr/>
              <p:nvPr/>
            </p:nvSpPr>
            <p:spPr>
              <a:xfrm>
                <a:off x="2437495" y="1517877"/>
                <a:ext cx="63500" cy="63292"/>
              </a:xfrm>
              <a:custGeom>
                <a:avLst/>
                <a:gdLst>
                  <a:gd name="csX0" fmla="*/ 31750 w 63500"/>
                  <a:gd name="csY0" fmla="*/ 0 h 63292"/>
                  <a:gd name="csX1" fmla="*/ 0 w 63500"/>
                  <a:gd name="csY1" fmla="*/ 31750 h 63292"/>
                  <a:gd name="csX2" fmla="*/ 63500 w 63500"/>
                  <a:gd name="csY2" fmla="*/ 31750 h 63292"/>
                  <a:gd name="csX3" fmla="*/ 31750 w 63500"/>
                  <a:gd name="csY3" fmla="*/ 0 h 63292"/>
                  <a:gd name="csX4" fmla="*/ 31750 w 63500"/>
                  <a:gd name="csY4" fmla="*/ 55563 h 63292"/>
                  <a:gd name="csX5" fmla="*/ 31751 w 63500"/>
                  <a:gd name="csY5" fmla="*/ 7938 h 63292"/>
                  <a:gd name="csX6" fmla="*/ 31750 w 63500"/>
                  <a:gd name="csY6" fmla="*/ 55563 h 63292"/>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63500" h="63292">
                    <a:moveTo>
                      <a:pt x="31750" y="0"/>
                    </a:moveTo>
                    <a:cubicBezTo>
                      <a:pt x="14223" y="20"/>
                      <a:pt x="20" y="14223"/>
                      <a:pt x="0" y="31750"/>
                    </a:cubicBezTo>
                    <a:cubicBezTo>
                      <a:pt x="1596" y="73813"/>
                      <a:pt x="61910" y="73801"/>
                      <a:pt x="63500" y="31750"/>
                    </a:cubicBezTo>
                    <a:cubicBezTo>
                      <a:pt x="63480" y="14223"/>
                      <a:pt x="49277" y="20"/>
                      <a:pt x="31750" y="0"/>
                    </a:cubicBezTo>
                    <a:close/>
                    <a:moveTo>
                      <a:pt x="31750" y="55563"/>
                    </a:moveTo>
                    <a:cubicBezTo>
                      <a:pt x="280" y="54563"/>
                      <a:pt x="288" y="8932"/>
                      <a:pt x="31751" y="7938"/>
                    </a:cubicBezTo>
                    <a:cubicBezTo>
                      <a:pt x="63220" y="8937"/>
                      <a:pt x="63212" y="54568"/>
                      <a:pt x="31750" y="55563"/>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71" name="Freeform: Shape 70">
                <a:extLst>
                  <a:ext uri="{FF2B5EF4-FFF2-40B4-BE49-F238E27FC236}">
                    <a16:creationId xmlns:a16="http://schemas.microsoft.com/office/drawing/2014/main" id="{FC8DC58F-FFC1-6555-C433-A7A1420C86B0}"/>
                  </a:ext>
                </a:extLst>
              </p:cNvPr>
              <p:cNvSpPr/>
              <p:nvPr/>
            </p:nvSpPr>
            <p:spPr>
              <a:xfrm>
                <a:off x="2465276" y="1527213"/>
                <a:ext cx="20231" cy="26382"/>
              </a:xfrm>
              <a:custGeom>
                <a:avLst/>
                <a:gdLst>
                  <a:gd name="csX0" fmla="*/ 16340 w 20231"/>
                  <a:gd name="csY0" fmla="*/ 18445 h 26382"/>
                  <a:gd name="csX1" fmla="*/ 7938 w 20231"/>
                  <a:gd name="csY1" fmla="*/ 18445 h 26382"/>
                  <a:gd name="csX2" fmla="*/ 7938 w 20231"/>
                  <a:gd name="csY2" fmla="*/ 3892 h 26382"/>
                  <a:gd name="csX3" fmla="*/ 3891 w 20231"/>
                  <a:gd name="csY3" fmla="*/ 1 h 26382"/>
                  <a:gd name="csX4" fmla="*/ 0 w 20231"/>
                  <a:gd name="csY4" fmla="*/ 3892 h 26382"/>
                  <a:gd name="csX5" fmla="*/ 0 w 20231"/>
                  <a:gd name="csY5" fmla="*/ 22414 h 26382"/>
                  <a:gd name="csX6" fmla="*/ 3967 w 20231"/>
                  <a:gd name="csY6" fmla="*/ 26383 h 26382"/>
                  <a:gd name="csX7" fmla="*/ 3969 w 20231"/>
                  <a:gd name="csY7" fmla="*/ 26383 h 26382"/>
                  <a:gd name="csX8" fmla="*/ 16340 w 20231"/>
                  <a:gd name="csY8" fmla="*/ 26383 h 26382"/>
                  <a:gd name="csX9" fmla="*/ 20230 w 20231"/>
                  <a:gd name="csY9" fmla="*/ 22336 h 26382"/>
                  <a:gd name="csX10" fmla="*/ 16340 w 20231"/>
                  <a:gd name="csY10" fmla="*/ 18445 h 2638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20231" h="26382">
                    <a:moveTo>
                      <a:pt x="16340" y="18445"/>
                    </a:moveTo>
                    <a:lnTo>
                      <a:pt x="7938" y="18445"/>
                    </a:lnTo>
                    <a:lnTo>
                      <a:pt x="7938" y="3892"/>
                    </a:lnTo>
                    <a:cubicBezTo>
                      <a:pt x="7895" y="1700"/>
                      <a:pt x="6083" y="-42"/>
                      <a:pt x="3891" y="1"/>
                    </a:cubicBezTo>
                    <a:cubicBezTo>
                      <a:pt x="1760" y="42"/>
                      <a:pt x="41" y="1761"/>
                      <a:pt x="0" y="3892"/>
                    </a:cubicBezTo>
                    <a:lnTo>
                      <a:pt x="0" y="22414"/>
                    </a:lnTo>
                    <a:cubicBezTo>
                      <a:pt x="-1" y="24605"/>
                      <a:pt x="1775" y="26382"/>
                      <a:pt x="3967" y="26383"/>
                    </a:cubicBezTo>
                    <a:cubicBezTo>
                      <a:pt x="3967" y="26383"/>
                      <a:pt x="3968" y="26383"/>
                      <a:pt x="3969" y="26383"/>
                    </a:cubicBezTo>
                    <a:lnTo>
                      <a:pt x="16340" y="26383"/>
                    </a:lnTo>
                    <a:cubicBezTo>
                      <a:pt x="18532" y="26340"/>
                      <a:pt x="20274" y="24528"/>
                      <a:pt x="20230" y="22336"/>
                    </a:cubicBezTo>
                    <a:cubicBezTo>
                      <a:pt x="20188" y="20205"/>
                      <a:pt x="18471" y="18488"/>
                      <a:pt x="16340" y="18445"/>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72" name="Freeform: Shape 71">
                <a:extLst>
                  <a:ext uri="{FF2B5EF4-FFF2-40B4-BE49-F238E27FC236}">
                    <a16:creationId xmlns:a16="http://schemas.microsoft.com/office/drawing/2014/main" id="{2F25AD92-1DC9-AAAC-08FC-A37780B749EA}"/>
                  </a:ext>
                </a:extLst>
              </p:cNvPr>
              <p:cNvSpPr/>
              <p:nvPr/>
            </p:nvSpPr>
            <p:spPr>
              <a:xfrm>
                <a:off x="2341440" y="1443179"/>
                <a:ext cx="63500" cy="63499"/>
              </a:xfrm>
              <a:custGeom>
                <a:avLst/>
                <a:gdLst>
                  <a:gd name="csX0" fmla="*/ 3969 w 63500"/>
                  <a:gd name="csY0" fmla="*/ 40063 h 63499"/>
                  <a:gd name="csX1" fmla="*/ 5730 w 63500"/>
                  <a:gd name="csY1" fmla="*/ 40063 h 63499"/>
                  <a:gd name="csX2" fmla="*/ 8172 w 63500"/>
                  <a:gd name="csY2" fmla="*/ 42577 h 63499"/>
                  <a:gd name="csX3" fmla="*/ 7472 w 63500"/>
                  <a:gd name="csY3" fmla="*/ 44266 h 63499"/>
                  <a:gd name="csX4" fmla="*/ 6227 w 63500"/>
                  <a:gd name="csY4" fmla="*/ 51124 h 63499"/>
                  <a:gd name="csX5" fmla="*/ 12375 w 63500"/>
                  <a:gd name="csY5" fmla="*/ 57273 h 63499"/>
                  <a:gd name="csX6" fmla="*/ 17986 w 63500"/>
                  <a:gd name="csY6" fmla="*/ 57274 h 63499"/>
                  <a:gd name="csX7" fmla="*/ 17987 w 63500"/>
                  <a:gd name="csY7" fmla="*/ 57273 h 63499"/>
                  <a:gd name="csX8" fmla="*/ 19231 w 63500"/>
                  <a:gd name="csY8" fmla="*/ 56029 h 63499"/>
                  <a:gd name="csX9" fmla="*/ 22736 w 63500"/>
                  <a:gd name="csY9" fmla="*/ 56079 h 63499"/>
                  <a:gd name="csX10" fmla="*/ 23437 w 63500"/>
                  <a:gd name="csY10" fmla="*/ 57769 h 63499"/>
                  <a:gd name="csX11" fmla="*/ 27406 w 63500"/>
                  <a:gd name="csY11" fmla="*/ 63499 h 63499"/>
                  <a:gd name="csX12" fmla="*/ 36097 w 63500"/>
                  <a:gd name="csY12" fmla="*/ 63499 h 63499"/>
                  <a:gd name="csX13" fmla="*/ 40065 w 63500"/>
                  <a:gd name="csY13" fmla="*/ 57769 h 63499"/>
                  <a:gd name="csX14" fmla="*/ 42577 w 63500"/>
                  <a:gd name="csY14" fmla="*/ 55328 h 63499"/>
                  <a:gd name="csX15" fmla="*/ 44267 w 63500"/>
                  <a:gd name="csY15" fmla="*/ 56027 h 63499"/>
                  <a:gd name="csX16" fmla="*/ 51125 w 63500"/>
                  <a:gd name="csY16" fmla="*/ 57273 h 63499"/>
                  <a:gd name="csX17" fmla="*/ 57276 w 63500"/>
                  <a:gd name="csY17" fmla="*/ 51124 h 63499"/>
                  <a:gd name="csX18" fmla="*/ 58438 w 63500"/>
                  <a:gd name="csY18" fmla="*/ 48318 h 63499"/>
                  <a:gd name="csX19" fmla="*/ 55497 w 63500"/>
                  <a:gd name="csY19" fmla="*/ 41580 h 63499"/>
                  <a:gd name="csX20" fmla="*/ 57770 w 63500"/>
                  <a:gd name="csY20" fmla="*/ 40063 h 63499"/>
                  <a:gd name="csX21" fmla="*/ 63500 w 63500"/>
                  <a:gd name="csY21" fmla="*/ 36094 h 63499"/>
                  <a:gd name="csX22" fmla="*/ 63500 w 63500"/>
                  <a:gd name="csY22" fmla="*/ 27403 h 63499"/>
                  <a:gd name="csX23" fmla="*/ 59531 w 63500"/>
                  <a:gd name="csY23" fmla="*/ 23434 h 63499"/>
                  <a:gd name="csX24" fmla="*/ 57770 w 63500"/>
                  <a:gd name="csY24" fmla="*/ 23434 h 63499"/>
                  <a:gd name="csX25" fmla="*/ 55329 w 63500"/>
                  <a:gd name="csY25" fmla="*/ 20925 h 63499"/>
                  <a:gd name="csX26" fmla="*/ 56030 w 63500"/>
                  <a:gd name="csY26" fmla="*/ 19233 h 63499"/>
                  <a:gd name="csX27" fmla="*/ 57275 w 63500"/>
                  <a:gd name="csY27" fmla="*/ 12375 h 63499"/>
                  <a:gd name="csX28" fmla="*/ 51125 w 63500"/>
                  <a:gd name="csY28" fmla="*/ 6226 h 63499"/>
                  <a:gd name="csX29" fmla="*/ 44265 w 63500"/>
                  <a:gd name="csY29" fmla="*/ 7472 h 63499"/>
                  <a:gd name="csX30" fmla="*/ 40764 w 63500"/>
                  <a:gd name="csY30" fmla="*/ 7420 h 63499"/>
                  <a:gd name="csX31" fmla="*/ 40065 w 63500"/>
                  <a:gd name="csY31" fmla="*/ 5730 h 63499"/>
                  <a:gd name="csX32" fmla="*/ 40065 w 63500"/>
                  <a:gd name="csY32" fmla="*/ 3969 h 63499"/>
                  <a:gd name="csX33" fmla="*/ 36097 w 63500"/>
                  <a:gd name="csY33" fmla="*/ 0 h 63499"/>
                  <a:gd name="csX34" fmla="*/ 27405 w 63500"/>
                  <a:gd name="csY34" fmla="*/ 0 h 63499"/>
                  <a:gd name="csX35" fmla="*/ 23436 w 63500"/>
                  <a:gd name="csY35" fmla="*/ 3969 h 63499"/>
                  <a:gd name="csX36" fmla="*/ 21915 w 63500"/>
                  <a:gd name="csY36" fmla="*/ 8005 h 63499"/>
                  <a:gd name="csX37" fmla="*/ 17985 w 63500"/>
                  <a:gd name="csY37" fmla="*/ 6224 h 63499"/>
                  <a:gd name="csX38" fmla="*/ 12375 w 63500"/>
                  <a:gd name="csY38" fmla="*/ 6226 h 63499"/>
                  <a:gd name="csX39" fmla="*/ 6226 w 63500"/>
                  <a:gd name="csY39" fmla="*/ 12375 h 63499"/>
                  <a:gd name="csX40" fmla="*/ 7472 w 63500"/>
                  <a:gd name="csY40" fmla="*/ 19233 h 63499"/>
                  <a:gd name="csX41" fmla="*/ 7419 w 63500"/>
                  <a:gd name="csY41" fmla="*/ 22736 h 63499"/>
                  <a:gd name="csX42" fmla="*/ 5730 w 63500"/>
                  <a:gd name="csY42" fmla="*/ 23435 h 63499"/>
                  <a:gd name="csX43" fmla="*/ 3969 w 63500"/>
                  <a:gd name="csY43" fmla="*/ 23435 h 63499"/>
                  <a:gd name="csX44" fmla="*/ 0 w 63500"/>
                  <a:gd name="csY44" fmla="*/ 27403 h 63499"/>
                  <a:gd name="csX45" fmla="*/ 0 w 63500"/>
                  <a:gd name="csY45" fmla="*/ 36095 h 63499"/>
                  <a:gd name="csX46" fmla="*/ 3969 w 63500"/>
                  <a:gd name="csY46" fmla="*/ 40063 h 63499"/>
                  <a:gd name="csX47" fmla="*/ 7937 w 63500"/>
                  <a:gd name="csY47" fmla="*/ 31137 h 63499"/>
                  <a:gd name="csX48" fmla="*/ 15816 w 63500"/>
                  <a:gd name="csY48" fmla="*/ 18573 h 63499"/>
                  <a:gd name="csX49" fmla="*/ 14479 w 63500"/>
                  <a:gd name="csY49" fmla="*/ 15346 h 63499"/>
                  <a:gd name="csX50" fmla="*/ 15348 w 63500"/>
                  <a:gd name="csY50" fmla="*/ 14477 h 63499"/>
                  <a:gd name="csX51" fmla="*/ 29725 w 63500"/>
                  <a:gd name="csY51" fmla="*/ 11352 h 63499"/>
                  <a:gd name="csX52" fmla="*/ 31139 w 63500"/>
                  <a:gd name="csY52" fmla="*/ 7937 h 63499"/>
                  <a:gd name="csX53" fmla="*/ 32362 w 63500"/>
                  <a:gd name="csY53" fmla="*/ 7937 h 63499"/>
                  <a:gd name="csX54" fmla="*/ 44740 w 63500"/>
                  <a:gd name="csY54" fmla="*/ 15893 h 63499"/>
                  <a:gd name="csX55" fmla="*/ 48154 w 63500"/>
                  <a:gd name="csY55" fmla="*/ 14479 h 63499"/>
                  <a:gd name="csX56" fmla="*/ 49022 w 63500"/>
                  <a:gd name="csY56" fmla="*/ 15348 h 63499"/>
                  <a:gd name="csX57" fmla="*/ 52145 w 63500"/>
                  <a:gd name="csY57" fmla="*/ 29722 h 63499"/>
                  <a:gd name="csX58" fmla="*/ 55563 w 63500"/>
                  <a:gd name="csY58" fmla="*/ 31137 h 63499"/>
                  <a:gd name="csX59" fmla="*/ 55563 w 63500"/>
                  <a:gd name="csY59" fmla="*/ 32360 h 63499"/>
                  <a:gd name="csX60" fmla="*/ 47686 w 63500"/>
                  <a:gd name="csY60" fmla="*/ 44928 h 63499"/>
                  <a:gd name="csX61" fmla="*/ 49022 w 63500"/>
                  <a:gd name="csY61" fmla="*/ 48154 h 63499"/>
                  <a:gd name="csX62" fmla="*/ 48154 w 63500"/>
                  <a:gd name="csY62" fmla="*/ 49020 h 63499"/>
                  <a:gd name="csX63" fmla="*/ 33699 w 63500"/>
                  <a:gd name="csY63" fmla="*/ 52334 h 63499"/>
                  <a:gd name="csX64" fmla="*/ 32362 w 63500"/>
                  <a:gd name="csY64" fmla="*/ 55562 h 63499"/>
                  <a:gd name="csX65" fmla="*/ 31139 w 63500"/>
                  <a:gd name="csY65" fmla="*/ 55562 h 63499"/>
                  <a:gd name="csX66" fmla="*/ 18570 w 63500"/>
                  <a:gd name="csY66" fmla="*/ 47686 h 63499"/>
                  <a:gd name="csX67" fmla="*/ 15348 w 63500"/>
                  <a:gd name="csY67" fmla="*/ 49020 h 63499"/>
                  <a:gd name="csX68" fmla="*/ 14480 w 63500"/>
                  <a:gd name="csY68" fmla="*/ 48154 h 63499"/>
                  <a:gd name="csX69" fmla="*/ 11349 w 63500"/>
                  <a:gd name="csY69" fmla="*/ 33773 h 63499"/>
                  <a:gd name="csX70" fmla="*/ 7937 w 63500"/>
                  <a:gd name="csY70" fmla="*/ 32360 h 6349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Lst>
                <a:rect l="l" t="t" r="r" b="b"/>
                <a:pathLst>
                  <a:path w="63500" h="63499">
                    <a:moveTo>
                      <a:pt x="3969" y="40063"/>
                    </a:moveTo>
                    <a:lnTo>
                      <a:pt x="5730" y="40063"/>
                    </a:lnTo>
                    <a:cubicBezTo>
                      <a:pt x="7099" y="40083"/>
                      <a:pt x="8192" y="41209"/>
                      <a:pt x="8172" y="42577"/>
                    </a:cubicBezTo>
                    <a:cubicBezTo>
                      <a:pt x="8162" y="43209"/>
                      <a:pt x="7912" y="43813"/>
                      <a:pt x="7472" y="44266"/>
                    </a:cubicBezTo>
                    <a:cubicBezTo>
                      <a:pt x="5286" y="45975"/>
                      <a:pt x="3989" y="48853"/>
                      <a:pt x="6227" y="51124"/>
                    </a:cubicBezTo>
                    <a:lnTo>
                      <a:pt x="12375" y="57273"/>
                    </a:lnTo>
                    <a:cubicBezTo>
                      <a:pt x="13924" y="58823"/>
                      <a:pt x="16436" y="58823"/>
                      <a:pt x="17986" y="57274"/>
                    </a:cubicBezTo>
                    <a:cubicBezTo>
                      <a:pt x="17986" y="57274"/>
                      <a:pt x="17987" y="57273"/>
                      <a:pt x="17987" y="57273"/>
                    </a:cubicBezTo>
                    <a:lnTo>
                      <a:pt x="19231" y="56029"/>
                    </a:lnTo>
                    <a:cubicBezTo>
                      <a:pt x="20213" y="55075"/>
                      <a:pt x="21782" y="55097"/>
                      <a:pt x="22736" y="56079"/>
                    </a:cubicBezTo>
                    <a:cubicBezTo>
                      <a:pt x="23177" y="56532"/>
                      <a:pt x="23427" y="57137"/>
                      <a:pt x="23437" y="57769"/>
                    </a:cubicBezTo>
                    <a:cubicBezTo>
                      <a:pt x="23115" y="60556"/>
                      <a:pt x="24186" y="63445"/>
                      <a:pt x="27406" y="63499"/>
                    </a:cubicBezTo>
                    <a:lnTo>
                      <a:pt x="36097" y="63499"/>
                    </a:lnTo>
                    <a:cubicBezTo>
                      <a:pt x="39321" y="63422"/>
                      <a:pt x="40384" y="60590"/>
                      <a:pt x="40065" y="57769"/>
                    </a:cubicBezTo>
                    <a:cubicBezTo>
                      <a:pt x="40085" y="56401"/>
                      <a:pt x="41209" y="55308"/>
                      <a:pt x="42577" y="55328"/>
                    </a:cubicBezTo>
                    <a:cubicBezTo>
                      <a:pt x="43209" y="55337"/>
                      <a:pt x="43814" y="55587"/>
                      <a:pt x="44267" y="56027"/>
                    </a:cubicBezTo>
                    <a:cubicBezTo>
                      <a:pt x="45976" y="58214"/>
                      <a:pt x="48853" y="59510"/>
                      <a:pt x="51125" y="57273"/>
                    </a:cubicBezTo>
                    <a:lnTo>
                      <a:pt x="57276" y="51124"/>
                    </a:lnTo>
                    <a:cubicBezTo>
                      <a:pt x="58020" y="50380"/>
                      <a:pt x="58438" y="49371"/>
                      <a:pt x="58438" y="48318"/>
                    </a:cubicBezTo>
                    <a:cubicBezTo>
                      <a:pt x="58743" y="45379"/>
                      <a:pt x="54358" y="44479"/>
                      <a:pt x="55497" y="41580"/>
                    </a:cubicBezTo>
                    <a:cubicBezTo>
                      <a:pt x="55877" y="40661"/>
                      <a:pt x="56775" y="40061"/>
                      <a:pt x="57770" y="40063"/>
                    </a:cubicBezTo>
                    <a:cubicBezTo>
                      <a:pt x="60558" y="40385"/>
                      <a:pt x="63446" y="39314"/>
                      <a:pt x="63500" y="36094"/>
                    </a:cubicBezTo>
                    <a:lnTo>
                      <a:pt x="63500" y="27403"/>
                    </a:lnTo>
                    <a:cubicBezTo>
                      <a:pt x="63500" y="25211"/>
                      <a:pt x="61723" y="23435"/>
                      <a:pt x="59531" y="23434"/>
                    </a:cubicBezTo>
                    <a:lnTo>
                      <a:pt x="57770" y="23434"/>
                    </a:lnTo>
                    <a:cubicBezTo>
                      <a:pt x="56403" y="23416"/>
                      <a:pt x="55310" y="22292"/>
                      <a:pt x="55329" y="20925"/>
                    </a:cubicBezTo>
                    <a:cubicBezTo>
                      <a:pt x="55337" y="20292"/>
                      <a:pt x="55588" y="19687"/>
                      <a:pt x="56030" y="19233"/>
                    </a:cubicBezTo>
                    <a:cubicBezTo>
                      <a:pt x="58218" y="17514"/>
                      <a:pt x="59513" y="14665"/>
                      <a:pt x="57275" y="12375"/>
                    </a:cubicBezTo>
                    <a:lnTo>
                      <a:pt x="51125" y="6226"/>
                    </a:lnTo>
                    <a:cubicBezTo>
                      <a:pt x="48834" y="4003"/>
                      <a:pt x="45998" y="5267"/>
                      <a:pt x="44265" y="7472"/>
                    </a:cubicBezTo>
                    <a:cubicBezTo>
                      <a:pt x="43284" y="8425"/>
                      <a:pt x="41716" y="8401"/>
                      <a:pt x="40764" y="7420"/>
                    </a:cubicBezTo>
                    <a:cubicBezTo>
                      <a:pt x="40324" y="6966"/>
                      <a:pt x="40074" y="6362"/>
                      <a:pt x="40065" y="5730"/>
                    </a:cubicBezTo>
                    <a:lnTo>
                      <a:pt x="40065" y="3969"/>
                    </a:lnTo>
                    <a:cubicBezTo>
                      <a:pt x="40065" y="1777"/>
                      <a:pt x="38289" y="0"/>
                      <a:pt x="36097" y="0"/>
                    </a:cubicBezTo>
                    <a:lnTo>
                      <a:pt x="27405" y="0"/>
                    </a:lnTo>
                    <a:cubicBezTo>
                      <a:pt x="25213" y="0"/>
                      <a:pt x="23437" y="1777"/>
                      <a:pt x="23436" y="3969"/>
                    </a:cubicBezTo>
                    <a:cubicBezTo>
                      <a:pt x="23502" y="5434"/>
                      <a:pt x="23579" y="7402"/>
                      <a:pt x="21915" y="8005"/>
                    </a:cubicBezTo>
                    <a:cubicBezTo>
                      <a:pt x="20333" y="8781"/>
                      <a:pt x="18960" y="7274"/>
                      <a:pt x="17985" y="6224"/>
                    </a:cubicBezTo>
                    <a:cubicBezTo>
                      <a:pt x="16435" y="4677"/>
                      <a:pt x="13924" y="4678"/>
                      <a:pt x="12375" y="6226"/>
                    </a:cubicBezTo>
                    <a:lnTo>
                      <a:pt x="6226" y="12375"/>
                    </a:lnTo>
                    <a:cubicBezTo>
                      <a:pt x="4004" y="14666"/>
                      <a:pt x="5264" y="17501"/>
                      <a:pt x="7472" y="19233"/>
                    </a:cubicBezTo>
                    <a:cubicBezTo>
                      <a:pt x="8425" y="20215"/>
                      <a:pt x="8401" y="21783"/>
                      <a:pt x="7419" y="22736"/>
                    </a:cubicBezTo>
                    <a:cubicBezTo>
                      <a:pt x="6966" y="23176"/>
                      <a:pt x="6362" y="23426"/>
                      <a:pt x="5730" y="23435"/>
                    </a:cubicBezTo>
                    <a:lnTo>
                      <a:pt x="3969" y="23435"/>
                    </a:lnTo>
                    <a:cubicBezTo>
                      <a:pt x="1777" y="23435"/>
                      <a:pt x="0" y="25211"/>
                      <a:pt x="0" y="27403"/>
                    </a:cubicBezTo>
                    <a:lnTo>
                      <a:pt x="0" y="36095"/>
                    </a:lnTo>
                    <a:cubicBezTo>
                      <a:pt x="0" y="38286"/>
                      <a:pt x="1777" y="40063"/>
                      <a:pt x="3969" y="40063"/>
                    </a:cubicBezTo>
                    <a:close/>
                    <a:moveTo>
                      <a:pt x="7937" y="31137"/>
                    </a:moveTo>
                    <a:cubicBezTo>
                      <a:pt x="13583" y="29843"/>
                      <a:pt x="17110" y="24218"/>
                      <a:pt x="15816" y="18573"/>
                    </a:cubicBezTo>
                    <a:cubicBezTo>
                      <a:pt x="15554" y="17430"/>
                      <a:pt x="15102" y="16339"/>
                      <a:pt x="14479" y="15346"/>
                    </a:cubicBezTo>
                    <a:lnTo>
                      <a:pt x="15348" y="14477"/>
                    </a:lnTo>
                    <a:cubicBezTo>
                      <a:pt x="20181" y="17585"/>
                      <a:pt x="26618" y="16185"/>
                      <a:pt x="29725" y="11352"/>
                    </a:cubicBezTo>
                    <a:cubicBezTo>
                      <a:pt x="30396" y="10307"/>
                      <a:pt x="30876" y="9151"/>
                      <a:pt x="31139" y="7937"/>
                    </a:cubicBezTo>
                    <a:lnTo>
                      <a:pt x="32362" y="7937"/>
                    </a:lnTo>
                    <a:cubicBezTo>
                      <a:pt x="33583" y="13552"/>
                      <a:pt x="39125" y="17114"/>
                      <a:pt x="44740" y="15893"/>
                    </a:cubicBezTo>
                    <a:cubicBezTo>
                      <a:pt x="45953" y="15630"/>
                      <a:pt x="47109" y="15151"/>
                      <a:pt x="48154" y="14479"/>
                    </a:cubicBezTo>
                    <a:lnTo>
                      <a:pt x="49022" y="15348"/>
                    </a:lnTo>
                    <a:cubicBezTo>
                      <a:pt x="45915" y="20179"/>
                      <a:pt x="47313" y="26615"/>
                      <a:pt x="52145" y="29722"/>
                    </a:cubicBezTo>
                    <a:cubicBezTo>
                      <a:pt x="53191" y="30394"/>
                      <a:pt x="54348" y="30873"/>
                      <a:pt x="55563" y="31137"/>
                    </a:cubicBezTo>
                    <a:lnTo>
                      <a:pt x="55563" y="32360"/>
                    </a:lnTo>
                    <a:cubicBezTo>
                      <a:pt x="49917" y="33655"/>
                      <a:pt x="46390" y="39282"/>
                      <a:pt x="47686" y="44928"/>
                    </a:cubicBezTo>
                    <a:cubicBezTo>
                      <a:pt x="47948" y="46070"/>
                      <a:pt x="48400" y="47161"/>
                      <a:pt x="49022" y="48154"/>
                    </a:cubicBezTo>
                    <a:lnTo>
                      <a:pt x="48154" y="49020"/>
                    </a:lnTo>
                    <a:cubicBezTo>
                      <a:pt x="43247" y="45944"/>
                      <a:pt x="36775" y="47428"/>
                      <a:pt x="33699" y="52334"/>
                    </a:cubicBezTo>
                    <a:cubicBezTo>
                      <a:pt x="33076" y="53328"/>
                      <a:pt x="32624" y="54419"/>
                      <a:pt x="32362" y="55562"/>
                    </a:cubicBezTo>
                    <a:lnTo>
                      <a:pt x="31139" y="55562"/>
                    </a:lnTo>
                    <a:cubicBezTo>
                      <a:pt x="29843" y="49916"/>
                      <a:pt x="24216" y="46390"/>
                      <a:pt x="18570" y="47686"/>
                    </a:cubicBezTo>
                    <a:cubicBezTo>
                      <a:pt x="17429" y="47948"/>
                      <a:pt x="16340" y="48399"/>
                      <a:pt x="15348" y="49020"/>
                    </a:cubicBezTo>
                    <a:lnTo>
                      <a:pt x="14480" y="48154"/>
                    </a:lnTo>
                    <a:cubicBezTo>
                      <a:pt x="17586" y="43318"/>
                      <a:pt x="16185" y="36880"/>
                      <a:pt x="11349" y="33773"/>
                    </a:cubicBezTo>
                    <a:cubicBezTo>
                      <a:pt x="10305" y="33103"/>
                      <a:pt x="9150" y="32624"/>
                      <a:pt x="7937" y="32360"/>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73" name="Freeform: Shape 72">
                <a:extLst>
                  <a:ext uri="{FF2B5EF4-FFF2-40B4-BE49-F238E27FC236}">
                    <a16:creationId xmlns:a16="http://schemas.microsoft.com/office/drawing/2014/main" id="{BCF7CDA6-26AC-D942-A669-9A5EE823E85A}"/>
                  </a:ext>
                </a:extLst>
              </p:cNvPr>
              <p:cNvSpPr/>
              <p:nvPr/>
            </p:nvSpPr>
            <p:spPr>
              <a:xfrm>
                <a:off x="2359451" y="1461038"/>
                <a:ext cx="27478" cy="27781"/>
              </a:xfrm>
              <a:custGeom>
                <a:avLst/>
                <a:gdLst>
                  <a:gd name="csX0" fmla="*/ 13740 w 27478"/>
                  <a:gd name="csY0" fmla="*/ 27781 h 27781"/>
                  <a:gd name="csX1" fmla="*/ 27478 w 27478"/>
                  <a:gd name="csY1" fmla="*/ 13738 h 27781"/>
                  <a:gd name="csX2" fmla="*/ 13739 w 27478"/>
                  <a:gd name="csY2" fmla="*/ 0 h 27781"/>
                  <a:gd name="csX3" fmla="*/ 1 w 27478"/>
                  <a:gd name="csY3" fmla="*/ 14043 h 27781"/>
                  <a:gd name="csX4" fmla="*/ 13740 w 27478"/>
                  <a:gd name="csY4" fmla="*/ 27781 h 27781"/>
                  <a:gd name="csX5" fmla="*/ 13740 w 27478"/>
                  <a:gd name="csY5" fmla="*/ 7938 h 27781"/>
                  <a:gd name="csX6" fmla="*/ 19606 w 27478"/>
                  <a:gd name="csY6" fmla="*/ 13978 h 27781"/>
                  <a:gd name="csX7" fmla="*/ 13739 w 27478"/>
                  <a:gd name="csY7" fmla="*/ 19844 h 27781"/>
                  <a:gd name="csX8" fmla="*/ 7873 w 27478"/>
                  <a:gd name="csY8" fmla="*/ 13804 h 27781"/>
                  <a:gd name="csX9" fmla="*/ 13740 w 27478"/>
                  <a:gd name="csY9" fmla="*/ 7938 h 2778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27478" h="27781">
                    <a:moveTo>
                      <a:pt x="13740" y="27781"/>
                    </a:moveTo>
                    <a:cubicBezTo>
                      <a:pt x="21411" y="27697"/>
                      <a:pt x="27562" y="21410"/>
                      <a:pt x="27478" y="13738"/>
                    </a:cubicBezTo>
                    <a:cubicBezTo>
                      <a:pt x="27395" y="6185"/>
                      <a:pt x="21292" y="83"/>
                      <a:pt x="13739" y="0"/>
                    </a:cubicBezTo>
                    <a:cubicBezTo>
                      <a:pt x="6068" y="84"/>
                      <a:pt x="-83" y="6371"/>
                      <a:pt x="1" y="14043"/>
                    </a:cubicBezTo>
                    <a:cubicBezTo>
                      <a:pt x="84" y="21596"/>
                      <a:pt x="6187" y="27699"/>
                      <a:pt x="13740" y="27781"/>
                    </a:cubicBezTo>
                    <a:close/>
                    <a:moveTo>
                      <a:pt x="13740" y="7938"/>
                    </a:moveTo>
                    <a:cubicBezTo>
                      <a:pt x="17027" y="7986"/>
                      <a:pt x="19654" y="10690"/>
                      <a:pt x="19606" y="13978"/>
                    </a:cubicBezTo>
                    <a:cubicBezTo>
                      <a:pt x="19558" y="17198"/>
                      <a:pt x="16959" y="19797"/>
                      <a:pt x="13739" y="19844"/>
                    </a:cubicBezTo>
                    <a:cubicBezTo>
                      <a:pt x="10451" y="19796"/>
                      <a:pt x="7825" y="17091"/>
                      <a:pt x="7873" y="13804"/>
                    </a:cubicBezTo>
                    <a:cubicBezTo>
                      <a:pt x="7920" y="10583"/>
                      <a:pt x="10519" y="7984"/>
                      <a:pt x="13740" y="7938"/>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74" name="Freeform: Shape 73">
                <a:extLst>
                  <a:ext uri="{FF2B5EF4-FFF2-40B4-BE49-F238E27FC236}">
                    <a16:creationId xmlns:a16="http://schemas.microsoft.com/office/drawing/2014/main" id="{52676DE3-6EAE-9C9B-2D18-FE611E6BA22F}"/>
                  </a:ext>
                </a:extLst>
              </p:cNvPr>
              <p:cNvSpPr/>
              <p:nvPr/>
            </p:nvSpPr>
            <p:spPr>
              <a:xfrm>
                <a:off x="2307431" y="1399381"/>
                <a:ext cx="230187" cy="230187"/>
              </a:xfrm>
              <a:custGeom>
                <a:avLst/>
                <a:gdLst>
                  <a:gd name="csX0" fmla="*/ 115094 w 230187"/>
                  <a:gd name="csY0" fmla="*/ 230188 h 230187"/>
                  <a:gd name="csX1" fmla="*/ 0 w 230187"/>
                  <a:gd name="csY1" fmla="*/ 115094 h 230187"/>
                  <a:gd name="csX2" fmla="*/ 115094 w 230187"/>
                  <a:gd name="csY2" fmla="*/ 0 h 230187"/>
                  <a:gd name="csX3" fmla="*/ 230188 w 230187"/>
                  <a:gd name="csY3" fmla="*/ 115094 h 230187"/>
                  <a:gd name="csX4" fmla="*/ 115094 w 230187"/>
                  <a:gd name="csY4" fmla="*/ 230188 h 230187"/>
                  <a:gd name="csX5" fmla="*/ 115094 w 230187"/>
                  <a:gd name="csY5" fmla="*/ 7938 h 230187"/>
                  <a:gd name="csX6" fmla="*/ 7938 w 230187"/>
                  <a:gd name="csY6" fmla="*/ 115094 h 230187"/>
                  <a:gd name="csX7" fmla="*/ 115094 w 230187"/>
                  <a:gd name="csY7" fmla="*/ 222250 h 230187"/>
                  <a:gd name="csX8" fmla="*/ 222250 w 230187"/>
                  <a:gd name="csY8" fmla="*/ 115094 h 230187"/>
                  <a:gd name="csX9" fmla="*/ 115094 w 230187"/>
                  <a:gd name="csY9" fmla="*/ 7938 h 23018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230187" h="230187">
                    <a:moveTo>
                      <a:pt x="115094" y="230188"/>
                    </a:moveTo>
                    <a:cubicBezTo>
                      <a:pt x="51529" y="230188"/>
                      <a:pt x="0" y="178658"/>
                      <a:pt x="0" y="115094"/>
                    </a:cubicBezTo>
                    <a:cubicBezTo>
                      <a:pt x="0" y="51529"/>
                      <a:pt x="51529" y="0"/>
                      <a:pt x="115094" y="0"/>
                    </a:cubicBezTo>
                    <a:cubicBezTo>
                      <a:pt x="178658" y="0"/>
                      <a:pt x="230188" y="51529"/>
                      <a:pt x="230188" y="115094"/>
                    </a:cubicBezTo>
                    <a:cubicBezTo>
                      <a:pt x="230115" y="178628"/>
                      <a:pt x="178628" y="230115"/>
                      <a:pt x="115094" y="230188"/>
                    </a:cubicBezTo>
                    <a:close/>
                    <a:moveTo>
                      <a:pt x="115094" y="7938"/>
                    </a:moveTo>
                    <a:cubicBezTo>
                      <a:pt x="55913" y="7938"/>
                      <a:pt x="7938" y="55913"/>
                      <a:pt x="7938" y="115094"/>
                    </a:cubicBezTo>
                    <a:cubicBezTo>
                      <a:pt x="7938" y="174275"/>
                      <a:pt x="55913" y="222250"/>
                      <a:pt x="115094" y="222250"/>
                    </a:cubicBezTo>
                    <a:cubicBezTo>
                      <a:pt x="174275" y="222250"/>
                      <a:pt x="222250" y="174275"/>
                      <a:pt x="222250" y="115094"/>
                    </a:cubicBezTo>
                    <a:cubicBezTo>
                      <a:pt x="222183" y="55941"/>
                      <a:pt x="174247" y="8005"/>
                      <a:pt x="115094" y="7938"/>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75" name="Group 74">
            <a:extLst>
              <a:ext uri="{FF2B5EF4-FFF2-40B4-BE49-F238E27FC236}">
                <a16:creationId xmlns:a16="http://schemas.microsoft.com/office/drawing/2014/main" id="{B306932F-F312-2F3D-DBEF-6D0730AA3D56}"/>
              </a:ext>
            </a:extLst>
          </p:cNvPr>
          <p:cNvGrpSpPr/>
          <p:nvPr/>
        </p:nvGrpSpPr>
        <p:grpSpPr>
          <a:xfrm>
            <a:off x="7936609" y="4636736"/>
            <a:ext cx="457200" cy="457200"/>
            <a:chOff x="7936609" y="5270076"/>
            <a:chExt cx="457200" cy="457200"/>
          </a:xfrm>
        </p:grpSpPr>
        <p:sp>
          <p:nvSpPr>
            <p:cNvPr id="76" name="Oval 75">
              <a:extLst>
                <a:ext uri="{FF2B5EF4-FFF2-40B4-BE49-F238E27FC236}">
                  <a16:creationId xmlns:a16="http://schemas.microsoft.com/office/drawing/2014/main" id="{D6A92C8E-645A-23DB-9022-5CAD15E88FF9}"/>
                </a:ext>
              </a:extLst>
            </p:cNvPr>
            <p:cNvSpPr>
              <a:spLocks noChangeAspect="1"/>
            </p:cNvSpPr>
            <p:nvPr/>
          </p:nvSpPr>
          <p:spPr>
            <a:xfrm>
              <a:off x="7936609" y="5270076"/>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sp>
          <p:nvSpPr>
            <p:cNvPr id="77" name="Pic">
              <a:extLst>
                <a:ext uri="{FF2B5EF4-FFF2-40B4-BE49-F238E27FC236}">
                  <a16:creationId xmlns:a16="http://schemas.microsoft.com/office/drawing/2014/main" id="{003A9D6A-7440-4686-18A7-1CE29E9FA3FE}"/>
                </a:ext>
              </a:extLst>
            </p:cNvPr>
            <p:cNvSpPr>
              <a:spLocks noChangeAspect="1"/>
            </p:cNvSpPr>
            <p:nvPr/>
          </p:nvSpPr>
          <p:spPr>
            <a:xfrm>
              <a:off x="8041929" y="5379637"/>
              <a:ext cx="246560" cy="238078"/>
            </a:xfrm>
            <a:custGeom>
              <a:avLst/>
              <a:gdLst>
                <a:gd name="csX0" fmla="*/ 38093 w 246560"/>
                <a:gd name="csY0" fmla="*/ 83923 h 238078"/>
                <a:gd name="csX1" fmla="*/ 34968 w 246560"/>
                <a:gd name="csY1" fmla="*/ 82732 h 238078"/>
                <a:gd name="csX2" fmla="*/ 28421 w 246560"/>
                <a:gd name="csY2" fmla="*/ 82732 h 238078"/>
                <a:gd name="csX3" fmla="*/ 22320 w 246560"/>
                <a:gd name="csY3" fmla="*/ 76632 h 238078"/>
                <a:gd name="csX4" fmla="*/ 41069 w 246560"/>
                <a:gd name="csY4" fmla="*/ 82732 h 238078"/>
                <a:gd name="csX5" fmla="*/ 38093 w 246560"/>
                <a:gd name="csY5" fmla="*/ 83923 h 238078"/>
                <a:gd name="csX6" fmla="*/ 135110 w 246560"/>
                <a:gd name="csY6" fmla="*/ 208319 h 238078"/>
                <a:gd name="csX7" fmla="*/ 135110 w 246560"/>
                <a:gd name="csY7" fmla="*/ 165613 h 238078"/>
                <a:gd name="csX8" fmla="*/ 122313 w 246560"/>
                <a:gd name="csY8" fmla="*/ 165613 h 238078"/>
                <a:gd name="csX9" fmla="*/ 122313 w 246560"/>
                <a:gd name="csY9" fmla="*/ 186594 h 238078"/>
                <a:gd name="csX10" fmla="*/ 113682 w 246560"/>
                <a:gd name="csY10" fmla="*/ 186594 h 238078"/>
                <a:gd name="csX11" fmla="*/ 113682 w 246560"/>
                <a:gd name="csY11" fmla="*/ 165613 h 238078"/>
                <a:gd name="csX12" fmla="*/ 102076 w 246560"/>
                <a:gd name="csY12" fmla="*/ 165613 h 238078"/>
                <a:gd name="csX13" fmla="*/ 102076 w 246560"/>
                <a:gd name="csY13" fmla="*/ 208319 h 238078"/>
                <a:gd name="csX14" fmla="*/ 97761 w 246560"/>
                <a:gd name="csY14" fmla="*/ 238079 h 238078"/>
                <a:gd name="csX15" fmla="*/ 93446 w 246560"/>
                <a:gd name="csY15" fmla="*/ 208319 h 238078"/>
                <a:gd name="csX16" fmla="*/ 93446 w 246560"/>
                <a:gd name="csY16" fmla="*/ 165613 h 238078"/>
                <a:gd name="csX17" fmla="*/ 35265 w 246560"/>
                <a:gd name="csY17" fmla="*/ 165613 h 238078"/>
                <a:gd name="csX18" fmla="*/ 30950 w 246560"/>
                <a:gd name="csY18" fmla="*/ 161298 h 238078"/>
                <a:gd name="csX19" fmla="*/ 123206 w 246560"/>
                <a:gd name="csY19" fmla="*/ 69043 h 238078"/>
                <a:gd name="csX20" fmla="*/ 188528 w 246560"/>
                <a:gd name="csY20" fmla="*/ 96124 h 238078"/>
                <a:gd name="csX21" fmla="*/ 215610 w 246560"/>
                <a:gd name="csY21" fmla="*/ 161298 h 238078"/>
                <a:gd name="csX22" fmla="*/ 211146 w 246560"/>
                <a:gd name="csY22" fmla="*/ 165613 h 238078"/>
                <a:gd name="csX23" fmla="*/ 163977 w 246560"/>
                <a:gd name="csY23" fmla="*/ 165613 h 238078"/>
                <a:gd name="csX24" fmla="*/ 163977 w 246560"/>
                <a:gd name="csY24" fmla="*/ 186594 h 238078"/>
                <a:gd name="csX25" fmla="*/ 155495 w 246560"/>
                <a:gd name="csY25" fmla="*/ 186594 h 238078"/>
                <a:gd name="csX26" fmla="*/ 155495 w 246560"/>
                <a:gd name="csY26" fmla="*/ 165613 h 238078"/>
                <a:gd name="csX27" fmla="*/ 143740 w 246560"/>
                <a:gd name="csY27" fmla="*/ 165613 h 238078"/>
                <a:gd name="csX28" fmla="*/ 143740 w 246560"/>
                <a:gd name="csY28" fmla="*/ 208319 h 238078"/>
                <a:gd name="csX29" fmla="*/ 139425 w 246560"/>
                <a:gd name="csY29" fmla="*/ 238079 h 238078"/>
                <a:gd name="csX30" fmla="*/ 135110 w 246560"/>
                <a:gd name="csY30" fmla="*/ 208319 h 238078"/>
                <a:gd name="csX31" fmla="*/ 139425 w 246560"/>
                <a:gd name="csY31" fmla="*/ 216205 h 238078"/>
                <a:gd name="csX32" fmla="*/ 139425 w 246560"/>
                <a:gd name="csY32" fmla="*/ 229448 h 238078"/>
                <a:gd name="csX33" fmla="*/ 139425 w 246560"/>
                <a:gd name="csY33" fmla="*/ 216205 h 238078"/>
                <a:gd name="csX34" fmla="*/ 97761 w 246560"/>
                <a:gd name="csY34" fmla="*/ 216205 h 238078"/>
                <a:gd name="csX35" fmla="*/ 97761 w 246560"/>
                <a:gd name="csY35" fmla="*/ 229448 h 238078"/>
                <a:gd name="csX36" fmla="*/ 97761 w 246560"/>
                <a:gd name="csY36" fmla="*/ 216205 h 238078"/>
                <a:gd name="csX37" fmla="*/ 39729 w 246560"/>
                <a:gd name="csY37" fmla="*/ 156983 h 238078"/>
                <a:gd name="csX38" fmla="*/ 62942 w 246560"/>
                <a:gd name="csY38" fmla="*/ 156983 h 238078"/>
                <a:gd name="csX39" fmla="*/ 77673 w 246560"/>
                <a:gd name="csY39" fmla="*/ 121718 h 238078"/>
                <a:gd name="csX40" fmla="*/ 61156 w 246560"/>
                <a:gd name="csY40" fmla="*/ 105350 h 238078"/>
                <a:gd name="csX41" fmla="*/ 39729 w 246560"/>
                <a:gd name="csY41" fmla="*/ 156983 h 238078"/>
                <a:gd name="csX42" fmla="*/ 183469 w 246560"/>
                <a:gd name="csY42" fmla="*/ 156983 h 238078"/>
                <a:gd name="csX43" fmla="*/ 206831 w 246560"/>
                <a:gd name="csY43" fmla="*/ 156983 h 238078"/>
                <a:gd name="csX44" fmla="*/ 185255 w 246560"/>
                <a:gd name="csY44" fmla="*/ 105350 h 238078"/>
                <a:gd name="csX45" fmla="*/ 168887 w 246560"/>
                <a:gd name="csY45" fmla="*/ 121718 h 238078"/>
                <a:gd name="csX46" fmla="*/ 183469 w 246560"/>
                <a:gd name="csY46" fmla="*/ 156983 h 238078"/>
                <a:gd name="csX47" fmla="*/ 179154 w 246560"/>
                <a:gd name="csY47" fmla="*/ 99249 h 238078"/>
                <a:gd name="csX48" fmla="*/ 67257 w 246560"/>
                <a:gd name="csY48" fmla="*/ 99249 h 238078"/>
                <a:gd name="csX49" fmla="*/ 83774 w 246560"/>
                <a:gd name="csY49" fmla="*/ 115617 h 238078"/>
                <a:gd name="csX50" fmla="*/ 162786 w 246560"/>
                <a:gd name="csY50" fmla="*/ 115617 h 238078"/>
                <a:gd name="csX51" fmla="*/ 71721 w 246560"/>
                <a:gd name="csY51" fmla="*/ 156983 h 238078"/>
                <a:gd name="csX52" fmla="*/ 104011 w 246560"/>
                <a:gd name="csY52" fmla="*/ 156983 h 238078"/>
                <a:gd name="csX53" fmla="*/ 129158 w 246560"/>
                <a:gd name="csY53" fmla="*/ 142550 h 238078"/>
                <a:gd name="csX54" fmla="*/ 139574 w 246560"/>
                <a:gd name="csY54" fmla="*/ 124396 h 238078"/>
                <a:gd name="csX55" fmla="*/ 147013 w 246560"/>
                <a:gd name="csY55" fmla="*/ 128711 h 238078"/>
                <a:gd name="csX56" fmla="*/ 136598 w 246560"/>
                <a:gd name="csY56" fmla="*/ 146865 h 238078"/>
                <a:gd name="csX57" fmla="*/ 142401 w 246560"/>
                <a:gd name="csY57" fmla="*/ 156983 h 238078"/>
                <a:gd name="csX58" fmla="*/ 174839 w 246560"/>
                <a:gd name="csY58" fmla="*/ 156983 h 238078"/>
                <a:gd name="csX59" fmla="*/ 123206 w 246560"/>
                <a:gd name="csY59" fmla="*/ 109516 h 238078"/>
                <a:gd name="csX60" fmla="*/ 71721 w 246560"/>
                <a:gd name="csY60" fmla="*/ 156983 h 238078"/>
                <a:gd name="csX61" fmla="*/ 113087 w 246560"/>
                <a:gd name="csY61" fmla="*/ 156983 h 238078"/>
                <a:gd name="csX62" fmla="*/ 133473 w 246560"/>
                <a:gd name="csY62" fmla="*/ 156983 h 238078"/>
                <a:gd name="csX63" fmla="*/ 113087 w 246560"/>
                <a:gd name="csY63" fmla="*/ 156983 h 238078"/>
                <a:gd name="csX64" fmla="*/ 123206 w 246560"/>
                <a:gd name="csY64" fmla="*/ 63537 h 238078"/>
                <a:gd name="csX65" fmla="*/ 91511 w 246560"/>
                <a:gd name="csY65" fmla="*/ 31843 h 238078"/>
                <a:gd name="csX66" fmla="*/ 123206 w 246560"/>
                <a:gd name="csY66" fmla="*/ 0 h 238078"/>
                <a:gd name="csX67" fmla="*/ 155049 w 246560"/>
                <a:gd name="csY67" fmla="*/ 31843 h 238078"/>
                <a:gd name="csX68" fmla="*/ 123206 w 246560"/>
                <a:gd name="csY68" fmla="*/ 63537 h 238078"/>
                <a:gd name="csX69" fmla="*/ 123206 w 246560"/>
                <a:gd name="csY69" fmla="*/ 8630 h 238078"/>
                <a:gd name="csX70" fmla="*/ 100142 w 246560"/>
                <a:gd name="csY70" fmla="*/ 31843 h 238078"/>
                <a:gd name="csX71" fmla="*/ 123206 w 246560"/>
                <a:gd name="csY71" fmla="*/ 54907 h 238078"/>
                <a:gd name="csX72" fmla="*/ 146418 w 246560"/>
                <a:gd name="csY72" fmla="*/ 31843 h 238078"/>
                <a:gd name="csX73" fmla="*/ 123206 w 246560"/>
                <a:gd name="csY73" fmla="*/ 8630 h 238078"/>
                <a:gd name="csX74" fmla="*/ 131390 w 246560"/>
                <a:gd name="csY74" fmla="*/ 46277 h 238078"/>
                <a:gd name="csX75" fmla="*/ 115022 w 246560"/>
                <a:gd name="csY75" fmla="*/ 46277 h 238078"/>
                <a:gd name="csX76" fmla="*/ 115022 w 246560"/>
                <a:gd name="csY76" fmla="*/ 37646 h 238078"/>
                <a:gd name="csX77" fmla="*/ 131390 w 246560"/>
                <a:gd name="csY77" fmla="*/ 37646 h 238078"/>
                <a:gd name="csX78" fmla="*/ 131390 w 246560"/>
                <a:gd name="csY78" fmla="*/ 46277 h 238078"/>
                <a:gd name="csX79" fmla="*/ 115914 w 246560"/>
                <a:gd name="csY79" fmla="*/ 27230 h 238078"/>
                <a:gd name="csX80" fmla="*/ 107433 w 246560"/>
                <a:gd name="csY80" fmla="*/ 22915 h 238078"/>
                <a:gd name="csX81" fmla="*/ 115914 w 246560"/>
                <a:gd name="csY81" fmla="*/ 18600 h 238078"/>
                <a:gd name="csX82" fmla="*/ 115914 w 246560"/>
                <a:gd name="csY82" fmla="*/ 27230 h 238078"/>
                <a:gd name="csX83" fmla="*/ 134812 w 246560"/>
                <a:gd name="csY83" fmla="*/ 27230 h 238078"/>
                <a:gd name="csX84" fmla="*/ 126330 w 246560"/>
                <a:gd name="csY84" fmla="*/ 22915 h 238078"/>
                <a:gd name="csX85" fmla="*/ 134812 w 246560"/>
                <a:gd name="csY85" fmla="*/ 18600 h 238078"/>
                <a:gd name="csX86" fmla="*/ 134812 w 246560"/>
                <a:gd name="csY86" fmla="*/ 27230 h 238078"/>
                <a:gd name="csX87" fmla="*/ 31694 w 246560"/>
                <a:gd name="csY87" fmla="*/ 101481 h 238078"/>
                <a:gd name="csX88" fmla="*/ 0 w 246560"/>
                <a:gd name="csY88" fmla="*/ 69787 h 238078"/>
                <a:gd name="csX89" fmla="*/ 31694 w 246560"/>
                <a:gd name="csY89" fmla="*/ 37944 h 238078"/>
                <a:gd name="csX90" fmla="*/ 63388 w 246560"/>
                <a:gd name="csY90" fmla="*/ 69787 h 238078"/>
                <a:gd name="csX91" fmla="*/ 31694 w 246560"/>
                <a:gd name="csY91" fmla="*/ 101481 h 238078"/>
                <a:gd name="csX92" fmla="*/ 31694 w 246560"/>
                <a:gd name="csY92" fmla="*/ 46574 h 238078"/>
                <a:gd name="csX93" fmla="*/ 8630 w 246560"/>
                <a:gd name="csY93" fmla="*/ 69787 h 238078"/>
                <a:gd name="csX94" fmla="*/ 31694 w 246560"/>
                <a:gd name="csY94" fmla="*/ 92851 h 238078"/>
                <a:gd name="csX95" fmla="*/ 54758 w 246560"/>
                <a:gd name="csY95" fmla="*/ 69787 h 238078"/>
                <a:gd name="csX96" fmla="*/ 31694 w 246560"/>
                <a:gd name="csY96" fmla="*/ 46574 h 238078"/>
                <a:gd name="csX97" fmla="*/ 24403 w 246560"/>
                <a:gd name="csY97" fmla="*/ 65174 h 238078"/>
                <a:gd name="csX98" fmla="*/ 15773 w 246560"/>
                <a:gd name="csY98" fmla="*/ 60859 h 238078"/>
                <a:gd name="csX99" fmla="*/ 24403 w 246560"/>
                <a:gd name="csY99" fmla="*/ 56544 h 238078"/>
                <a:gd name="csX100" fmla="*/ 24403 w 246560"/>
                <a:gd name="csY100" fmla="*/ 65174 h 238078"/>
                <a:gd name="csX101" fmla="*/ 43301 w 246560"/>
                <a:gd name="csY101" fmla="*/ 65174 h 238078"/>
                <a:gd name="csX102" fmla="*/ 34670 w 246560"/>
                <a:gd name="csY102" fmla="*/ 60859 h 238078"/>
                <a:gd name="csX103" fmla="*/ 43301 w 246560"/>
                <a:gd name="csY103" fmla="*/ 56544 h 238078"/>
                <a:gd name="csX104" fmla="*/ 43301 w 246560"/>
                <a:gd name="csY104" fmla="*/ 65174 h 238078"/>
                <a:gd name="csX105" fmla="*/ 214866 w 246560"/>
                <a:gd name="csY105" fmla="*/ 101481 h 238078"/>
                <a:gd name="csX106" fmla="*/ 183023 w 246560"/>
                <a:gd name="csY106" fmla="*/ 69787 h 238078"/>
                <a:gd name="csX107" fmla="*/ 214866 w 246560"/>
                <a:gd name="csY107" fmla="*/ 37944 h 238078"/>
                <a:gd name="csX108" fmla="*/ 246560 w 246560"/>
                <a:gd name="csY108" fmla="*/ 69787 h 238078"/>
                <a:gd name="csX109" fmla="*/ 214866 w 246560"/>
                <a:gd name="csY109" fmla="*/ 101481 h 238078"/>
                <a:gd name="csX110" fmla="*/ 214866 w 246560"/>
                <a:gd name="csY110" fmla="*/ 46574 h 238078"/>
                <a:gd name="csX111" fmla="*/ 191653 w 246560"/>
                <a:gd name="csY111" fmla="*/ 69787 h 238078"/>
                <a:gd name="csX112" fmla="*/ 214866 w 246560"/>
                <a:gd name="csY112" fmla="*/ 92851 h 238078"/>
                <a:gd name="csX113" fmla="*/ 237930 w 246560"/>
                <a:gd name="csY113" fmla="*/ 69787 h 238078"/>
                <a:gd name="csX114" fmla="*/ 214866 w 246560"/>
                <a:gd name="csY114" fmla="*/ 46574 h 238078"/>
                <a:gd name="csX115" fmla="*/ 207426 w 246560"/>
                <a:gd name="csY115" fmla="*/ 65025 h 238078"/>
                <a:gd name="csX116" fmla="*/ 198944 w 246560"/>
                <a:gd name="csY116" fmla="*/ 60710 h 238078"/>
                <a:gd name="csX117" fmla="*/ 207426 w 246560"/>
                <a:gd name="csY117" fmla="*/ 56395 h 238078"/>
                <a:gd name="csX118" fmla="*/ 207426 w 246560"/>
                <a:gd name="csY118" fmla="*/ 65025 h 238078"/>
                <a:gd name="csX119" fmla="*/ 226323 w 246560"/>
                <a:gd name="csY119" fmla="*/ 65025 h 238078"/>
                <a:gd name="csX120" fmla="*/ 217842 w 246560"/>
                <a:gd name="csY120" fmla="*/ 60710 h 238078"/>
                <a:gd name="csX121" fmla="*/ 226323 w 246560"/>
                <a:gd name="csY121" fmla="*/ 56395 h 238078"/>
                <a:gd name="csX122" fmla="*/ 226323 w 246560"/>
                <a:gd name="csY122" fmla="*/ 65025 h 238078"/>
                <a:gd name="csX123" fmla="*/ 214866 w 246560"/>
                <a:gd name="csY123" fmla="*/ 83923 h 238078"/>
                <a:gd name="csX124" fmla="*/ 205343 w 246560"/>
                <a:gd name="csY124" fmla="*/ 73953 h 238078"/>
                <a:gd name="csX125" fmla="*/ 211443 w 246560"/>
                <a:gd name="csY125" fmla="*/ 73953 h 238078"/>
                <a:gd name="csX126" fmla="*/ 218139 w 246560"/>
                <a:gd name="csY126" fmla="*/ 73953 h 238078"/>
                <a:gd name="csX127" fmla="*/ 224240 w 246560"/>
                <a:gd name="csY127" fmla="*/ 80054 h 238078"/>
                <a:gd name="csX128" fmla="*/ 214866 w 246560"/>
                <a:gd name="csY128" fmla="*/ 83923 h 2380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Lst>
              <a:rect l="l" t="t" r="r" b="b"/>
              <a:pathLst>
                <a:path w="246560" h="238078">
                  <a:moveTo>
                    <a:pt x="38093" y="83923"/>
                  </a:moveTo>
                  <a:cubicBezTo>
                    <a:pt x="36902" y="83923"/>
                    <a:pt x="35861" y="83625"/>
                    <a:pt x="34968" y="82732"/>
                  </a:cubicBezTo>
                  <a:cubicBezTo>
                    <a:pt x="33182" y="80947"/>
                    <a:pt x="30206" y="80947"/>
                    <a:pt x="28421" y="82732"/>
                  </a:cubicBezTo>
                  <a:cubicBezTo>
                    <a:pt x="24403" y="86750"/>
                    <a:pt x="18302" y="80649"/>
                    <a:pt x="22320" y="76632"/>
                  </a:cubicBezTo>
                  <a:cubicBezTo>
                    <a:pt x="31545" y="67406"/>
                    <a:pt x="47021" y="76780"/>
                    <a:pt x="41069" y="82732"/>
                  </a:cubicBezTo>
                  <a:cubicBezTo>
                    <a:pt x="40325" y="83625"/>
                    <a:pt x="39134" y="83923"/>
                    <a:pt x="38093" y="83923"/>
                  </a:cubicBezTo>
                  <a:close/>
                  <a:moveTo>
                    <a:pt x="135110" y="208319"/>
                  </a:moveTo>
                  <a:lnTo>
                    <a:pt x="135110" y="165613"/>
                  </a:lnTo>
                  <a:lnTo>
                    <a:pt x="122313" y="165613"/>
                  </a:lnTo>
                  <a:lnTo>
                    <a:pt x="122313" y="186594"/>
                  </a:lnTo>
                  <a:cubicBezTo>
                    <a:pt x="122313" y="192248"/>
                    <a:pt x="113682" y="192248"/>
                    <a:pt x="113682" y="186594"/>
                  </a:cubicBezTo>
                  <a:lnTo>
                    <a:pt x="113682" y="165613"/>
                  </a:lnTo>
                  <a:lnTo>
                    <a:pt x="102076" y="165613"/>
                  </a:lnTo>
                  <a:lnTo>
                    <a:pt x="102076" y="208319"/>
                  </a:lnTo>
                  <a:cubicBezTo>
                    <a:pt x="118742" y="213229"/>
                    <a:pt x="115170" y="238079"/>
                    <a:pt x="97761" y="238079"/>
                  </a:cubicBezTo>
                  <a:cubicBezTo>
                    <a:pt x="80203" y="238079"/>
                    <a:pt x="76632" y="213229"/>
                    <a:pt x="93446" y="208319"/>
                  </a:cubicBezTo>
                  <a:lnTo>
                    <a:pt x="93446" y="165613"/>
                  </a:lnTo>
                  <a:cubicBezTo>
                    <a:pt x="73953" y="165613"/>
                    <a:pt x="54609" y="165613"/>
                    <a:pt x="35265" y="165613"/>
                  </a:cubicBezTo>
                  <a:cubicBezTo>
                    <a:pt x="32885" y="165613"/>
                    <a:pt x="30950" y="163679"/>
                    <a:pt x="30950" y="161298"/>
                  </a:cubicBezTo>
                  <a:cubicBezTo>
                    <a:pt x="30950" y="110409"/>
                    <a:pt x="72316" y="69043"/>
                    <a:pt x="123206" y="69043"/>
                  </a:cubicBezTo>
                  <a:cubicBezTo>
                    <a:pt x="148501" y="69043"/>
                    <a:pt x="171863" y="79459"/>
                    <a:pt x="188528" y="96124"/>
                  </a:cubicBezTo>
                  <a:cubicBezTo>
                    <a:pt x="205045" y="112641"/>
                    <a:pt x="215610" y="136151"/>
                    <a:pt x="215610" y="161298"/>
                  </a:cubicBezTo>
                  <a:cubicBezTo>
                    <a:pt x="215610" y="163679"/>
                    <a:pt x="213675" y="165613"/>
                    <a:pt x="211146" y="165613"/>
                  </a:cubicBezTo>
                  <a:cubicBezTo>
                    <a:pt x="195522" y="165613"/>
                    <a:pt x="179749" y="165613"/>
                    <a:pt x="163977" y="165613"/>
                  </a:cubicBezTo>
                  <a:lnTo>
                    <a:pt x="163977" y="186594"/>
                  </a:lnTo>
                  <a:cubicBezTo>
                    <a:pt x="163977" y="192248"/>
                    <a:pt x="155495" y="192248"/>
                    <a:pt x="155495" y="186594"/>
                  </a:cubicBezTo>
                  <a:lnTo>
                    <a:pt x="155495" y="165613"/>
                  </a:lnTo>
                  <a:lnTo>
                    <a:pt x="143740" y="165613"/>
                  </a:lnTo>
                  <a:lnTo>
                    <a:pt x="143740" y="208319"/>
                  </a:lnTo>
                  <a:cubicBezTo>
                    <a:pt x="160405" y="213229"/>
                    <a:pt x="156834" y="238079"/>
                    <a:pt x="139425" y="238079"/>
                  </a:cubicBezTo>
                  <a:cubicBezTo>
                    <a:pt x="121866" y="238079"/>
                    <a:pt x="118295" y="213229"/>
                    <a:pt x="135110" y="208319"/>
                  </a:cubicBezTo>
                  <a:close/>
                  <a:moveTo>
                    <a:pt x="139425" y="216205"/>
                  </a:moveTo>
                  <a:cubicBezTo>
                    <a:pt x="130646" y="216205"/>
                    <a:pt x="130646" y="229448"/>
                    <a:pt x="139425" y="229448"/>
                  </a:cubicBezTo>
                  <a:cubicBezTo>
                    <a:pt x="148055" y="229448"/>
                    <a:pt x="148055" y="216205"/>
                    <a:pt x="139425" y="216205"/>
                  </a:cubicBezTo>
                  <a:close/>
                  <a:moveTo>
                    <a:pt x="97761" y="216205"/>
                  </a:moveTo>
                  <a:cubicBezTo>
                    <a:pt x="88982" y="216205"/>
                    <a:pt x="88982" y="229448"/>
                    <a:pt x="97761" y="229448"/>
                  </a:cubicBezTo>
                  <a:cubicBezTo>
                    <a:pt x="106391" y="229448"/>
                    <a:pt x="106391" y="216205"/>
                    <a:pt x="97761" y="216205"/>
                  </a:cubicBezTo>
                  <a:close/>
                  <a:moveTo>
                    <a:pt x="39729" y="156983"/>
                  </a:moveTo>
                  <a:lnTo>
                    <a:pt x="62942" y="156983"/>
                  </a:lnTo>
                  <a:cubicBezTo>
                    <a:pt x="63984" y="143591"/>
                    <a:pt x="69340" y="131390"/>
                    <a:pt x="77673" y="121718"/>
                  </a:cubicBezTo>
                  <a:lnTo>
                    <a:pt x="61156" y="105350"/>
                  </a:lnTo>
                  <a:cubicBezTo>
                    <a:pt x="48657" y="119188"/>
                    <a:pt x="40771" y="137193"/>
                    <a:pt x="39729" y="156983"/>
                  </a:cubicBezTo>
                  <a:close/>
                  <a:moveTo>
                    <a:pt x="183469" y="156983"/>
                  </a:moveTo>
                  <a:lnTo>
                    <a:pt x="206831" y="156983"/>
                  </a:lnTo>
                  <a:cubicBezTo>
                    <a:pt x="205789" y="137193"/>
                    <a:pt x="197754" y="119188"/>
                    <a:pt x="185255" y="105350"/>
                  </a:cubicBezTo>
                  <a:lnTo>
                    <a:pt x="168887" y="121718"/>
                  </a:lnTo>
                  <a:cubicBezTo>
                    <a:pt x="177220" y="131390"/>
                    <a:pt x="182576" y="143591"/>
                    <a:pt x="183469" y="156983"/>
                  </a:cubicBezTo>
                  <a:close/>
                  <a:moveTo>
                    <a:pt x="179154" y="99249"/>
                  </a:moveTo>
                  <a:cubicBezTo>
                    <a:pt x="147311" y="70531"/>
                    <a:pt x="99100" y="70531"/>
                    <a:pt x="67257" y="99249"/>
                  </a:cubicBezTo>
                  <a:lnTo>
                    <a:pt x="83774" y="115617"/>
                  </a:lnTo>
                  <a:cubicBezTo>
                    <a:pt x="106391" y="95975"/>
                    <a:pt x="140020" y="95975"/>
                    <a:pt x="162786" y="115617"/>
                  </a:cubicBezTo>
                  <a:close/>
                  <a:moveTo>
                    <a:pt x="71721" y="156983"/>
                  </a:moveTo>
                  <a:lnTo>
                    <a:pt x="104011" y="156983"/>
                  </a:lnTo>
                  <a:cubicBezTo>
                    <a:pt x="106540" y="145823"/>
                    <a:pt x="118146" y="139127"/>
                    <a:pt x="129158" y="142550"/>
                  </a:cubicBezTo>
                  <a:lnTo>
                    <a:pt x="139574" y="124396"/>
                  </a:lnTo>
                  <a:cubicBezTo>
                    <a:pt x="142401" y="119486"/>
                    <a:pt x="149841" y="123801"/>
                    <a:pt x="147013" y="128711"/>
                  </a:cubicBezTo>
                  <a:lnTo>
                    <a:pt x="136598" y="146865"/>
                  </a:lnTo>
                  <a:cubicBezTo>
                    <a:pt x="139425" y="149543"/>
                    <a:pt x="141508" y="152965"/>
                    <a:pt x="142401" y="156983"/>
                  </a:cubicBezTo>
                  <a:lnTo>
                    <a:pt x="174839" y="156983"/>
                  </a:lnTo>
                  <a:cubicBezTo>
                    <a:pt x="172607" y="130497"/>
                    <a:pt x="150287" y="109516"/>
                    <a:pt x="123206" y="109516"/>
                  </a:cubicBezTo>
                  <a:cubicBezTo>
                    <a:pt x="96124" y="109516"/>
                    <a:pt x="73804" y="130497"/>
                    <a:pt x="71721" y="156983"/>
                  </a:cubicBezTo>
                  <a:close/>
                  <a:moveTo>
                    <a:pt x="113087" y="156983"/>
                  </a:moveTo>
                  <a:lnTo>
                    <a:pt x="133473" y="156983"/>
                  </a:lnTo>
                  <a:cubicBezTo>
                    <a:pt x="129604" y="148055"/>
                    <a:pt x="116807" y="148055"/>
                    <a:pt x="113087" y="156983"/>
                  </a:cubicBezTo>
                  <a:close/>
                  <a:moveTo>
                    <a:pt x="123206" y="63537"/>
                  </a:moveTo>
                  <a:cubicBezTo>
                    <a:pt x="105796" y="63537"/>
                    <a:pt x="91511" y="49401"/>
                    <a:pt x="91511" y="31843"/>
                  </a:cubicBezTo>
                  <a:cubicBezTo>
                    <a:pt x="91511" y="14285"/>
                    <a:pt x="105796" y="0"/>
                    <a:pt x="123206" y="0"/>
                  </a:cubicBezTo>
                  <a:cubicBezTo>
                    <a:pt x="140764" y="0"/>
                    <a:pt x="155049" y="14285"/>
                    <a:pt x="155049" y="31843"/>
                  </a:cubicBezTo>
                  <a:cubicBezTo>
                    <a:pt x="155049" y="49252"/>
                    <a:pt x="140764" y="63537"/>
                    <a:pt x="123206" y="63537"/>
                  </a:cubicBezTo>
                  <a:close/>
                  <a:moveTo>
                    <a:pt x="123206" y="8630"/>
                  </a:moveTo>
                  <a:cubicBezTo>
                    <a:pt x="110558" y="8630"/>
                    <a:pt x="100142" y="19046"/>
                    <a:pt x="100142" y="31843"/>
                  </a:cubicBezTo>
                  <a:cubicBezTo>
                    <a:pt x="100142" y="44640"/>
                    <a:pt x="110558" y="54907"/>
                    <a:pt x="123206" y="54907"/>
                  </a:cubicBezTo>
                  <a:cubicBezTo>
                    <a:pt x="136002" y="54907"/>
                    <a:pt x="146418" y="44640"/>
                    <a:pt x="146418" y="31843"/>
                  </a:cubicBezTo>
                  <a:cubicBezTo>
                    <a:pt x="146418" y="19046"/>
                    <a:pt x="136002" y="8630"/>
                    <a:pt x="123206" y="8630"/>
                  </a:cubicBezTo>
                  <a:close/>
                  <a:moveTo>
                    <a:pt x="131390" y="46277"/>
                  </a:moveTo>
                  <a:lnTo>
                    <a:pt x="115022" y="46277"/>
                  </a:lnTo>
                  <a:cubicBezTo>
                    <a:pt x="109367" y="46277"/>
                    <a:pt x="109367" y="37646"/>
                    <a:pt x="115022" y="37646"/>
                  </a:cubicBezTo>
                  <a:lnTo>
                    <a:pt x="131390" y="37646"/>
                  </a:lnTo>
                  <a:cubicBezTo>
                    <a:pt x="137193" y="37646"/>
                    <a:pt x="137193" y="46277"/>
                    <a:pt x="131390" y="46277"/>
                  </a:cubicBezTo>
                  <a:close/>
                  <a:moveTo>
                    <a:pt x="115914" y="27230"/>
                  </a:moveTo>
                  <a:cubicBezTo>
                    <a:pt x="112938" y="27230"/>
                    <a:pt x="107433" y="27974"/>
                    <a:pt x="107433" y="22915"/>
                  </a:cubicBezTo>
                  <a:cubicBezTo>
                    <a:pt x="107433" y="17856"/>
                    <a:pt x="112938" y="18600"/>
                    <a:pt x="115914" y="18600"/>
                  </a:cubicBezTo>
                  <a:cubicBezTo>
                    <a:pt x="121569" y="18600"/>
                    <a:pt x="121569" y="27230"/>
                    <a:pt x="115914" y="27230"/>
                  </a:cubicBezTo>
                  <a:close/>
                  <a:moveTo>
                    <a:pt x="134812" y="27230"/>
                  </a:moveTo>
                  <a:cubicBezTo>
                    <a:pt x="131836" y="27230"/>
                    <a:pt x="126330" y="27974"/>
                    <a:pt x="126330" y="22915"/>
                  </a:cubicBezTo>
                  <a:cubicBezTo>
                    <a:pt x="126330" y="17856"/>
                    <a:pt x="131836" y="18600"/>
                    <a:pt x="134812" y="18600"/>
                  </a:cubicBezTo>
                  <a:cubicBezTo>
                    <a:pt x="140466" y="18600"/>
                    <a:pt x="140466" y="27230"/>
                    <a:pt x="134812" y="27230"/>
                  </a:cubicBezTo>
                  <a:close/>
                  <a:moveTo>
                    <a:pt x="31694" y="101481"/>
                  </a:moveTo>
                  <a:cubicBezTo>
                    <a:pt x="14136" y="101481"/>
                    <a:pt x="0" y="87196"/>
                    <a:pt x="0" y="69787"/>
                  </a:cubicBezTo>
                  <a:cubicBezTo>
                    <a:pt x="0" y="52228"/>
                    <a:pt x="14136" y="37944"/>
                    <a:pt x="31694" y="37944"/>
                  </a:cubicBezTo>
                  <a:cubicBezTo>
                    <a:pt x="49252" y="37944"/>
                    <a:pt x="63388" y="52228"/>
                    <a:pt x="63388" y="69787"/>
                  </a:cubicBezTo>
                  <a:cubicBezTo>
                    <a:pt x="63388" y="87196"/>
                    <a:pt x="49252" y="101481"/>
                    <a:pt x="31694" y="101481"/>
                  </a:cubicBezTo>
                  <a:close/>
                  <a:moveTo>
                    <a:pt x="31694" y="46574"/>
                  </a:moveTo>
                  <a:cubicBezTo>
                    <a:pt x="18897" y="46574"/>
                    <a:pt x="8630" y="56990"/>
                    <a:pt x="8630" y="69787"/>
                  </a:cubicBezTo>
                  <a:cubicBezTo>
                    <a:pt x="8630" y="82435"/>
                    <a:pt x="18897" y="92851"/>
                    <a:pt x="31694" y="92851"/>
                  </a:cubicBezTo>
                  <a:cubicBezTo>
                    <a:pt x="44491" y="92851"/>
                    <a:pt x="54758" y="82435"/>
                    <a:pt x="54758" y="69787"/>
                  </a:cubicBezTo>
                  <a:cubicBezTo>
                    <a:pt x="54758" y="56990"/>
                    <a:pt x="44491" y="46574"/>
                    <a:pt x="31694" y="46574"/>
                  </a:cubicBezTo>
                  <a:close/>
                  <a:moveTo>
                    <a:pt x="24403" y="65174"/>
                  </a:moveTo>
                  <a:cubicBezTo>
                    <a:pt x="21427" y="65174"/>
                    <a:pt x="15773" y="65918"/>
                    <a:pt x="15773" y="60859"/>
                  </a:cubicBezTo>
                  <a:cubicBezTo>
                    <a:pt x="15773" y="55800"/>
                    <a:pt x="21427" y="56544"/>
                    <a:pt x="24403" y="56544"/>
                  </a:cubicBezTo>
                  <a:cubicBezTo>
                    <a:pt x="30057" y="56544"/>
                    <a:pt x="30057" y="65174"/>
                    <a:pt x="24403" y="65174"/>
                  </a:cubicBezTo>
                  <a:close/>
                  <a:moveTo>
                    <a:pt x="43301" y="65174"/>
                  </a:moveTo>
                  <a:cubicBezTo>
                    <a:pt x="40325" y="65174"/>
                    <a:pt x="34670" y="65918"/>
                    <a:pt x="34670" y="60859"/>
                  </a:cubicBezTo>
                  <a:cubicBezTo>
                    <a:pt x="34670" y="55800"/>
                    <a:pt x="40325" y="56544"/>
                    <a:pt x="43301" y="56544"/>
                  </a:cubicBezTo>
                  <a:cubicBezTo>
                    <a:pt x="48955" y="56544"/>
                    <a:pt x="48955" y="65174"/>
                    <a:pt x="43301" y="65174"/>
                  </a:cubicBezTo>
                  <a:close/>
                  <a:moveTo>
                    <a:pt x="214866" y="101481"/>
                  </a:moveTo>
                  <a:cubicBezTo>
                    <a:pt x="197308" y="101481"/>
                    <a:pt x="183023" y="87196"/>
                    <a:pt x="183023" y="69787"/>
                  </a:cubicBezTo>
                  <a:cubicBezTo>
                    <a:pt x="183023" y="52228"/>
                    <a:pt x="197308" y="37944"/>
                    <a:pt x="214866" y="37944"/>
                  </a:cubicBezTo>
                  <a:cubicBezTo>
                    <a:pt x="232275" y="37944"/>
                    <a:pt x="246560" y="52228"/>
                    <a:pt x="246560" y="69787"/>
                  </a:cubicBezTo>
                  <a:cubicBezTo>
                    <a:pt x="246560" y="87196"/>
                    <a:pt x="232275" y="101481"/>
                    <a:pt x="214866" y="101481"/>
                  </a:cubicBezTo>
                  <a:close/>
                  <a:moveTo>
                    <a:pt x="214866" y="46574"/>
                  </a:moveTo>
                  <a:cubicBezTo>
                    <a:pt x="202069" y="46574"/>
                    <a:pt x="191653" y="56990"/>
                    <a:pt x="191653" y="69787"/>
                  </a:cubicBezTo>
                  <a:cubicBezTo>
                    <a:pt x="191653" y="82435"/>
                    <a:pt x="202069" y="92851"/>
                    <a:pt x="214866" y="92851"/>
                  </a:cubicBezTo>
                  <a:cubicBezTo>
                    <a:pt x="227514" y="92851"/>
                    <a:pt x="237930" y="82435"/>
                    <a:pt x="237930" y="69787"/>
                  </a:cubicBezTo>
                  <a:cubicBezTo>
                    <a:pt x="237930" y="56990"/>
                    <a:pt x="227514" y="46574"/>
                    <a:pt x="214866" y="46574"/>
                  </a:cubicBezTo>
                  <a:close/>
                  <a:moveTo>
                    <a:pt x="207426" y="65025"/>
                  </a:moveTo>
                  <a:cubicBezTo>
                    <a:pt x="204450" y="65025"/>
                    <a:pt x="198944" y="65918"/>
                    <a:pt x="198944" y="60710"/>
                  </a:cubicBezTo>
                  <a:cubicBezTo>
                    <a:pt x="198944" y="55651"/>
                    <a:pt x="204450" y="56395"/>
                    <a:pt x="207426" y="56395"/>
                  </a:cubicBezTo>
                  <a:cubicBezTo>
                    <a:pt x="213229" y="56395"/>
                    <a:pt x="213229" y="65025"/>
                    <a:pt x="207426" y="65025"/>
                  </a:cubicBezTo>
                  <a:close/>
                  <a:moveTo>
                    <a:pt x="226323" y="65025"/>
                  </a:moveTo>
                  <a:cubicBezTo>
                    <a:pt x="223347" y="65025"/>
                    <a:pt x="217842" y="65918"/>
                    <a:pt x="217842" y="60710"/>
                  </a:cubicBezTo>
                  <a:cubicBezTo>
                    <a:pt x="217842" y="55651"/>
                    <a:pt x="223347" y="56395"/>
                    <a:pt x="226323" y="56395"/>
                  </a:cubicBezTo>
                  <a:cubicBezTo>
                    <a:pt x="232127" y="56395"/>
                    <a:pt x="232127" y="65025"/>
                    <a:pt x="226323" y="65025"/>
                  </a:cubicBezTo>
                  <a:close/>
                  <a:moveTo>
                    <a:pt x="214866" y="83923"/>
                  </a:moveTo>
                  <a:cubicBezTo>
                    <a:pt x="207872" y="83923"/>
                    <a:pt x="201176" y="78268"/>
                    <a:pt x="205343" y="73953"/>
                  </a:cubicBezTo>
                  <a:cubicBezTo>
                    <a:pt x="207128" y="72316"/>
                    <a:pt x="209807" y="72316"/>
                    <a:pt x="211443" y="73953"/>
                  </a:cubicBezTo>
                  <a:cubicBezTo>
                    <a:pt x="213229" y="75739"/>
                    <a:pt x="216354" y="75739"/>
                    <a:pt x="218139" y="73953"/>
                  </a:cubicBezTo>
                  <a:cubicBezTo>
                    <a:pt x="222157" y="69936"/>
                    <a:pt x="228258" y="76036"/>
                    <a:pt x="224240" y="80054"/>
                  </a:cubicBezTo>
                  <a:cubicBezTo>
                    <a:pt x="221711" y="82583"/>
                    <a:pt x="218437" y="83923"/>
                    <a:pt x="214866" y="83923"/>
                  </a:cubicBezTo>
                  <a:close/>
                </a:path>
              </a:pathLst>
            </a:custGeom>
            <a:solidFill>
              <a:schemeClr val="bg1"/>
            </a:solidFill>
            <a:ln w="14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spTree>
    <p:extLst>
      <p:ext uri="{BB962C8B-B14F-4D97-AF65-F5344CB8AC3E}">
        <p14:creationId xmlns:p14="http://schemas.microsoft.com/office/powerpoint/2010/main" val="13132180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74A36F-04D9-D371-B289-EA269D7C2838}"/>
              </a:ext>
            </a:extLst>
          </p:cNvPr>
          <p:cNvSpPr/>
          <p:nvPr/>
        </p:nvSpPr>
        <p:spPr>
          <a:xfrm>
            <a:off x="515938" y="123025"/>
            <a:ext cx="7494206" cy="597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b"/>
          <a:lstStyle/>
          <a:p>
            <a:r>
              <a:rPr lang="en-US" b="1" dirty="0">
                <a:solidFill>
                  <a:schemeClr val="tx1"/>
                </a:solidFill>
                <a:latin typeface="Moderat" pitchFamily="2" charset="77"/>
              </a:rPr>
              <a:t>Change Management</a:t>
            </a:r>
          </a:p>
        </p:txBody>
      </p:sp>
      <p:sp>
        <p:nvSpPr>
          <p:cNvPr id="4" name="Text 1">
            <a:extLst>
              <a:ext uri="{FF2B5EF4-FFF2-40B4-BE49-F238E27FC236}">
                <a16:creationId xmlns:a16="http://schemas.microsoft.com/office/drawing/2014/main" id="{9928747D-A291-F562-30AF-004D6223FB71}"/>
              </a:ext>
            </a:extLst>
          </p:cNvPr>
          <p:cNvSpPr/>
          <p:nvPr/>
        </p:nvSpPr>
        <p:spPr>
          <a:xfrm>
            <a:off x="515938" y="1068714"/>
            <a:ext cx="11223390" cy="208006"/>
          </a:xfrm>
          <a:prstGeom prst="rect">
            <a:avLst/>
          </a:prstGeom>
          <a:noFill/>
          <a:ln/>
        </p:spPr>
        <p:txBody>
          <a:bodyPr wrap="square" lIns="0" tIns="0" rIns="0" bIns="0" rtlCol="0" anchor="t">
            <a:spAutoFit/>
          </a:bodyPr>
          <a:lstStyle/>
          <a:p>
            <a:pPr defTabSz="571500">
              <a:lnSpc>
                <a:spcPts val="1563"/>
              </a:lnSpc>
            </a:pPr>
            <a:r>
              <a:rPr lang="en-US" sz="1600" b="1" dirty="0">
                <a:solidFill>
                  <a:schemeClr val="accent1"/>
                </a:solidFill>
                <a:latin typeface="Moderat" pitchFamily="2" charset="77"/>
                <a:ea typeface="Source Serif 4" pitchFamily="34" charset="-122"/>
                <a:cs typeface="Source Serif 4" pitchFamily="34" charset="-120"/>
              </a:rPr>
              <a:t>Driving Behavior Change at Scale</a:t>
            </a:r>
          </a:p>
        </p:txBody>
      </p:sp>
      <p:sp>
        <p:nvSpPr>
          <p:cNvPr id="9" name="Text 4">
            <a:extLst>
              <a:ext uri="{FF2B5EF4-FFF2-40B4-BE49-F238E27FC236}">
                <a16:creationId xmlns:a16="http://schemas.microsoft.com/office/drawing/2014/main" id="{993A603F-D987-D993-2F8F-0A81AFD29C1C}"/>
              </a:ext>
            </a:extLst>
          </p:cNvPr>
          <p:cNvSpPr/>
          <p:nvPr/>
        </p:nvSpPr>
        <p:spPr>
          <a:xfrm>
            <a:off x="530181" y="1399089"/>
            <a:ext cx="2965494" cy="207694"/>
          </a:xfrm>
          <a:prstGeom prst="rect">
            <a:avLst/>
          </a:prstGeom>
          <a:noFill/>
          <a:ln/>
        </p:spPr>
        <p:txBody>
          <a:bodyPr wrap="square" lIns="0" tIns="0" rIns="0" bIns="0" rtlCol="0" anchor="t">
            <a:spAutoFit/>
          </a:bodyPr>
          <a:lstStyle/>
          <a:p>
            <a:r>
              <a:rPr lang="en-US" sz="1600" b="1" dirty="0">
                <a:solidFill>
                  <a:schemeClr val="accent6"/>
                </a:solidFill>
                <a:latin typeface="Moderat" pitchFamily="2" charset="77"/>
                <a:ea typeface="Raleway" pitchFamily="34" charset="-122"/>
                <a:cs typeface="Raleway" pitchFamily="34" charset="-120"/>
              </a:rPr>
              <a:t>Business challenge</a:t>
            </a:r>
          </a:p>
        </p:txBody>
      </p:sp>
      <p:sp>
        <p:nvSpPr>
          <p:cNvPr id="10" name="Text 4">
            <a:extLst>
              <a:ext uri="{FF2B5EF4-FFF2-40B4-BE49-F238E27FC236}">
                <a16:creationId xmlns:a16="http://schemas.microsoft.com/office/drawing/2014/main" id="{D1ADC58E-7EE7-E2F0-C8D4-1769847B9AF0}"/>
              </a:ext>
            </a:extLst>
          </p:cNvPr>
          <p:cNvSpPr/>
          <p:nvPr/>
        </p:nvSpPr>
        <p:spPr>
          <a:xfrm>
            <a:off x="7852789" y="1399089"/>
            <a:ext cx="2965494" cy="207694"/>
          </a:xfrm>
          <a:prstGeom prst="rect">
            <a:avLst/>
          </a:prstGeom>
          <a:noFill/>
          <a:ln/>
        </p:spPr>
        <p:txBody>
          <a:bodyPr wrap="square" lIns="0" tIns="0" rIns="0" bIns="0" rtlCol="0" anchor="t">
            <a:spAutoFit/>
          </a:bodyPr>
          <a:lstStyle/>
          <a:p>
            <a:r>
              <a:rPr lang="en-US" sz="1600" b="1" dirty="0">
                <a:solidFill>
                  <a:schemeClr val="accent6"/>
                </a:solidFill>
                <a:latin typeface="Moderat" pitchFamily="2" charset="77"/>
                <a:ea typeface="Raleway" pitchFamily="34" charset="-122"/>
                <a:cs typeface="Raleway" pitchFamily="34" charset="-120"/>
              </a:rPr>
              <a:t>Business impact</a:t>
            </a:r>
          </a:p>
        </p:txBody>
      </p:sp>
      <p:sp>
        <p:nvSpPr>
          <p:cNvPr id="11" name="Rectangle 10">
            <a:extLst>
              <a:ext uri="{FF2B5EF4-FFF2-40B4-BE49-F238E27FC236}">
                <a16:creationId xmlns:a16="http://schemas.microsoft.com/office/drawing/2014/main" id="{D13CA883-475D-C089-5C7E-70E92B7721A1}"/>
              </a:ext>
            </a:extLst>
          </p:cNvPr>
          <p:cNvSpPr/>
          <p:nvPr/>
        </p:nvSpPr>
        <p:spPr>
          <a:xfrm>
            <a:off x="533400" y="1654681"/>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Rectangle 11">
            <a:extLst>
              <a:ext uri="{FF2B5EF4-FFF2-40B4-BE49-F238E27FC236}">
                <a16:creationId xmlns:a16="http://schemas.microsoft.com/office/drawing/2014/main" id="{A341B26E-C067-8E0B-B41D-BCD4705CBD5C}"/>
              </a:ext>
            </a:extLst>
          </p:cNvPr>
          <p:cNvSpPr/>
          <p:nvPr/>
        </p:nvSpPr>
        <p:spPr>
          <a:xfrm>
            <a:off x="533400" y="2887299"/>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Rectangle 12">
            <a:extLst>
              <a:ext uri="{FF2B5EF4-FFF2-40B4-BE49-F238E27FC236}">
                <a16:creationId xmlns:a16="http://schemas.microsoft.com/office/drawing/2014/main" id="{A0F785BE-32A5-7C19-BF62-34F29197ABC9}"/>
              </a:ext>
            </a:extLst>
          </p:cNvPr>
          <p:cNvSpPr/>
          <p:nvPr/>
        </p:nvSpPr>
        <p:spPr>
          <a:xfrm>
            <a:off x="533400" y="4119916"/>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Rectangle: Rounded Corners 13">
            <a:extLst>
              <a:ext uri="{FF2B5EF4-FFF2-40B4-BE49-F238E27FC236}">
                <a16:creationId xmlns:a16="http://schemas.microsoft.com/office/drawing/2014/main" id="{FEDF96A2-52F3-62AD-6D37-1D0C0CA9414C}"/>
              </a:ext>
            </a:extLst>
          </p:cNvPr>
          <p:cNvSpPr/>
          <p:nvPr/>
        </p:nvSpPr>
        <p:spPr>
          <a:xfrm>
            <a:off x="3920004" y="1536593"/>
            <a:ext cx="3823272" cy="3730732"/>
          </a:xfrm>
          <a:prstGeom prst="roundRect">
            <a:avLst>
              <a:gd name="adj" fmla="val 2478"/>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Text 8">
            <a:extLst>
              <a:ext uri="{FF2B5EF4-FFF2-40B4-BE49-F238E27FC236}">
                <a16:creationId xmlns:a16="http://schemas.microsoft.com/office/drawing/2014/main" id="{0E0FCF46-7772-183E-3BCD-032B3A5A0904}"/>
              </a:ext>
            </a:extLst>
          </p:cNvPr>
          <p:cNvSpPr/>
          <p:nvPr/>
        </p:nvSpPr>
        <p:spPr>
          <a:xfrm>
            <a:off x="723900" y="1905218"/>
            <a:ext cx="2914650" cy="646331"/>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Multiple transformation initiatives underway, but </a:t>
            </a:r>
            <a:r>
              <a:rPr lang="en-US" sz="1400" b="1" dirty="0">
                <a:solidFill>
                  <a:schemeClr val="bg2">
                    <a:lumMod val="25000"/>
                  </a:schemeClr>
                </a:solidFill>
                <a:latin typeface="Moderat" panose="020B0604020202020204"/>
                <a:ea typeface="Lato" pitchFamily="34" charset="-122"/>
                <a:cs typeface="Lato" pitchFamily="34" charset="-120"/>
              </a:rPr>
              <a:t>behaviors were not changing</a:t>
            </a:r>
          </a:p>
        </p:txBody>
      </p:sp>
      <p:sp>
        <p:nvSpPr>
          <p:cNvPr id="16" name="Text 8">
            <a:extLst>
              <a:ext uri="{FF2B5EF4-FFF2-40B4-BE49-F238E27FC236}">
                <a16:creationId xmlns:a16="http://schemas.microsoft.com/office/drawing/2014/main" id="{EF91AC65-3675-6616-1B0C-190E46660482}"/>
              </a:ext>
            </a:extLst>
          </p:cNvPr>
          <p:cNvSpPr/>
          <p:nvPr/>
        </p:nvSpPr>
        <p:spPr>
          <a:xfrm>
            <a:off x="723900" y="3137838"/>
            <a:ext cx="2914650" cy="646331"/>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Leaders interpreted “change” differently, creating confusion and resistance</a:t>
            </a:r>
          </a:p>
        </p:txBody>
      </p:sp>
      <p:sp>
        <p:nvSpPr>
          <p:cNvPr id="17" name="Text 8">
            <a:extLst>
              <a:ext uri="{FF2B5EF4-FFF2-40B4-BE49-F238E27FC236}">
                <a16:creationId xmlns:a16="http://schemas.microsoft.com/office/drawing/2014/main" id="{E71A8E3A-7799-9B48-6C01-84013C4FABA1}"/>
              </a:ext>
            </a:extLst>
          </p:cNvPr>
          <p:cNvSpPr/>
          <p:nvPr/>
        </p:nvSpPr>
        <p:spPr>
          <a:xfrm>
            <a:off x="723899" y="4478176"/>
            <a:ext cx="2949003" cy="430887"/>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Old ways of working resurfaced after launch phases</a:t>
            </a:r>
          </a:p>
        </p:txBody>
      </p:sp>
      <p:sp>
        <p:nvSpPr>
          <p:cNvPr id="18" name="Rectangle 17">
            <a:extLst>
              <a:ext uri="{FF2B5EF4-FFF2-40B4-BE49-F238E27FC236}">
                <a16:creationId xmlns:a16="http://schemas.microsoft.com/office/drawing/2014/main" id="{46F1C466-BFDC-2631-88A0-BCD34FC8C67C}"/>
              </a:ext>
            </a:extLst>
          </p:cNvPr>
          <p:cNvSpPr/>
          <p:nvPr/>
        </p:nvSpPr>
        <p:spPr>
          <a:xfrm>
            <a:off x="533400" y="1654681"/>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19" name="Rectangle 18">
            <a:extLst>
              <a:ext uri="{FF2B5EF4-FFF2-40B4-BE49-F238E27FC236}">
                <a16:creationId xmlns:a16="http://schemas.microsoft.com/office/drawing/2014/main" id="{373A6957-CA12-85A0-DDD3-11A494C7422A}"/>
              </a:ext>
            </a:extLst>
          </p:cNvPr>
          <p:cNvSpPr/>
          <p:nvPr/>
        </p:nvSpPr>
        <p:spPr>
          <a:xfrm rot="10800000">
            <a:off x="533400" y="2887299"/>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53" name="Rectangle 52">
            <a:extLst>
              <a:ext uri="{FF2B5EF4-FFF2-40B4-BE49-F238E27FC236}">
                <a16:creationId xmlns:a16="http://schemas.microsoft.com/office/drawing/2014/main" id="{0FF627F5-9615-9914-BB60-1F68FB769D9A}"/>
              </a:ext>
            </a:extLst>
          </p:cNvPr>
          <p:cNvSpPr/>
          <p:nvPr/>
        </p:nvSpPr>
        <p:spPr>
          <a:xfrm>
            <a:off x="533400" y="4119916"/>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54" name="Text 5">
            <a:extLst>
              <a:ext uri="{FF2B5EF4-FFF2-40B4-BE49-F238E27FC236}">
                <a16:creationId xmlns:a16="http://schemas.microsoft.com/office/drawing/2014/main" id="{19ED1536-825D-0753-A745-EA208BC658D9}"/>
              </a:ext>
            </a:extLst>
          </p:cNvPr>
          <p:cNvSpPr/>
          <p:nvPr/>
        </p:nvSpPr>
        <p:spPr>
          <a:xfrm>
            <a:off x="4083049" y="1766489"/>
            <a:ext cx="3413126" cy="2042473"/>
          </a:xfrm>
          <a:prstGeom prst="rect">
            <a:avLst/>
          </a:prstGeom>
          <a:noFill/>
          <a:ln/>
        </p:spPr>
        <p:txBody>
          <a:bodyPr wrap="square" lIns="0" tIns="36000" rIns="90000" bIns="36000" rtlCol="0" anchor="t">
            <a:spAutoFit/>
          </a:bodyPr>
          <a:lstStyle/>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Defined </a:t>
            </a:r>
            <a:r>
              <a:rPr lang="en-US" sz="1400" b="1" dirty="0">
                <a:solidFill>
                  <a:srgbClr val="4A4A45"/>
                </a:solidFill>
                <a:latin typeface="Moderat" pitchFamily="2" charset="77"/>
              </a:rPr>
              <a:t>clear behavior shifts </a:t>
            </a:r>
            <a:r>
              <a:rPr lang="en-US" sz="1400" dirty="0">
                <a:solidFill>
                  <a:srgbClr val="4A4A45"/>
                </a:solidFill>
                <a:latin typeface="Moderat" pitchFamily="2" charset="77"/>
              </a:rPr>
              <a:t>tied to strategic priorities</a:t>
            </a:r>
          </a:p>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Multi-level change journey: leaders, managers, and teams</a:t>
            </a:r>
          </a:p>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Reinforcement through real-work application, nudges, and sponsor visibility</a:t>
            </a:r>
          </a:p>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Change embedded into workflows</a:t>
            </a:r>
          </a:p>
        </p:txBody>
      </p:sp>
      <p:sp>
        <p:nvSpPr>
          <p:cNvPr id="55" name="Rectangle: Rounded Corners 54">
            <a:extLst>
              <a:ext uri="{FF2B5EF4-FFF2-40B4-BE49-F238E27FC236}">
                <a16:creationId xmlns:a16="http://schemas.microsoft.com/office/drawing/2014/main" id="{D886FE37-DDF8-DBCB-51CA-001DEA864971}"/>
              </a:ext>
            </a:extLst>
          </p:cNvPr>
          <p:cNvSpPr/>
          <p:nvPr/>
        </p:nvSpPr>
        <p:spPr>
          <a:xfrm>
            <a:off x="4083049" y="1414467"/>
            <a:ext cx="1955801" cy="253358"/>
          </a:xfrm>
          <a:prstGeom prst="roundRect">
            <a:avLst>
              <a:gd name="adj" fmla="val 2618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36000" bIns="36000" rtlCol="0" anchor="ctr"/>
          <a:lstStyle/>
          <a:p>
            <a:r>
              <a:rPr lang="en-US" sz="1600" b="1" dirty="0">
                <a:latin typeface="Moderat" pitchFamily="2" charset="77"/>
              </a:rPr>
              <a:t>Intervention</a:t>
            </a:r>
          </a:p>
        </p:txBody>
      </p:sp>
      <p:sp>
        <p:nvSpPr>
          <p:cNvPr id="58" name="Rectangle: Rounded Corners 57">
            <a:extLst>
              <a:ext uri="{FF2B5EF4-FFF2-40B4-BE49-F238E27FC236}">
                <a16:creationId xmlns:a16="http://schemas.microsoft.com/office/drawing/2014/main" id="{8306C149-3A29-FD75-A7BE-BE703C2A6DA1}"/>
              </a:ext>
            </a:extLst>
          </p:cNvPr>
          <p:cNvSpPr/>
          <p:nvPr/>
        </p:nvSpPr>
        <p:spPr>
          <a:xfrm>
            <a:off x="533400" y="5391150"/>
            <a:ext cx="11131831" cy="594362"/>
          </a:xfrm>
          <a:prstGeom prst="roundRect">
            <a:avLst>
              <a:gd name="adj" fmla="val 181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36000" bIns="36000" rtlCol="0" anchor="ctr"/>
          <a:lstStyle/>
          <a:p>
            <a:r>
              <a:rPr lang="en-US" sz="1400" dirty="0">
                <a:latin typeface="Moderat" pitchFamily="2" charset="77"/>
              </a:rPr>
              <a:t>Change succeeds when behaviors are intentionally designed, expectations are set and reinforced, and outcomes are measured consistently.</a:t>
            </a:r>
          </a:p>
        </p:txBody>
      </p:sp>
      <p:sp>
        <p:nvSpPr>
          <p:cNvPr id="59" name="Rectangle: Rounded Corners 58">
            <a:extLst>
              <a:ext uri="{FF2B5EF4-FFF2-40B4-BE49-F238E27FC236}">
                <a16:creationId xmlns:a16="http://schemas.microsoft.com/office/drawing/2014/main" id="{C8CD1463-69CC-86BB-93DB-F1F51E56802A}"/>
              </a:ext>
            </a:extLst>
          </p:cNvPr>
          <p:cNvSpPr/>
          <p:nvPr/>
        </p:nvSpPr>
        <p:spPr>
          <a:xfrm>
            <a:off x="7852789" y="1841960"/>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b="1" dirty="0">
                <a:solidFill>
                  <a:srgbClr val="4A4A45"/>
                </a:solidFill>
                <a:latin typeface="Moderat" panose="020B0604020202020204"/>
              </a:rPr>
              <a:t>Consistent adoption </a:t>
            </a:r>
            <a:r>
              <a:rPr lang="en-US" sz="1400" dirty="0">
                <a:solidFill>
                  <a:srgbClr val="4A4A45"/>
                </a:solidFill>
                <a:latin typeface="Moderat" panose="020B0604020202020204"/>
              </a:rPr>
              <a:t>of new behaviors across functions</a:t>
            </a:r>
          </a:p>
        </p:txBody>
      </p:sp>
      <p:sp>
        <p:nvSpPr>
          <p:cNvPr id="60" name="Rectangle: Rounded Corners 59">
            <a:extLst>
              <a:ext uri="{FF2B5EF4-FFF2-40B4-BE49-F238E27FC236}">
                <a16:creationId xmlns:a16="http://schemas.microsoft.com/office/drawing/2014/main" id="{B07B30F0-AD16-4C33-FD2E-DC1E79A91A47}"/>
              </a:ext>
            </a:extLst>
          </p:cNvPr>
          <p:cNvSpPr/>
          <p:nvPr/>
        </p:nvSpPr>
        <p:spPr>
          <a:xfrm>
            <a:off x="7852789" y="2715755"/>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b="1" dirty="0">
                <a:solidFill>
                  <a:srgbClr val="4A4A45"/>
                </a:solidFill>
                <a:latin typeface="Moderat" panose="020B0604020202020204"/>
              </a:rPr>
              <a:t>Reduced resistance and faster transition </a:t>
            </a:r>
            <a:r>
              <a:rPr lang="en-US" sz="1400" dirty="0">
                <a:solidFill>
                  <a:srgbClr val="4A4A45"/>
                </a:solidFill>
                <a:latin typeface="Moderat" panose="020B0604020202020204"/>
              </a:rPr>
              <a:t>to new ways of working</a:t>
            </a:r>
          </a:p>
        </p:txBody>
      </p:sp>
      <p:sp>
        <p:nvSpPr>
          <p:cNvPr id="63" name="Rectangle: Rounded Corners 62">
            <a:extLst>
              <a:ext uri="{FF2B5EF4-FFF2-40B4-BE49-F238E27FC236}">
                <a16:creationId xmlns:a16="http://schemas.microsoft.com/office/drawing/2014/main" id="{32ADA4E7-A277-AFA2-D863-C891D4DD6B69}"/>
              </a:ext>
            </a:extLst>
          </p:cNvPr>
          <p:cNvSpPr/>
          <p:nvPr/>
        </p:nvSpPr>
        <p:spPr>
          <a:xfrm>
            <a:off x="7852789" y="3589551"/>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dirty="0">
                <a:solidFill>
                  <a:srgbClr val="4A4A45"/>
                </a:solidFill>
                <a:latin typeface="Moderat" panose="020B0604020202020204"/>
              </a:rPr>
              <a:t>Improved</a:t>
            </a:r>
            <a:r>
              <a:rPr lang="en-US" sz="1400" b="1" dirty="0">
                <a:solidFill>
                  <a:srgbClr val="4A4A45"/>
                </a:solidFill>
                <a:latin typeface="Moderat" panose="020B0604020202020204"/>
              </a:rPr>
              <a:t> execution reliability </a:t>
            </a:r>
            <a:r>
              <a:rPr lang="en-US" sz="1400" dirty="0">
                <a:solidFill>
                  <a:srgbClr val="4A4A45"/>
                </a:solidFill>
                <a:latin typeface="Moderat" panose="020B0604020202020204"/>
              </a:rPr>
              <a:t>during transformation phases</a:t>
            </a:r>
          </a:p>
        </p:txBody>
      </p:sp>
      <p:sp>
        <p:nvSpPr>
          <p:cNvPr id="64" name="Rectangle: Rounded Corners 63">
            <a:extLst>
              <a:ext uri="{FF2B5EF4-FFF2-40B4-BE49-F238E27FC236}">
                <a16:creationId xmlns:a16="http://schemas.microsoft.com/office/drawing/2014/main" id="{093AE5E8-D686-15CA-FC73-87A89A9175A4}"/>
              </a:ext>
            </a:extLst>
          </p:cNvPr>
          <p:cNvSpPr/>
          <p:nvPr/>
        </p:nvSpPr>
        <p:spPr>
          <a:xfrm>
            <a:off x="7852789" y="4463347"/>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dirty="0">
                <a:solidFill>
                  <a:srgbClr val="4A4A45"/>
                </a:solidFill>
                <a:latin typeface="Moderat" panose="020B0604020202020204"/>
              </a:rPr>
              <a:t>Leaders equipped to </a:t>
            </a:r>
            <a:r>
              <a:rPr lang="en-US" sz="1400" b="1" dirty="0">
                <a:solidFill>
                  <a:srgbClr val="4A4A45"/>
                </a:solidFill>
                <a:latin typeface="Moderat" panose="020B0604020202020204"/>
              </a:rPr>
              <a:t>lead and sustain change</a:t>
            </a:r>
            <a:r>
              <a:rPr lang="en-US" sz="1400" dirty="0">
                <a:solidFill>
                  <a:srgbClr val="4A4A45"/>
                </a:solidFill>
                <a:latin typeface="Moderat" panose="020B0604020202020204"/>
              </a:rPr>
              <a:t> locally</a:t>
            </a:r>
          </a:p>
        </p:txBody>
      </p:sp>
      <p:grpSp>
        <p:nvGrpSpPr>
          <p:cNvPr id="84" name="Group 83">
            <a:extLst>
              <a:ext uri="{FF2B5EF4-FFF2-40B4-BE49-F238E27FC236}">
                <a16:creationId xmlns:a16="http://schemas.microsoft.com/office/drawing/2014/main" id="{42199518-E28B-7095-80C3-6CC2B77B0B36}"/>
              </a:ext>
            </a:extLst>
          </p:cNvPr>
          <p:cNvGrpSpPr/>
          <p:nvPr/>
        </p:nvGrpSpPr>
        <p:grpSpPr>
          <a:xfrm>
            <a:off x="7936609" y="2015349"/>
            <a:ext cx="457200" cy="457200"/>
            <a:chOff x="7936609" y="2099558"/>
            <a:chExt cx="457200" cy="457200"/>
          </a:xfrm>
        </p:grpSpPr>
        <p:sp>
          <p:nvSpPr>
            <p:cNvPr id="85" name="Oval 84">
              <a:extLst>
                <a:ext uri="{FF2B5EF4-FFF2-40B4-BE49-F238E27FC236}">
                  <a16:creationId xmlns:a16="http://schemas.microsoft.com/office/drawing/2014/main" id="{94B5392E-0229-6A97-30A9-B4EEC1D77BDC}"/>
                </a:ext>
              </a:extLst>
            </p:cNvPr>
            <p:cNvSpPr>
              <a:spLocks noChangeAspect="1"/>
            </p:cNvSpPr>
            <p:nvPr/>
          </p:nvSpPr>
          <p:spPr>
            <a:xfrm>
              <a:off x="7936609" y="2099558"/>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grpSp>
          <p:nvGrpSpPr>
            <p:cNvPr id="86" name="Group 85">
              <a:extLst>
                <a:ext uri="{FF2B5EF4-FFF2-40B4-BE49-F238E27FC236}">
                  <a16:creationId xmlns:a16="http://schemas.microsoft.com/office/drawing/2014/main" id="{9627E376-7836-21F3-1C4E-93F62C662233}"/>
                </a:ext>
              </a:extLst>
            </p:cNvPr>
            <p:cNvGrpSpPr>
              <a:grpSpLocks noChangeAspect="1"/>
            </p:cNvGrpSpPr>
            <p:nvPr/>
          </p:nvGrpSpPr>
          <p:grpSpPr>
            <a:xfrm>
              <a:off x="8054084" y="2217032"/>
              <a:ext cx="222252" cy="222253"/>
              <a:chOff x="6076949" y="703261"/>
              <a:chExt cx="222252" cy="222253"/>
            </a:xfrm>
            <a:solidFill>
              <a:schemeClr val="bg1"/>
            </a:solidFill>
          </p:grpSpPr>
          <p:sp>
            <p:nvSpPr>
              <p:cNvPr id="87" name="Freeform: Shape 86">
                <a:extLst>
                  <a:ext uri="{FF2B5EF4-FFF2-40B4-BE49-F238E27FC236}">
                    <a16:creationId xmlns:a16="http://schemas.microsoft.com/office/drawing/2014/main" id="{188C7DE4-A151-5067-B673-3B1B97837468}"/>
                  </a:ext>
                </a:extLst>
              </p:cNvPr>
              <p:cNvSpPr/>
              <p:nvPr/>
            </p:nvSpPr>
            <p:spPr>
              <a:xfrm>
                <a:off x="6076949" y="703261"/>
                <a:ext cx="222252" cy="222253"/>
              </a:xfrm>
              <a:custGeom>
                <a:avLst/>
                <a:gdLst>
                  <a:gd name="csX0" fmla="*/ 43982 w 222252"/>
                  <a:gd name="csY0" fmla="*/ 119227 h 222253"/>
                  <a:gd name="csX1" fmla="*/ 51792 w 222252"/>
                  <a:gd name="csY1" fmla="*/ 222251 h 222253"/>
                  <a:gd name="csX2" fmla="*/ 103025 w 222252"/>
                  <a:gd name="csY2" fmla="*/ 178269 h 222253"/>
                  <a:gd name="csX3" fmla="*/ 119301 w 222252"/>
                  <a:gd name="csY3" fmla="*/ 162245 h 222253"/>
                  <a:gd name="csX4" fmla="*/ 170459 w 222252"/>
                  <a:gd name="csY4" fmla="*/ 222251 h 222253"/>
                  <a:gd name="csX5" fmla="*/ 222250 w 222252"/>
                  <a:gd name="csY5" fmla="*/ 170460 h 222253"/>
                  <a:gd name="csX6" fmla="*/ 162243 w 222252"/>
                  <a:gd name="csY6" fmla="*/ 119301 h 222253"/>
                  <a:gd name="csX7" fmla="*/ 162316 w 222252"/>
                  <a:gd name="csY7" fmla="*/ 103266 h 222253"/>
                  <a:gd name="csX8" fmla="*/ 127882 w 222252"/>
                  <a:gd name="csY8" fmla="*/ 62109 h 222253"/>
                  <a:gd name="csX9" fmla="*/ 127078 w 222252"/>
                  <a:gd name="csY9" fmla="*/ 45159 h 222253"/>
                  <a:gd name="csX10" fmla="*/ 214313 w 222252"/>
                  <a:gd name="csY10" fmla="*/ 51793 h 222253"/>
                  <a:gd name="csX11" fmla="*/ 177090 w 222252"/>
                  <a:gd name="csY11" fmla="*/ 95178 h 222253"/>
                  <a:gd name="csX12" fmla="*/ 177676 w 222252"/>
                  <a:gd name="csY12" fmla="*/ 103071 h 222253"/>
                  <a:gd name="csX13" fmla="*/ 222250 w 222252"/>
                  <a:gd name="csY13" fmla="*/ 51793 h 222253"/>
                  <a:gd name="csX14" fmla="*/ 170459 w 222252"/>
                  <a:gd name="csY14" fmla="*/ 1 h 222253"/>
                  <a:gd name="csX15" fmla="*/ 118625 w 222252"/>
                  <a:gd name="csY15" fmla="*/ 51793 h 222253"/>
                  <a:gd name="csX16" fmla="*/ 111125 w 222252"/>
                  <a:gd name="csY16" fmla="*/ 59334 h 222253"/>
                  <a:gd name="csX17" fmla="*/ 103626 w 222252"/>
                  <a:gd name="csY17" fmla="*/ 51792 h 222253"/>
                  <a:gd name="csX18" fmla="*/ 0 w 222252"/>
                  <a:gd name="csY18" fmla="*/ 51793 h 222253"/>
                  <a:gd name="csX19" fmla="*/ 51792 w 222252"/>
                  <a:gd name="csY19" fmla="*/ 103625 h 222253"/>
                  <a:gd name="csX20" fmla="*/ 59333 w 222252"/>
                  <a:gd name="csY20" fmla="*/ 111127 h 222253"/>
                  <a:gd name="csX21" fmla="*/ 94370 w 222252"/>
                  <a:gd name="csY21" fmla="*/ 160154 h 222253"/>
                  <a:gd name="csX22" fmla="*/ 95173 w 222252"/>
                  <a:gd name="csY22" fmla="*/ 177091 h 222253"/>
                  <a:gd name="csX23" fmla="*/ 7938 w 222252"/>
                  <a:gd name="csY23" fmla="*/ 170459 h 222253"/>
                  <a:gd name="csX24" fmla="*/ 45160 w 222252"/>
                  <a:gd name="csY24" fmla="*/ 127079 h 222253"/>
                  <a:gd name="csX25" fmla="*/ 43982 w 222252"/>
                  <a:gd name="csY25" fmla="*/ 119227 h 222253"/>
                  <a:gd name="csX26" fmla="*/ 51792 w 222252"/>
                  <a:gd name="csY26" fmla="*/ 95687 h 222253"/>
                  <a:gd name="csX27" fmla="*/ 7938 w 222252"/>
                  <a:gd name="csY27" fmla="*/ 51793 h 222253"/>
                  <a:gd name="csX28" fmla="*/ 95688 w 222252"/>
                  <a:gd name="csY28" fmla="*/ 51793 h 222253"/>
                  <a:gd name="csX29" fmla="*/ 94354 w 222252"/>
                  <a:gd name="csY29" fmla="*/ 62176 h 222253"/>
                  <a:gd name="csX30" fmla="*/ 62176 w 222252"/>
                  <a:gd name="csY30" fmla="*/ 94353 h 222253"/>
                  <a:gd name="csX31" fmla="*/ 51792 w 222252"/>
                  <a:gd name="csY31" fmla="*/ 95687 h 222253"/>
                  <a:gd name="csX32" fmla="*/ 67271 w 222252"/>
                  <a:gd name="csY32" fmla="*/ 111126 h 222253"/>
                  <a:gd name="csX33" fmla="*/ 111125 w 222252"/>
                  <a:gd name="csY33" fmla="*/ 67272 h 222253"/>
                  <a:gd name="csX34" fmla="*/ 139429 w 222252"/>
                  <a:gd name="csY34" fmla="*/ 144582 h 222253"/>
                  <a:gd name="csX35" fmla="*/ 138903 w 222252"/>
                  <a:gd name="csY35" fmla="*/ 150170 h 222253"/>
                  <a:gd name="csX36" fmla="*/ 160065 w 222252"/>
                  <a:gd name="csY36" fmla="*/ 127901 h 222253"/>
                  <a:gd name="csX37" fmla="*/ 214312 w 222252"/>
                  <a:gd name="csY37" fmla="*/ 170460 h 222253"/>
                  <a:gd name="csX38" fmla="*/ 170459 w 222252"/>
                  <a:gd name="csY38" fmla="*/ 214314 h 222253"/>
                  <a:gd name="csX39" fmla="*/ 128405 w 222252"/>
                  <a:gd name="csY39" fmla="*/ 157037 h 222253"/>
                  <a:gd name="csX40" fmla="*/ 124527 w 222252"/>
                  <a:gd name="csY40" fmla="*/ 153143 h 222253"/>
                  <a:gd name="csX41" fmla="*/ 67271 w 222252"/>
                  <a:gd name="csY41" fmla="*/ 111126 h 22225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Lst>
                <a:rect l="l" t="t" r="r" b="b"/>
                <a:pathLst>
                  <a:path w="222252" h="222253">
                    <a:moveTo>
                      <a:pt x="43982" y="119227"/>
                    </a:moveTo>
                    <a:cubicBezTo>
                      <a:pt x="-18642" y="130833"/>
                      <a:pt x="-12182" y="220232"/>
                      <a:pt x="51792" y="222251"/>
                    </a:cubicBezTo>
                    <a:cubicBezTo>
                      <a:pt x="77232" y="222251"/>
                      <a:pt x="99254" y="203342"/>
                      <a:pt x="103025" y="178269"/>
                    </a:cubicBezTo>
                    <a:cubicBezTo>
                      <a:pt x="105525" y="154815"/>
                      <a:pt x="96512" y="165358"/>
                      <a:pt x="119301" y="162245"/>
                    </a:cubicBezTo>
                    <a:cubicBezTo>
                      <a:pt x="113994" y="193273"/>
                      <a:pt x="138948" y="222541"/>
                      <a:pt x="170459" y="222251"/>
                    </a:cubicBezTo>
                    <a:cubicBezTo>
                      <a:pt x="199015" y="222251"/>
                      <a:pt x="222250" y="199016"/>
                      <a:pt x="222250" y="170460"/>
                    </a:cubicBezTo>
                    <a:cubicBezTo>
                      <a:pt x="222534" y="138948"/>
                      <a:pt x="193278" y="113997"/>
                      <a:pt x="162243" y="119301"/>
                    </a:cubicBezTo>
                    <a:cubicBezTo>
                      <a:pt x="163110" y="113950"/>
                      <a:pt x="163138" y="108685"/>
                      <a:pt x="162316" y="103266"/>
                    </a:cubicBezTo>
                    <a:cubicBezTo>
                      <a:pt x="159327" y="83599"/>
                      <a:pt x="145777" y="68141"/>
                      <a:pt x="127882" y="62109"/>
                    </a:cubicBezTo>
                    <a:cubicBezTo>
                      <a:pt x="126500" y="56504"/>
                      <a:pt x="126167" y="50938"/>
                      <a:pt x="127078" y="45159"/>
                    </a:cubicBezTo>
                    <a:cubicBezTo>
                      <a:pt x="136896" y="-7840"/>
                      <a:pt x="212611" y="-2374"/>
                      <a:pt x="214313" y="51793"/>
                    </a:cubicBezTo>
                    <a:cubicBezTo>
                      <a:pt x="214313" y="73336"/>
                      <a:pt x="198310" y="91988"/>
                      <a:pt x="177090" y="95178"/>
                    </a:cubicBezTo>
                    <a:cubicBezTo>
                      <a:pt x="172271" y="95892"/>
                      <a:pt x="172904" y="103097"/>
                      <a:pt x="177676" y="103071"/>
                    </a:cubicBezTo>
                    <a:cubicBezTo>
                      <a:pt x="203000" y="99715"/>
                      <a:pt x="222262" y="77380"/>
                      <a:pt x="222250" y="51793"/>
                    </a:cubicBezTo>
                    <a:cubicBezTo>
                      <a:pt x="222250" y="23234"/>
                      <a:pt x="199015" y="1"/>
                      <a:pt x="170459" y="1"/>
                    </a:cubicBezTo>
                    <a:cubicBezTo>
                      <a:pt x="142278" y="-205"/>
                      <a:pt x="118358" y="23706"/>
                      <a:pt x="118625" y="51793"/>
                    </a:cubicBezTo>
                    <a:cubicBezTo>
                      <a:pt x="118968" y="61993"/>
                      <a:pt x="121224" y="59655"/>
                      <a:pt x="111125" y="59334"/>
                    </a:cubicBezTo>
                    <a:cubicBezTo>
                      <a:pt x="100709" y="59758"/>
                      <a:pt x="103400" y="61946"/>
                      <a:pt x="103626" y="51792"/>
                    </a:cubicBezTo>
                    <a:cubicBezTo>
                      <a:pt x="100805" y="-16848"/>
                      <a:pt x="2850" y="-16958"/>
                      <a:pt x="0" y="51793"/>
                    </a:cubicBezTo>
                    <a:cubicBezTo>
                      <a:pt x="0" y="80372"/>
                      <a:pt x="23235" y="103625"/>
                      <a:pt x="51792" y="103625"/>
                    </a:cubicBezTo>
                    <a:cubicBezTo>
                      <a:pt x="62031" y="103295"/>
                      <a:pt x="59697" y="100974"/>
                      <a:pt x="59333" y="111127"/>
                    </a:cubicBezTo>
                    <a:cubicBezTo>
                      <a:pt x="59334" y="133801"/>
                      <a:pt x="73618" y="153169"/>
                      <a:pt x="94370" y="160154"/>
                    </a:cubicBezTo>
                    <a:cubicBezTo>
                      <a:pt x="95750" y="165748"/>
                      <a:pt x="96083" y="171320"/>
                      <a:pt x="95173" y="177091"/>
                    </a:cubicBezTo>
                    <a:cubicBezTo>
                      <a:pt x="85355" y="230092"/>
                      <a:pt x="9640" y="224628"/>
                      <a:pt x="7938" y="170459"/>
                    </a:cubicBezTo>
                    <a:cubicBezTo>
                      <a:pt x="7938" y="148919"/>
                      <a:pt x="23941" y="130265"/>
                      <a:pt x="45160" y="127079"/>
                    </a:cubicBezTo>
                    <a:cubicBezTo>
                      <a:pt x="50337" y="126185"/>
                      <a:pt x="49134" y="118582"/>
                      <a:pt x="43982" y="119227"/>
                    </a:cubicBezTo>
                    <a:close/>
                    <a:moveTo>
                      <a:pt x="51792" y="95687"/>
                    </a:moveTo>
                    <a:cubicBezTo>
                      <a:pt x="27611" y="95687"/>
                      <a:pt x="7938" y="75997"/>
                      <a:pt x="7938" y="51793"/>
                    </a:cubicBezTo>
                    <a:cubicBezTo>
                      <a:pt x="10347" y="-6405"/>
                      <a:pt x="93284" y="-6349"/>
                      <a:pt x="95688" y="51793"/>
                    </a:cubicBezTo>
                    <a:cubicBezTo>
                      <a:pt x="95688" y="55300"/>
                      <a:pt x="95178" y="58772"/>
                      <a:pt x="94354" y="62176"/>
                    </a:cubicBezTo>
                    <a:cubicBezTo>
                      <a:pt x="79283" y="67356"/>
                      <a:pt x="67356" y="79282"/>
                      <a:pt x="62176" y="94353"/>
                    </a:cubicBezTo>
                    <a:cubicBezTo>
                      <a:pt x="58772" y="95178"/>
                      <a:pt x="55300" y="95687"/>
                      <a:pt x="51792" y="95687"/>
                    </a:cubicBezTo>
                    <a:close/>
                    <a:moveTo>
                      <a:pt x="67271" y="111126"/>
                    </a:moveTo>
                    <a:cubicBezTo>
                      <a:pt x="67271" y="86946"/>
                      <a:pt x="86944" y="67272"/>
                      <a:pt x="111125" y="67272"/>
                    </a:cubicBezTo>
                    <a:cubicBezTo>
                      <a:pt x="151849" y="67082"/>
                      <a:pt x="170415" y="118503"/>
                      <a:pt x="139429" y="144582"/>
                    </a:cubicBezTo>
                    <a:cubicBezTo>
                      <a:pt x="137740" y="145981"/>
                      <a:pt x="137507" y="148481"/>
                      <a:pt x="138903" y="150170"/>
                    </a:cubicBezTo>
                    <a:cubicBezTo>
                      <a:pt x="145191" y="157419"/>
                      <a:pt x="158923" y="133134"/>
                      <a:pt x="160065" y="127901"/>
                    </a:cubicBezTo>
                    <a:cubicBezTo>
                      <a:pt x="187108" y="120737"/>
                      <a:pt x="214688" y="142503"/>
                      <a:pt x="214312" y="170460"/>
                    </a:cubicBezTo>
                    <a:cubicBezTo>
                      <a:pt x="214313" y="194641"/>
                      <a:pt x="194639" y="214314"/>
                      <a:pt x="170459" y="214314"/>
                    </a:cubicBezTo>
                    <a:cubicBezTo>
                      <a:pt x="140932" y="214715"/>
                      <a:pt x="119871" y="184829"/>
                      <a:pt x="128405" y="157037"/>
                    </a:cubicBezTo>
                    <a:cubicBezTo>
                      <a:pt x="128502" y="154978"/>
                      <a:pt x="126585" y="153059"/>
                      <a:pt x="124527" y="153143"/>
                    </a:cubicBezTo>
                    <a:cubicBezTo>
                      <a:pt x="96512" y="161538"/>
                      <a:pt x="66945" y="141012"/>
                      <a:pt x="67271" y="111126"/>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88" name="Freeform: Shape 87">
                <a:extLst>
                  <a:ext uri="{FF2B5EF4-FFF2-40B4-BE49-F238E27FC236}">
                    <a16:creationId xmlns:a16="http://schemas.microsoft.com/office/drawing/2014/main" id="{14633E7E-6F7E-456E-D621-726AA22C7DDE}"/>
                  </a:ext>
                </a:extLst>
              </p:cNvPr>
              <p:cNvSpPr/>
              <p:nvPr/>
            </p:nvSpPr>
            <p:spPr>
              <a:xfrm>
                <a:off x="6161138" y="787453"/>
                <a:ext cx="53899" cy="53893"/>
              </a:xfrm>
              <a:custGeom>
                <a:avLst/>
                <a:gdLst>
                  <a:gd name="csX0" fmla="*/ 32767 w 53899"/>
                  <a:gd name="csY0" fmla="*/ 38377 h 53893"/>
                  <a:gd name="csX1" fmla="*/ 47095 w 53899"/>
                  <a:gd name="csY1" fmla="*/ 52705 h 53893"/>
                  <a:gd name="csX2" fmla="*/ 52706 w 53899"/>
                  <a:gd name="csY2" fmla="*/ 47092 h 53893"/>
                  <a:gd name="csX3" fmla="*/ 38379 w 53899"/>
                  <a:gd name="csY3" fmla="*/ 32765 h 53893"/>
                  <a:gd name="csX4" fmla="*/ 21003 w 53899"/>
                  <a:gd name="csY4" fmla="*/ 5 h 53893"/>
                  <a:gd name="csX5" fmla="*/ 4 w 53899"/>
                  <a:gd name="csY5" fmla="*/ 21001 h 53893"/>
                  <a:gd name="csX6" fmla="*/ 32767 w 53899"/>
                  <a:gd name="csY6" fmla="*/ 38377 h 53893"/>
                  <a:gd name="csX7" fmla="*/ 7942 w 53899"/>
                  <a:gd name="csY7" fmla="*/ 21001 h 53893"/>
                  <a:gd name="csX8" fmla="*/ 34060 w 53899"/>
                  <a:gd name="csY8" fmla="*/ 21001 h 53893"/>
                  <a:gd name="csX9" fmla="*/ 7942 w 53899"/>
                  <a:gd name="csY9" fmla="*/ 21001 h 5389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53899" h="53893">
                    <a:moveTo>
                      <a:pt x="32767" y="38377"/>
                    </a:moveTo>
                    <a:lnTo>
                      <a:pt x="47095" y="52705"/>
                    </a:lnTo>
                    <a:cubicBezTo>
                      <a:pt x="50769" y="56352"/>
                      <a:pt x="56368" y="50784"/>
                      <a:pt x="52706" y="47092"/>
                    </a:cubicBezTo>
                    <a:cubicBezTo>
                      <a:pt x="52707" y="47093"/>
                      <a:pt x="38379" y="32765"/>
                      <a:pt x="38379" y="32765"/>
                    </a:cubicBezTo>
                    <a:cubicBezTo>
                      <a:pt x="47894" y="19421"/>
                      <a:pt x="37525" y="-346"/>
                      <a:pt x="21003" y="5"/>
                    </a:cubicBezTo>
                    <a:cubicBezTo>
                      <a:pt x="9426" y="4"/>
                      <a:pt x="4" y="9424"/>
                      <a:pt x="4" y="21001"/>
                    </a:cubicBezTo>
                    <a:cubicBezTo>
                      <a:pt x="-338" y="37527"/>
                      <a:pt x="19417" y="47890"/>
                      <a:pt x="32767" y="38377"/>
                    </a:cubicBezTo>
                    <a:close/>
                    <a:moveTo>
                      <a:pt x="7942" y="21001"/>
                    </a:moveTo>
                    <a:cubicBezTo>
                      <a:pt x="8491" y="3744"/>
                      <a:pt x="33516" y="3745"/>
                      <a:pt x="34060" y="21001"/>
                    </a:cubicBezTo>
                    <a:cubicBezTo>
                      <a:pt x="33513" y="38259"/>
                      <a:pt x="8489" y="38251"/>
                      <a:pt x="7942" y="21001"/>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89" name="Freeform: Shape 88">
                <a:extLst>
                  <a:ext uri="{FF2B5EF4-FFF2-40B4-BE49-F238E27FC236}">
                    <a16:creationId xmlns:a16="http://schemas.microsoft.com/office/drawing/2014/main" id="{58C6C002-2F80-A287-0307-1FCF5FBA725C}"/>
                  </a:ext>
                </a:extLst>
              </p:cNvPr>
              <p:cNvSpPr/>
              <p:nvPr/>
            </p:nvSpPr>
            <p:spPr>
              <a:xfrm>
                <a:off x="6112858" y="735247"/>
                <a:ext cx="31806" cy="39671"/>
              </a:xfrm>
              <a:custGeom>
                <a:avLst/>
                <a:gdLst>
                  <a:gd name="csX0" fmla="*/ 18711 w 31806"/>
                  <a:gd name="csY0" fmla="*/ 1150 h 39671"/>
                  <a:gd name="csX1" fmla="*/ 13092 w 31806"/>
                  <a:gd name="csY1" fmla="*/ 1150 h 39671"/>
                  <a:gd name="csX2" fmla="*/ 1190 w 31806"/>
                  <a:gd name="csY2" fmla="*/ 13053 h 39671"/>
                  <a:gd name="csX3" fmla="*/ 6802 w 31806"/>
                  <a:gd name="csY3" fmla="*/ 18665 h 39671"/>
                  <a:gd name="csX4" fmla="*/ 11933 w 31806"/>
                  <a:gd name="csY4" fmla="*/ 13534 h 39671"/>
                  <a:gd name="csX5" fmla="*/ 11933 w 31806"/>
                  <a:gd name="csY5" fmla="*/ 35703 h 39671"/>
                  <a:gd name="csX6" fmla="*/ 15902 w 31806"/>
                  <a:gd name="csY6" fmla="*/ 39672 h 39671"/>
                  <a:gd name="csX7" fmla="*/ 19871 w 31806"/>
                  <a:gd name="csY7" fmla="*/ 35703 h 39671"/>
                  <a:gd name="csX8" fmla="*/ 19871 w 31806"/>
                  <a:gd name="csY8" fmla="*/ 13534 h 39671"/>
                  <a:gd name="csX9" fmla="*/ 25002 w 31806"/>
                  <a:gd name="csY9" fmla="*/ 18665 h 39671"/>
                  <a:gd name="csX10" fmla="*/ 30614 w 31806"/>
                  <a:gd name="csY10" fmla="*/ 13053 h 39671"/>
                  <a:gd name="csX11" fmla="*/ 18711 w 31806"/>
                  <a:gd name="csY11" fmla="*/ 1150 h 3967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31806" h="39671">
                    <a:moveTo>
                      <a:pt x="18711" y="1150"/>
                    </a:moveTo>
                    <a:cubicBezTo>
                      <a:pt x="17237" y="-382"/>
                      <a:pt x="14567" y="-384"/>
                      <a:pt x="13092" y="1150"/>
                    </a:cubicBezTo>
                    <a:cubicBezTo>
                      <a:pt x="13092" y="1150"/>
                      <a:pt x="1190" y="13053"/>
                      <a:pt x="1190" y="13053"/>
                    </a:cubicBezTo>
                    <a:cubicBezTo>
                      <a:pt x="-2459" y="16738"/>
                      <a:pt x="3112" y="22320"/>
                      <a:pt x="6802" y="18665"/>
                    </a:cubicBezTo>
                    <a:cubicBezTo>
                      <a:pt x="6802" y="18665"/>
                      <a:pt x="11933" y="13534"/>
                      <a:pt x="11933" y="13534"/>
                    </a:cubicBezTo>
                    <a:lnTo>
                      <a:pt x="11933" y="35703"/>
                    </a:lnTo>
                    <a:cubicBezTo>
                      <a:pt x="11933" y="37895"/>
                      <a:pt x="13708" y="39672"/>
                      <a:pt x="15902" y="39672"/>
                    </a:cubicBezTo>
                    <a:cubicBezTo>
                      <a:pt x="18095" y="39672"/>
                      <a:pt x="19871" y="37895"/>
                      <a:pt x="19871" y="35703"/>
                    </a:cubicBezTo>
                    <a:lnTo>
                      <a:pt x="19871" y="13534"/>
                    </a:lnTo>
                    <a:lnTo>
                      <a:pt x="25002" y="18665"/>
                    </a:lnTo>
                    <a:cubicBezTo>
                      <a:pt x="28680" y="22319"/>
                      <a:pt x="34273" y="16738"/>
                      <a:pt x="30614" y="13053"/>
                    </a:cubicBezTo>
                    <a:cubicBezTo>
                      <a:pt x="30614" y="13053"/>
                      <a:pt x="18711" y="1150"/>
                      <a:pt x="18711" y="1150"/>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90" name="Freeform: Shape 89">
                <a:extLst>
                  <a:ext uri="{FF2B5EF4-FFF2-40B4-BE49-F238E27FC236}">
                    <a16:creationId xmlns:a16="http://schemas.microsoft.com/office/drawing/2014/main" id="{B89700DF-E191-1E71-C3FC-9D4152BFEFC3}"/>
                  </a:ext>
                </a:extLst>
              </p:cNvPr>
              <p:cNvSpPr/>
              <p:nvPr/>
            </p:nvSpPr>
            <p:spPr>
              <a:xfrm>
                <a:off x="6231514" y="734952"/>
                <a:ext cx="31750" cy="39687"/>
              </a:xfrm>
              <a:custGeom>
                <a:avLst/>
                <a:gdLst>
                  <a:gd name="csX0" fmla="*/ 15875 w 31750"/>
                  <a:gd name="csY0" fmla="*/ 0 h 39687"/>
                  <a:gd name="csX1" fmla="*/ 11906 w 31750"/>
                  <a:gd name="csY1" fmla="*/ 3969 h 39687"/>
                  <a:gd name="csX2" fmla="*/ 11906 w 31750"/>
                  <a:gd name="csY2" fmla="*/ 26138 h 39687"/>
                  <a:gd name="csX3" fmla="*/ 6775 w 31750"/>
                  <a:gd name="csY3" fmla="*/ 21006 h 39687"/>
                  <a:gd name="csX4" fmla="*/ 1163 w 31750"/>
                  <a:gd name="csY4" fmla="*/ 21006 h 39687"/>
                  <a:gd name="csX5" fmla="*/ 1163 w 31750"/>
                  <a:gd name="csY5" fmla="*/ 26619 h 39687"/>
                  <a:gd name="csX6" fmla="*/ 13066 w 31750"/>
                  <a:gd name="csY6" fmla="*/ 38521 h 39687"/>
                  <a:gd name="csX7" fmla="*/ 15875 w 31750"/>
                  <a:gd name="csY7" fmla="*/ 39687 h 39687"/>
                  <a:gd name="csX8" fmla="*/ 18684 w 31750"/>
                  <a:gd name="csY8" fmla="*/ 38521 h 39687"/>
                  <a:gd name="csX9" fmla="*/ 30587 w 31750"/>
                  <a:gd name="csY9" fmla="*/ 26619 h 39687"/>
                  <a:gd name="csX10" fmla="*/ 30587 w 31750"/>
                  <a:gd name="csY10" fmla="*/ 21006 h 39687"/>
                  <a:gd name="csX11" fmla="*/ 24975 w 31750"/>
                  <a:gd name="csY11" fmla="*/ 21006 h 39687"/>
                  <a:gd name="csX12" fmla="*/ 19844 w 31750"/>
                  <a:gd name="csY12" fmla="*/ 26138 h 39687"/>
                  <a:gd name="csX13" fmla="*/ 19844 w 31750"/>
                  <a:gd name="csY13" fmla="*/ 3969 h 39687"/>
                  <a:gd name="csX14" fmla="*/ 15875 w 31750"/>
                  <a:gd name="csY14" fmla="*/ 0 h 3968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31750" h="39687">
                    <a:moveTo>
                      <a:pt x="15875" y="0"/>
                    </a:moveTo>
                    <a:cubicBezTo>
                      <a:pt x="13681" y="0"/>
                      <a:pt x="11906" y="1777"/>
                      <a:pt x="11906" y="3969"/>
                    </a:cubicBezTo>
                    <a:lnTo>
                      <a:pt x="11906" y="26138"/>
                    </a:lnTo>
                    <a:lnTo>
                      <a:pt x="6775" y="21006"/>
                    </a:lnTo>
                    <a:cubicBezTo>
                      <a:pt x="5224" y="19456"/>
                      <a:pt x="2713" y="19456"/>
                      <a:pt x="1163" y="21006"/>
                    </a:cubicBezTo>
                    <a:cubicBezTo>
                      <a:pt x="-388" y="22557"/>
                      <a:pt x="-388" y="25068"/>
                      <a:pt x="1163" y="26619"/>
                    </a:cubicBezTo>
                    <a:lnTo>
                      <a:pt x="13066" y="38521"/>
                    </a:lnTo>
                    <a:cubicBezTo>
                      <a:pt x="13792" y="39254"/>
                      <a:pt x="14843" y="39690"/>
                      <a:pt x="15875" y="39687"/>
                    </a:cubicBezTo>
                    <a:cubicBezTo>
                      <a:pt x="16907" y="39690"/>
                      <a:pt x="17958" y="39254"/>
                      <a:pt x="18684" y="38521"/>
                    </a:cubicBezTo>
                    <a:cubicBezTo>
                      <a:pt x="18684" y="38521"/>
                      <a:pt x="30587" y="26619"/>
                      <a:pt x="30587" y="26619"/>
                    </a:cubicBezTo>
                    <a:cubicBezTo>
                      <a:pt x="32138" y="25068"/>
                      <a:pt x="32138" y="22557"/>
                      <a:pt x="30587" y="21006"/>
                    </a:cubicBezTo>
                    <a:cubicBezTo>
                      <a:pt x="29037" y="19456"/>
                      <a:pt x="26526" y="19456"/>
                      <a:pt x="24975" y="21006"/>
                    </a:cubicBezTo>
                    <a:lnTo>
                      <a:pt x="19844" y="26138"/>
                    </a:lnTo>
                    <a:lnTo>
                      <a:pt x="19844" y="3969"/>
                    </a:lnTo>
                    <a:cubicBezTo>
                      <a:pt x="19844" y="1777"/>
                      <a:pt x="18069" y="0"/>
                      <a:pt x="15875" y="0"/>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91" name="Freeform: Shape 90">
                <a:extLst>
                  <a:ext uri="{FF2B5EF4-FFF2-40B4-BE49-F238E27FC236}">
                    <a16:creationId xmlns:a16="http://schemas.microsoft.com/office/drawing/2014/main" id="{66ACB6DE-77CC-72DA-FE22-E019F2BDAFD7}"/>
                  </a:ext>
                </a:extLst>
              </p:cNvPr>
              <p:cNvSpPr/>
              <p:nvPr/>
            </p:nvSpPr>
            <p:spPr>
              <a:xfrm>
                <a:off x="6108917" y="854133"/>
                <a:ext cx="39687" cy="39687"/>
              </a:xfrm>
              <a:custGeom>
                <a:avLst/>
                <a:gdLst>
                  <a:gd name="csX0" fmla="*/ 19844 w 39687"/>
                  <a:gd name="csY0" fmla="*/ 0 h 39687"/>
                  <a:gd name="csX1" fmla="*/ 15875 w 39687"/>
                  <a:gd name="csY1" fmla="*/ 3969 h 39687"/>
                  <a:gd name="csX2" fmla="*/ 15875 w 39687"/>
                  <a:gd name="csY2" fmla="*/ 15875 h 39687"/>
                  <a:gd name="csX3" fmla="*/ 3969 w 39687"/>
                  <a:gd name="csY3" fmla="*/ 15875 h 39687"/>
                  <a:gd name="csX4" fmla="*/ 0 w 39687"/>
                  <a:gd name="csY4" fmla="*/ 19844 h 39687"/>
                  <a:gd name="csX5" fmla="*/ 3969 w 39687"/>
                  <a:gd name="csY5" fmla="*/ 23813 h 39687"/>
                  <a:gd name="csX6" fmla="*/ 15875 w 39687"/>
                  <a:gd name="csY6" fmla="*/ 23813 h 39687"/>
                  <a:gd name="csX7" fmla="*/ 15875 w 39687"/>
                  <a:gd name="csY7" fmla="*/ 35719 h 39687"/>
                  <a:gd name="csX8" fmla="*/ 19844 w 39687"/>
                  <a:gd name="csY8" fmla="*/ 39688 h 39687"/>
                  <a:gd name="csX9" fmla="*/ 23812 w 39687"/>
                  <a:gd name="csY9" fmla="*/ 35719 h 39687"/>
                  <a:gd name="csX10" fmla="*/ 23812 w 39687"/>
                  <a:gd name="csY10" fmla="*/ 23813 h 39687"/>
                  <a:gd name="csX11" fmla="*/ 35719 w 39687"/>
                  <a:gd name="csY11" fmla="*/ 23813 h 39687"/>
                  <a:gd name="csX12" fmla="*/ 39687 w 39687"/>
                  <a:gd name="csY12" fmla="*/ 19844 h 39687"/>
                  <a:gd name="csX13" fmla="*/ 35719 w 39687"/>
                  <a:gd name="csY13" fmla="*/ 15875 h 39687"/>
                  <a:gd name="csX14" fmla="*/ 23812 w 39687"/>
                  <a:gd name="csY14" fmla="*/ 15875 h 39687"/>
                  <a:gd name="csX15" fmla="*/ 23812 w 39687"/>
                  <a:gd name="csY15" fmla="*/ 3969 h 39687"/>
                  <a:gd name="csX16" fmla="*/ 19844 w 39687"/>
                  <a:gd name="csY16" fmla="*/ 0 h 3968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39687" h="39687">
                    <a:moveTo>
                      <a:pt x="19844" y="0"/>
                    </a:moveTo>
                    <a:cubicBezTo>
                      <a:pt x="17650" y="0"/>
                      <a:pt x="15875" y="1775"/>
                      <a:pt x="15875" y="3969"/>
                    </a:cubicBezTo>
                    <a:lnTo>
                      <a:pt x="15875" y="15875"/>
                    </a:lnTo>
                    <a:lnTo>
                      <a:pt x="3969" y="15875"/>
                    </a:lnTo>
                    <a:cubicBezTo>
                      <a:pt x="1775" y="15875"/>
                      <a:pt x="0" y="17650"/>
                      <a:pt x="0" y="19844"/>
                    </a:cubicBezTo>
                    <a:cubicBezTo>
                      <a:pt x="0" y="22037"/>
                      <a:pt x="1775" y="23813"/>
                      <a:pt x="3969" y="23813"/>
                    </a:cubicBezTo>
                    <a:lnTo>
                      <a:pt x="15875" y="23813"/>
                    </a:lnTo>
                    <a:lnTo>
                      <a:pt x="15875" y="35719"/>
                    </a:lnTo>
                    <a:cubicBezTo>
                      <a:pt x="15875" y="37912"/>
                      <a:pt x="17650" y="39688"/>
                      <a:pt x="19844" y="39688"/>
                    </a:cubicBezTo>
                    <a:cubicBezTo>
                      <a:pt x="22037" y="39688"/>
                      <a:pt x="23812" y="37912"/>
                      <a:pt x="23812" y="35719"/>
                    </a:cubicBezTo>
                    <a:lnTo>
                      <a:pt x="23812" y="23813"/>
                    </a:lnTo>
                    <a:lnTo>
                      <a:pt x="35719" y="23813"/>
                    </a:lnTo>
                    <a:cubicBezTo>
                      <a:pt x="37912" y="23813"/>
                      <a:pt x="39687" y="22037"/>
                      <a:pt x="39687" y="19844"/>
                    </a:cubicBezTo>
                    <a:cubicBezTo>
                      <a:pt x="39687" y="17650"/>
                      <a:pt x="37912" y="15875"/>
                      <a:pt x="35719" y="15875"/>
                    </a:cubicBezTo>
                    <a:lnTo>
                      <a:pt x="23812" y="15875"/>
                    </a:lnTo>
                    <a:lnTo>
                      <a:pt x="23812" y="3969"/>
                    </a:lnTo>
                    <a:cubicBezTo>
                      <a:pt x="23812" y="1775"/>
                      <a:pt x="22037" y="0"/>
                      <a:pt x="19844" y="0"/>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92" name="Freeform: Shape 91">
                <a:extLst>
                  <a:ext uri="{FF2B5EF4-FFF2-40B4-BE49-F238E27FC236}">
                    <a16:creationId xmlns:a16="http://schemas.microsoft.com/office/drawing/2014/main" id="{DEA240D8-B395-32B5-77B5-E5194AB1E1EB}"/>
                  </a:ext>
                </a:extLst>
              </p:cNvPr>
              <p:cNvSpPr/>
              <p:nvPr/>
            </p:nvSpPr>
            <p:spPr>
              <a:xfrm>
                <a:off x="6227602" y="869733"/>
                <a:ext cx="39573" cy="7937"/>
              </a:xfrm>
              <a:custGeom>
                <a:avLst/>
                <a:gdLst>
                  <a:gd name="csX0" fmla="*/ 3912 w 39573"/>
                  <a:gd name="csY0" fmla="*/ 7938 h 7937"/>
                  <a:gd name="csX1" fmla="*/ 35662 w 39573"/>
                  <a:gd name="csY1" fmla="*/ 7938 h 7937"/>
                  <a:gd name="csX2" fmla="*/ 35662 w 39573"/>
                  <a:gd name="csY2" fmla="*/ 0 h 7937"/>
                  <a:gd name="csX3" fmla="*/ 3912 w 39573"/>
                  <a:gd name="csY3" fmla="*/ 0 h 7937"/>
                  <a:gd name="csX4" fmla="*/ 3912 w 39573"/>
                  <a:gd name="csY4" fmla="*/ 7938 h 7937"/>
                </a:gdLst>
                <a:ahLst/>
                <a:cxnLst>
                  <a:cxn ang="0">
                    <a:pos x="csX0" y="csY0"/>
                  </a:cxn>
                  <a:cxn ang="0">
                    <a:pos x="csX1" y="csY1"/>
                  </a:cxn>
                  <a:cxn ang="0">
                    <a:pos x="csX2" y="csY2"/>
                  </a:cxn>
                  <a:cxn ang="0">
                    <a:pos x="csX3" y="csY3"/>
                  </a:cxn>
                  <a:cxn ang="0">
                    <a:pos x="csX4" y="csY4"/>
                  </a:cxn>
                </a:cxnLst>
                <a:rect l="l" t="t" r="r" b="b"/>
                <a:pathLst>
                  <a:path w="39573" h="7937">
                    <a:moveTo>
                      <a:pt x="3912" y="7938"/>
                    </a:moveTo>
                    <a:lnTo>
                      <a:pt x="35662" y="7938"/>
                    </a:lnTo>
                    <a:cubicBezTo>
                      <a:pt x="40870" y="7854"/>
                      <a:pt x="40886" y="87"/>
                      <a:pt x="35662" y="0"/>
                    </a:cubicBezTo>
                    <a:lnTo>
                      <a:pt x="3912" y="0"/>
                    </a:lnTo>
                    <a:cubicBezTo>
                      <a:pt x="-1296" y="83"/>
                      <a:pt x="-1312" y="7851"/>
                      <a:pt x="3912" y="7938"/>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93" name="Group 92">
            <a:extLst>
              <a:ext uri="{FF2B5EF4-FFF2-40B4-BE49-F238E27FC236}">
                <a16:creationId xmlns:a16="http://schemas.microsoft.com/office/drawing/2014/main" id="{0597535A-86F3-B2D7-1C4B-A2FD9BE3C64B}"/>
              </a:ext>
            </a:extLst>
          </p:cNvPr>
          <p:cNvGrpSpPr/>
          <p:nvPr/>
        </p:nvGrpSpPr>
        <p:grpSpPr>
          <a:xfrm>
            <a:off x="7936609" y="2889144"/>
            <a:ext cx="457200" cy="457200"/>
            <a:chOff x="7936609" y="3156397"/>
            <a:chExt cx="457200" cy="457200"/>
          </a:xfrm>
        </p:grpSpPr>
        <p:sp>
          <p:nvSpPr>
            <p:cNvPr id="94" name="Oval 93">
              <a:extLst>
                <a:ext uri="{FF2B5EF4-FFF2-40B4-BE49-F238E27FC236}">
                  <a16:creationId xmlns:a16="http://schemas.microsoft.com/office/drawing/2014/main" id="{8F10B42F-16A5-05BF-1BFC-755C8DD0098A}"/>
                </a:ext>
              </a:extLst>
            </p:cNvPr>
            <p:cNvSpPr>
              <a:spLocks noChangeAspect="1"/>
            </p:cNvSpPr>
            <p:nvPr/>
          </p:nvSpPr>
          <p:spPr>
            <a:xfrm>
              <a:off x="7936609" y="3156397"/>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sp>
          <p:nvSpPr>
            <p:cNvPr id="95" name="Pic">
              <a:extLst>
                <a:ext uri="{FF2B5EF4-FFF2-40B4-BE49-F238E27FC236}">
                  <a16:creationId xmlns:a16="http://schemas.microsoft.com/office/drawing/2014/main" id="{B90EAB71-2AA0-88AE-3B8A-91D859F0EBF6}"/>
                </a:ext>
              </a:extLst>
            </p:cNvPr>
            <p:cNvSpPr>
              <a:spLocks noChangeAspect="1"/>
            </p:cNvSpPr>
            <p:nvPr/>
          </p:nvSpPr>
          <p:spPr>
            <a:xfrm>
              <a:off x="8056026" y="3257866"/>
              <a:ext cx="218367" cy="254260"/>
            </a:xfrm>
            <a:custGeom>
              <a:avLst/>
              <a:gdLst>
                <a:gd name="csX0" fmla="*/ 131773 w 198515"/>
                <a:gd name="csY0" fmla="*/ 153941 h 231145"/>
                <a:gd name="csX1" fmla="*/ 144766 w 198515"/>
                <a:gd name="csY1" fmla="*/ 161452 h 231145"/>
                <a:gd name="csX2" fmla="*/ 146229 w 198515"/>
                <a:gd name="csY2" fmla="*/ 166840 h 231145"/>
                <a:gd name="csX3" fmla="*/ 140827 w 198515"/>
                <a:gd name="csY3" fmla="*/ 168303 h 231145"/>
                <a:gd name="csX4" fmla="*/ 127819 w 198515"/>
                <a:gd name="csY4" fmla="*/ 160792 h 231145"/>
                <a:gd name="csX5" fmla="*/ 103421 w 198515"/>
                <a:gd name="csY5" fmla="*/ 150459 h 231145"/>
                <a:gd name="csX6" fmla="*/ 113839 w 198515"/>
                <a:gd name="csY6" fmla="*/ 136623 h 231145"/>
                <a:gd name="csX7" fmla="*/ 113839 w 198515"/>
                <a:gd name="csY7" fmla="*/ 125783 h 231145"/>
                <a:gd name="csX8" fmla="*/ 117818 w 198515"/>
                <a:gd name="csY8" fmla="*/ 121819 h 231145"/>
                <a:gd name="csX9" fmla="*/ 121782 w 198515"/>
                <a:gd name="csY9" fmla="*/ 125783 h 231145"/>
                <a:gd name="csX10" fmla="*/ 121782 w 198515"/>
                <a:gd name="csY10" fmla="*/ 136623 h 231145"/>
                <a:gd name="csX11" fmla="*/ 131773 w 198515"/>
                <a:gd name="csY11" fmla="*/ 153941 h 231145"/>
                <a:gd name="csX12" fmla="*/ 117823 w 198515"/>
                <a:gd name="csY12" fmla="*/ 156898 h 231145"/>
                <a:gd name="csX13" fmla="*/ 122377 w 198515"/>
                <a:gd name="csY13" fmla="*/ 145885 h 231145"/>
                <a:gd name="csX14" fmla="*/ 111364 w 198515"/>
                <a:gd name="csY14" fmla="*/ 150454 h 231145"/>
                <a:gd name="csX15" fmla="*/ 117823 w 198515"/>
                <a:gd name="csY15" fmla="*/ 156898 h 231145"/>
                <a:gd name="csX16" fmla="*/ 117823 w 198515"/>
                <a:gd name="csY16" fmla="*/ 193415 h 231145"/>
                <a:gd name="csX17" fmla="*/ 160785 w 198515"/>
                <a:gd name="csY17" fmla="*/ 150454 h 231145"/>
                <a:gd name="csX18" fmla="*/ 117823 w 198515"/>
                <a:gd name="csY18" fmla="*/ 107477 h 231145"/>
                <a:gd name="csX19" fmla="*/ 74846 w 198515"/>
                <a:gd name="csY19" fmla="*/ 150454 h 231145"/>
                <a:gd name="csX20" fmla="*/ 117823 w 198515"/>
                <a:gd name="csY20" fmla="*/ 193415 h 231145"/>
                <a:gd name="csX21" fmla="*/ 153810 w 198515"/>
                <a:gd name="csY21" fmla="*/ 186440 h 231145"/>
                <a:gd name="csX22" fmla="*/ 117823 w 198515"/>
                <a:gd name="csY22" fmla="*/ 201348 h 231145"/>
                <a:gd name="csX23" fmla="*/ 101695 w 198515"/>
                <a:gd name="csY23" fmla="*/ 198748 h 231145"/>
                <a:gd name="csX24" fmla="*/ 87814 w 198515"/>
                <a:gd name="csY24" fmla="*/ 201348 h 231145"/>
                <a:gd name="csX25" fmla="*/ 52602 w 198515"/>
                <a:gd name="csY25" fmla="*/ 201348 h 231145"/>
                <a:gd name="csX26" fmla="*/ 14085 w 198515"/>
                <a:gd name="csY26" fmla="*/ 162831 h 231145"/>
                <a:gd name="csX27" fmla="*/ 14085 w 198515"/>
                <a:gd name="csY27" fmla="*/ 102208 h 231145"/>
                <a:gd name="csX28" fmla="*/ 18049 w 198515"/>
                <a:gd name="csY28" fmla="*/ 98245 h 231145"/>
                <a:gd name="csX29" fmla="*/ 44823 w 198515"/>
                <a:gd name="csY29" fmla="*/ 98245 h 231145"/>
                <a:gd name="csX30" fmla="*/ 48787 w 198515"/>
                <a:gd name="csY30" fmla="*/ 102208 h 231145"/>
                <a:gd name="csX31" fmla="*/ 48787 w 198515"/>
                <a:gd name="csY31" fmla="*/ 158208 h 231145"/>
                <a:gd name="csX32" fmla="*/ 57687 w 198515"/>
                <a:gd name="csY32" fmla="*/ 167107 h 231145"/>
                <a:gd name="csX33" fmla="*/ 69697 w 198515"/>
                <a:gd name="csY33" fmla="*/ 167107 h 231145"/>
                <a:gd name="csX34" fmla="*/ 81817 w 198515"/>
                <a:gd name="csY34" fmla="*/ 114457 h 231145"/>
                <a:gd name="csX35" fmla="*/ 104865 w 198515"/>
                <a:gd name="csY35" fmla="*/ 101211 h 231145"/>
                <a:gd name="csX36" fmla="*/ 116608 w 198515"/>
                <a:gd name="csY36" fmla="*/ 86770 h 231145"/>
                <a:gd name="csX37" fmla="*/ 116623 w 198515"/>
                <a:gd name="csY37" fmla="*/ 86770 h 231145"/>
                <a:gd name="csX38" fmla="*/ 125860 w 198515"/>
                <a:gd name="csY38" fmla="*/ 61459 h 231145"/>
                <a:gd name="csX39" fmla="*/ 125899 w 198515"/>
                <a:gd name="csY39" fmla="*/ 50307 h 231145"/>
                <a:gd name="csX40" fmla="*/ 116012 w 198515"/>
                <a:gd name="csY40" fmla="*/ 50446 h 231145"/>
                <a:gd name="csX41" fmla="*/ 112440 w 198515"/>
                <a:gd name="csY41" fmla="*/ 44384 h 231145"/>
                <a:gd name="csX42" fmla="*/ 139190 w 198515"/>
                <a:gd name="csY42" fmla="*/ 1844 h 231145"/>
                <a:gd name="csX43" fmla="*/ 145828 w 198515"/>
                <a:gd name="csY43" fmla="*/ 1745 h 231145"/>
                <a:gd name="csX44" fmla="*/ 173758 w 198515"/>
                <a:gd name="csY44" fmla="*/ 43526 h 231145"/>
                <a:gd name="csX45" fmla="*/ 170523 w 198515"/>
                <a:gd name="csY45" fmla="*/ 49687 h 231145"/>
                <a:gd name="csX46" fmla="*/ 160358 w 198515"/>
                <a:gd name="csY46" fmla="*/ 49826 h 231145"/>
                <a:gd name="csX47" fmla="*/ 160443 w 198515"/>
                <a:gd name="csY47" fmla="*/ 73058 h 231145"/>
                <a:gd name="csX48" fmla="*/ 157714 w 198515"/>
                <a:gd name="csY48" fmla="*/ 89538 h 231145"/>
                <a:gd name="csX49" fmla="*/ 149429 w 198515"/>
                <a:gd name="csY49" fmla="*/ 103335 h 231145"/>
                <a:gd name="csX50" fmla="*/ 145728 w 198515"/>
                <a:gd name="csY50" fmla="*/ 107889 h 231145"/>
                <a:gd name="csX51" fmla="*/ 153810 w 198515"/>
                <a:gd name="csY51" fmla="*/ 186440 h 231145"/>
                <a:gd name="csX52" fmla="*/ 90344 w 198515"/>
                <a:gd name="csY52" fmla="*/ 193316 h 231145"/>
                <a:gd name="csX53" fmla="*/ 73244 w 198515"/>
                <a:gd name="csY53" fmla="*/ 175035 h 231145"/>
                <a:gd name="csX54" fmla="*/ 57692 w 198515"/>
                <a:gd name="csY54" fmla="*/ 175035 h 231145"/>
                <a:gd name="csX55" fmla="*/ 40859 w 198515"/>
                <a:gd name="csY55" fmla="*/ 158203 h 231145"/>
                <a:gd name="csX56" fmla="*/ 40859 w 198515"/>
                <a:gd name="csY56" fmla="*/ 106172 h 231145"/>
                <a:gd name="csX57" fmla="*/ 22017 w 198515"/>
                <a:gd name="csY57" fmla="*/ 106172 h 231145"/>
                <a:gd name="csX58" fmla="*/ 22017 w 198515"/>
                <a:gd name="csY58" fmla="*/ 162831 h 231145"/>
                <a:gd name="csX59" fmla="*/ 52602 w 198515"/>
                <a:gd name="csY59" fmla="*/ 193415 h 231145"/>
                <a:gd name="csX60" fmla="*/ 87814 w 198515"/>
                <a:gd name="csY60" fmla="*/ 193415 h 231145"/>
                <a:gd name="csX61" fmla="*/ 90344 w 198515"/>
                <a:gd name="csY61" fmla="*/ 193316 h 231145"/>
                <a:gd name="csX62" fmla="*/ 116404 w 198515"/>
                <a:gd name="csY62" fmla="*/ 99564 h 231145"/>
                <a:gd name="csX63" fmla="*/ 138694 w 198515"/>
                <a:gd name="csY63" fmla="*/ 104009 h 231145"/>
                <a:gd name="csX64" fmla="*/ 143531 w 198515"/>
                <a:gd name="csY64" fmla="*/ 98091 h 231145"/>
                <a:gd name="csX65" fmla="*/ 150283 w 198515"/>
                <a:gd name="csY65" fmla="*/ 86840 h 231145"/>
                <a:gd name="csX66" fmla="*/ 152545 w 198515"/>
                <a:gd name="csY66" fmla="*/ 73058 h 231145"/>
                <a:gd name="csX67" fmla="*/ 152445 w 198515"/>
                <a:gd name="csY67" fmla="*/ 45932 h 231145"/>
                <a:gd name="csX68" fmla="*/ 156355 w 198515"/>
                <a:gd name="csY68" fmla="*/ 41978 h 231145"/>
                <a:gd name="csX69" fmla="*/ 163146 w 198515"/>
                <a:gd name="csY69" fmla="*/ 41879 h 231145"/>
                <a:gd name="csX70" fmla="*/ 142658 w 198515"/>
                <a:gd name="csY70" fmla="*/ 11220 h 231145"/>
                <a:gd name="csX71" fmla="*/ 123027 w 198515"/>
                <a:gd name="csY71" fmla="*/ 42439 h 231145"/>
                <a:gd name="csX72" fmla="*/ 129834 w 198515"/>
                <a:gd name="csY72" fmla="*/ 42340 h 231145"/>
                <a:gd name="csX73" fmla="*/ 133842 w 198515"/>
                <a:gd name="csY73" fmla="*/ 46249 h 231145"/>
                <a:gd name="csX74" fmla="*/ 133773 w 198515"/>
                <a:gd name="csY74" fmla="*/ 61494 h 231145"/>
                <a:gd name="csX75" fmla="*/ 122759 w 198515"/>
                <a:gd name="csY75" fmla="*/ 91741 h 231145"/>
                <a:gd name="csX76" fmla="*/ 122759 w 198515"/>
                <a:gd name="csY76" fmla="*/ 91756 h 231145"/>
                <a:gd name="csX77" fmla="*/ 48593 w 198515"/>
                <a:gd name="csY77" fmla="*/ 21038 h 231145"/>
                <a:gd name="csX78" fmla="*/ 48524 w 198515"/>
                <a:gd name="csY78" fmla="*/ 43114 h 231145"/>
                <a:gd name="csX79" fmla="*/ 58689 w 198515"/>
                <a:gd name="csY79" fmla="*/ 43253 h 231145"/>
                <a:gd name="csX80" fmla="*/ 61938 w 198515"/>
                <a:gd name="csY80" fmla="*/ 49414 h 231145"/>
                <a:gd name="csX81" fmla="*/ 33998 w 198515"/>
                <a:gd name="csY81" fmla="*/ 91195 h 231145"/>
                <a:gd name="csX82" fmla="*/ 27375 w 198515"/>
                <a:gd name="csY82" fmla="*/ 91096 h 231145"/>
                <a:gd name="csX83" fmla="*/ 611 w 198515"/>
                <a:gd name="csY83" fmla="*/ 48556 h 231145"/>
                <a:gd name="csX84" fmla="*/ 4198 w 198515"/>
                <a:gd name="csY84" fmla="*/ 42494 h 231145"/>
                <a:gd name="csX85" fmla="*/ 14085 w 198515"/>
                <a:gd name="csY85" fmla="*/ 42633 h 231145"/>
                <a:gd name="csX86" fmla="*/ 14030 w 198515"/>
                <a:gd name="csY86" fmla="*/ 22749 h 231145"/>
                <a:gd name="csX87" fmla="*/ 13991 w 198515"/>
                <a:gd name="csY87" fmla="*/ 20839 h 231145"/>
                <a:gd name="csX88" fmla="*/ 17945 w 198515"/>
                <a:gd name="csY88" fmla="*/ 16717 h 231145"/>
                <a:gd name="csX89" fmla="*/ 17945 w 198515"/>
                <a:gd name="csY89" fmla="*/ 16707 h 231145"/>
                <a:gd name="csX90" fmla="*/ 44649 w 198515"/>
                <a:gd name="csY90" fmla="*/ 16707 h 231145"/>
                <a:gd name="csX91" fmla="*/ 48593 w 198515"/>
                <a:gd name="csY91" fmla="*/ 21038 h 231145"/>
                <a:gd name="csX92" fmla="*/ 40606 w 198515"/>
                <a:gd name="csY92" fmla="*/ 47013 h 231145"/>
                <a:gd name="csX93" fmla="*/ 40676 w 198515"/>
                <a:gd name="csY93" fmla="*/ 24639 h 231145"/>
                <a:gd name="csX94" fmla="*/ 21943 w 198515"/>
                <a:gd name="csY94" fmla="*/ 24639 h 231145"/>
                <a:gd name="csX95" fmla="*/ 21998 w 198515"/>
                <a:gd name="csY95" fmla="*/ 46691 h 231145"/>
                <a:gd name="csX96" fmla="*/ 18004 w 198515"/>
                <a:gd name="csY96" fmla="*/ 50600 h 231145"/>
                <a:gd name="csX97" fmla="*/ 11183 w 198515"/>
                <a:gd name="csY97" fmla="*/ 50501 h 231145"/>
                <a:gd name="csX98" fmla="*/ 30813 w 198515"/>
                <a:gd name="csY98" fmla="*/ 81720 h 231145"/>
                <a:gd name="csX99" fmla="*/ 51317 w 198515"/>
                <a:gd name="csY99" fmla="*/ 51061 h 231145"/>
                <a:gd name="csX100" fmla="*/ 44510 w 198515"/>
                <a:gd name="csY100" fmla="*/ 50977 h 231145"/>
                <a:gd name="csX101" fmla="*/ 40606 w 198515"/>
                <a:gd name="csY101" fmla="*/ 47013 h 231145"/>
                <a:gd name="csX102" fmla="*/ 83697 w 198515"/>
                <a:gd name="csY102" fmla="*/ 208531 h 231145"/>
                <a:gd name="csX103" fmla="*/ 87254 w 198515"/>
                <a:gd name="csY103" fmla="*/ 204230 h 231145"/>
                <a:gd name="csX104" fmla="*/ 91570 w 198515"/>
                <a:gd name="csY104" fmla="*/ 207787 h 231145"/>
                <a:gd name="csX105" fmla="*/ 92696 w 198515"/>
                <a:gd name="csY105" fmla="*/ 219316 h 231145"/>
                <a:gd name="csX106" fmla="*/ 105143 w 198515"/>
                <a:gd name="csY106" fmla="*/ 222650 h 231145"/>
                <a:gd name="csX107" fmla="*/ 111880 w 198515"/>
                <a:gd name="csY107" fmla="*/ 213229 h 231145"/>
                <a:gd name="csX108" fmla="*/ 115382 w 198515"/>
                <a:gd name="csY108" fmla="*/ 211582 h 231145"/>
                <a:gd name="csX109" fmla="*/ 136109 w 198515"/>
                <a:gd name="csY109" fmla="*/ 208814 h 231145"/>
                <a:gd name="csX110" fmla="*/ 139989 w 198515"/>
                <a:gd name="csY110" fmla="*/ 209712 h 231145"/>
                <a:gd name="csX111" fmla="*/ 148750 w 198515"/>
                <a:gd name="csY111" fmla="*/ 216910 h 231145"/>
                <a:gd name="csX112" fmla="*/ 159917 w 198515"/>
                <a:gd name="csY112" fmla="*/ 210471 h 231145"/>
                <a:gd name="csX113" fmla="*/ 158007 w 198515"/>
                <a:gd name="csY113" fmla="*/ 199011 h 231145"/>
                <a:gd name="csX114" fmla="*/ 159242 w 198515"/>
                <a:gd name="csY114" fmla="*/ 195469 h 231145"/>
                <a:gd name="csX115" fmla="*/ 159227 w 198515"/>
                <a:gd name="csY115" fmla="*/ 195469 h 231145"/>
                <a:gd name="csX116" fmla="*/ 172036 w 198515"/>
                <a:gd name="csY116" fmla="*/ 178805 h 231145"/>
                <a:gd name="csX117" fmla="*/ 175157 w 198515"/>
                <a:gd name="csY117" fmla="*/ 176697 h 231145"/>
                <a:gd name="csX118" fmla="*/ 186686 w 198515"/>
                <a:gd name="csY118" fmla="*/ 175571 h 231145"/>
                <a:gd name="csX119" fmla="*/ 190020 w 198515"/>
                <a:gd name="csY119" fmla="*/ 163124 h 231145"/>
                <a:gd name="csX120" fmla="*/ 180599 w 198515"/>
                <a:gd name="csY120" fmla="*/ 156387 h 231145"/>
                <a:gd name="csX121" fmla="*/ 178937 w 198515"/>
                <a:gd name="csY121" fmla="*/ 152884 h 231145"/>
                <a:gd name="csX122" fmla="*/ 176179 w 198515"/>
                <a:gd name="csY122" fmla="*/ 132158 h 231145"/>
                <a:gd name="csX123" fmla="*/ 177077 w 198515"/>
                <a:gd name="csY123" fmla="*/ 128278 h 231145"/>
                <a:gd name="csX124" fmla="*/ 184290 w 198515"/>
                <a:gd name="csY124" fmla="*/ 119502 h 231145"/>
                <a:gd name="csX125" fmla="*/ 177850 w 198515"/>
                <a:gd name="csY125" fmla="*/ 108350 h 231145"/>
                <a:gd name="csX126" fmla="*/ 166376 w 198515"/>
                <a:gd name="csY126" fmla="*/ 110260 h 231145"/>
                <a:gd name="csX127" fmla="*/ 162834 w 198515"/>
                <a:gd name="csY127" fmla="*/ 109035 h 231145"/>
                <a:gd name="csX128" fmla="*/ 158701 w 198515"/>
                <a:gd name="csY128" fmla="*/ 104942 h 231145"/>
                <a:gd name="csX129" fmla="*/ 158404 w 198515"/>
                <a:gd name="csY129" fmla="*/ 99346 h 231145"/>
                <a:gd name="csX130" fmla="*/ 164000 w 198515"/>
                <a:gd name="csY130" fmla="*/ 99048 h 231145"/>
                <a:gd name="csX131" fmla="*/ 167165 w 198515"/>
                <a:gd name="csY131" fmla="*/ 102099 h 231145"/>
                <a:gd name="csX132" fmla="*/ 179259 w 198515"/>
                <a:gd name="csY132" fmla="*/ 100090 h 231145"/>
                <a:gd name="csX133" fmla="*/ 183322 w 198515"/>
                <a:gd name="csY133" fmla="*/ 102030 h 231145"/>
                <a:gd name="csX134" fmla="*/ 192421 w 198515"/>
                <a:gd name="csY134" fmla="*/ 117781 h 231145"/>
                <a:gd name="csX135" fmla="*/ 192123 w 198515"/>
                <a:gd name="csY135" fmla="*/ 122409 h 231145"/>
                <a:gd name="csX136" fmla="*/ 184359 w 198515"/>
                <a:gd name="csY136" fmla="*/ 131860 h 231145"/>
                <a:gd name="csX137" fmla="*/ 186889 w 198515"/>
                <a:gd name="csY137" fmla="*/ 151168 h 231145"/>
                <a:gd name="csX138" fmla="*/ 196662 w 198515"/>
                <a:gd name="csY138" fmla="*/ 158143 h 231145"/>
                <a:gd name="csX139" fmla="*/ 198379 w 198515"/>
                <a:gd name="csY139" fmla="*/ 162529 h 231145"/>
                <a:gd name="csX140" fmla="*/ 193626 w 198515"/>
                <a:gd name="csY140" fmla="*/ 180259 h 231145"/>
                <a:gd name="csX141" fmla="*/ 190168 w 198515"/>
                <a:gd name="csY141" fmla="*/ 183171 h 231145"/>
                <a:gd name="csX142" fmla="*/ 178004 w 198515"/>
                <a:gd name="csY142" fmla="*/ 184367 h 231145"/>
                <a:gd name="csX143" fmla="*/ 166148 w 198515"/>
                <a:gd name="csY143" fmla="*/ 199805 h 231145"/>
                <a:gd name="csX144" fmla="*/ 168132 w 198515"/>
                <a:gd name="csY144" fmla="*/ 211746 h 231145"/>
                <a:gd name="csX145" fmla="*/ 166232 w 198515"/>
                <a:gd name="csY145" fmla="*/ 215953 h 231145"/>
                <a:gd name="csX146" fmla="*/ 150342 w 198515"/>
                <a:gd name="csY146" fmla="*/ 225136 h 231145"/>
                <a:gd name="csX147" fmla="*/ 145842 w 198515"/>
                <a:gd name="csY147" fmla="*/ 224768 h 231145"/>
                <a:gd name="csX148" fmla="*/ 136392 w 198515"/>
                <a:gd name="csY148" fmla="*/ 216990 h 231145"/>
                <a:gd name="csX149" fmla="*/ 117084 w 198515"/>
                <a:gd name="csY149" fmla="*/ 219535 h 231145"/>
                <a:gd name="csX150" fmla="*/ 110109 w 198515"/>
                <a:gd name="csY150" fmla="*/ 229293 h 231145"/>
                <a:gd name="csX151" fmla="*/ 105723 w 198515"/>
                <a:gd name="csY151" fmla="*/ 231009 h 231145"/>
                <a:gd name="csX152" fmla="*/ 87993 w 198515"/>
                <a:gd name="csY152" fmla="*/ 226257 h 231145"/>
                <a:gd name="csX153" fmla="*/ 85081 w 198515"/>
                <a:gd name="csY153" fmla="*/ 222799 h 231145"/>
                <a:gd name="csX154" fmla="*/ 107251 w 198515"/>
                <a:gd name="csY154" fmla="*/ 82166 h 231145"/>
                <a:gd name="csX155" fmla="*/ 111766 w 198515"/>
                <a:gd name="csY155" fmla="*/ 85470 h 231145"/>
                <a:gd name="csX156" fmla="*/ 108462 w 198515"/>
                <a:gd name="csY156" fmla="*/ 89985 h 231145"/>
                <a:gd name="csX157" fmla="*/ 99532 w 198515"/>
                <a:gd name="csY157" fmla="*/ 92078 h 231145"/>
                <a:gd name="csX158" fmla="*/ 95653 w 198515"/>
                <a:gd name="csY158" fmla="*/ 91180 h 231145"/>
                <a:gd name="csX159" fmla="*/ 86877 w 198515"/>
                <a:gd name="csY159" fmla="*/ 83982 h 231145"/>
                <a:gd name="csX160" fmla="*/ 75725 w 198515"/>
                <a:gd name="csY160" fmla="*/ 90406 h 231145"/>
                <a:gd name="csX161" fmla="*/ 77639 w 198515"/>
                <a:gd name="csY161" fmla="*/ 101881 h 231145"/>
                <a:gd name="csX162" fmla="*/ 76404 w 198515"/>
                <a:gd name="csY162" fmla="*/ 105423 h 231145"/>
                <a:gd name="csX163" fmla="*/ 76419 w 198515"/>
                <a:gd name="csY163" fmla="*/ 105423 h 231145"/>
                <a:gd name="csX164" fmla="*/ 63610 w 198515"/>
                <a:gd name="csY164" fmla="*/ 122087 h 231145"/>
                <a:gd name="csX165" fmla="*/ 58282 w 198515"/>
                <a:gd name="csY165" fmla="*/ 123759 h 231145"/>
                <a:gd name="csX166" fmla="*/ 56610 w 198515"/>
                <a:gd name="csY166" fmla="*/ 118431 h 231145"/>
                <a:gd name="csX167" fmla="*/ 69494 w 198515"/>
                <a:gd name="csY167" fmla="*/ 101077 h 231145"/>
                <a:gd name="csX168" fmla="*/ 67484 w 198515"/>
                <a:gd name="csY168" fmla="*/ 88998 h 231145"/>
                <a:gd name="csX169" fmla="*/ 69424 w 198515"/>
                <a:gd name="csY169" fmla="*/ 84935 h 231145"/>
                <a:gd name="csX170" fmla="*/ 85175 w 198515"/>
                <a:gd name="csY170" fmla="*/ 75836 h 231145"/>
                <a:gd name="csX171" fmla="*/ 89804 w 198515"/>
                <a:gd name="csY171" fmla="*/ 76134 h 231145"/>
                <a:gd name="csX172" fmla="*/ 99254 w 198515"/>
                <a:gd name="csY172" fmla="*/ 83898 h 231145"/>
                <a:gd name="csX173" fmla="*/ 107251 w 198515"/>
                <a:gd name="csY173" fmla="*/ 82166 h 23114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Lst>
              <a:rect l="l" t="t" r="r" b="b"/>
              <a:pathLst>
                <a:path w="198515" h="231145">
                  <a:moveTo>
                    <a:pt x="131773" y="153941"/>
                  </a:moveTo>
                  <a:lnTo>
                    <a:pt x="144766" y="161452"/>
                  </a:lnTo>
                  <a:cubicBezTo>
                    <a:pt x="146666" y="162533"/>
                    <a:pt x="147311" y="164954"/>
                    <a:pt x="146229" y="166840"/>
                  </a:cubicBezTo>
                  <a:cubicBezTo>
                    <a:pt x="145148" y="168740"/>
                    <a:pt x="142727" y="169385"/>
                    <a:pt x="140827" y="168303"/>
                  </a:cubicBezTo>
                  <a:lnTo>
                    <a:pt x="127819" y="160792"/>
                  </a:lnTo>
                  <a:cubicBezTo>
                    <a:pt x="118706" y="169608"/>
                    <a:pt x="103421" y="163114"/>
                    <a:pt x="103421" y="150459"/>
                  </a:cubicBezTo>
                  <a:cubicBezTo>
                    <a:pt x="103421" y="143960"/>
                    <a:pt x="107767" y="138364"/>
                    <a:pt x="113839" y="136623"/>
                  </a:cubicBezTo>
                  <a:lnTo>
                    <a:pt x="113839" y="125783"/>
                  </a:lnTo>
                  <a:cubicBezTo>
                    <a:pt x="113839" y="123590"/>
                    <a:pt x="115625" y="121819"/>
                    <a:pt x="117818" y="121819"/>
                  </a:cubicBezTo>
                  <a:cubicBezTo>
                    <a:pt x="119996" y="121819"/>
                    <a:pt x="121782" y="123590"/>
                    <a:pt x="121782" y="125783"/>
                  </a:cubicBezTo>
                  <a:lnTo>
                    <a:pt x="121782" y="136623"/>
                  </a:lnTo>
                  <a:cubicBezTo>
                    <a:pt x="129174" y="138726"/>
                    <a:pt x="133673" y="146361"/>
                    <a:pt x="131773" y="153941"/>
                  </a:cubicBezTo>
                  <a:close/>
                  <a:moveTo>
                    <a:pt x="117823" y="156898"/>
                  </a:moveTo>
                  <a:cubicBezTo>
                    <a:pt x="123548" y="156898"/>
                    <a:pt x="126430" y="149938"/>
                    <a:pt x="122377" y="145885"/>
                  </a:cubicBezTo>
                  <a:cubicBezTo>
                    <a:pt x="118329" y="141836"/>
                    <a:pt x="111364" y="144719"/>
                    <a:pt x="111364" y="150454"/>
                  </a:cubicBezTo>
                  <a:cubicBezTo>
                    <a:pt x="111369" y="154011"/>
                    <a:pt x="114251" y="156898"/>
                    <a:pt x="117823" y="156898"/>
                  </a:cubicBezTo>
                  <a:close/>
                  <a:moveTo>
                    <a:pt x="117823" y="193415"/>
                  </a:moveTo>
                  <a:cubicBezTo>
                    <a:pt x="141546" y="193415"/>
                    <a:pt x="160785" y="174177"/>
                    <a:pt x="160785" y="150454"/>
                  </a:cubicBezTo>
                  <a:cubicBezTo>
                    <a:pt x="160785" y="126716"/>
                    <a:pt x="141546" y="107477"/>
                    <a:pt x="117823" y="107477"/>
                  </a:cubicBezTo>
                  <a:cubicBezTo>
                    <a:pt x="94085" y="107477"/>
                    <a:pt x="74846" y="126716"/>
                    <a:pt x="74846" y="150454"/>
                  </a:cubicBezTo>
                  <a:cubicBezTo>
                    <a:pt x="74851" y="174177"/>
                    <a:pt x="94085" y="193415"/>
                    <a:pt x="117823" y="193415"/>
                  </a:cubicBezTo>
                  <a:close/>
                  <a:moveTo>
                    <a:pt x="153810" y="186440"/>
                  </a:moveTo>
                  <a:cubicBezTo>
                    <a:pt x="144597" y="195653"/>
                    <a:pt x="131872" y="201348"/>
                    <a:pt x="117823" y="201348"/>
                  </a:cubicBezTo>
                  <a:cubicBezTo>
                    <a:pt x="112183" y="201348"/>
                    <a:pt x="106755" y="200435"/>
                    <a:pt x="101695" y="198748"/>
                  </a:cubicBezTo>
                  <a:cubicBezTo>
                    <a:pt x="101695" y="198748"/>
                    <a:pt x="95524" y="201348"/>
                    <a:pt x="87814" y="201348"/>
                  </a:cubicBezTo>
                  <a:lnTo>
                    <a:pt x="52602" y="201348"/>
                  </a:lnTo>
                  <a:cubicBezTo>
                    <a:pt x="31384" y="201348"/>
                    <a:pt x="14085" y="184049"/>
                    <a:pt x="14085" y="162831"/>
                  </a:cubicBezTo>
                  <a:lnTo>
                    <a:pt x="14085" y="102208"/>
                  </a:lnTo>
                  <a:cubicBezTo>
                    <a:pt x="14085" y="100016"/>
                    <a:pt x="15856" y="98245"/>
                    <a:pt x="18049" y="98245"/>
                  </a:cubicBezTo>
                  <a:lnTo>
                    <a:pt x="44823" y="98245"/>
                  </a:lnTo>
                  <a:cubicBezTo>
                    <a:pt x="47016" y="98245"/>
                    <a:pt x="48787" y="100016"/>
                    <a:pt x="48787" y="102208"/>
                  </a:cubicBezTo>
                  <a:lnTo>
                    <a:pt x="48787" y="158208"/>
                  </a:lnTo>
                  <a:cubicBezTo>
                    <a:pt x="48787" y="163099"/>
                    <a:pt x="52795" y="167107"/>
                    <a:pt x="57687" y="167107"/>
                  </a:cubicBezTo>
                  <a:lnTo>
                    <a:pt x="69697" y="167107"/>
                  </a:lnTo>
                  <a:cubicBezTo>
                    <a:pt x="63273" y="148519"/>
                    <a:pt x="68164" y="128115"/>
                    <a:pt x="81817" y="114457"/>
                  </a:cubicBezTo>
                  <a:cubicBezTo>
                    <a:pt x="88102" y="108186"/>
                    <a:pt x="96005" y="103528"/>
                    <a:pt x="104865" y="101211"/>
                  </a:cubicBezTo>
                  <a:lnTo>
                    <a:pt x="116608" y="86770"/>
                  </a:lnTo>
                  <a:lnTo>
                    <a:pt x="116623" y="86770"/>
                  </a:lnTo>
                  <a:cubicBezTo>
                    <a:pt x="122710" y="79165"/>
                    <a:pt x="125820" y="71371"/>
                    <a:pt x="125860" y="61459"/>
                  </a:cubicBezTo>
                  <a:lnTo>
                    <a:pt x="125899" y="50307"/>
                  </a:lnTo>
                  <a:lnTo>
                    <a:pt x="116012" y="50446"/>
                  </a:lnTo>
                  <a:cubicBezTo>
                    <a:pt x="112639" y="50575"/>
                    <a:pt x="110793" y="47003"/>
                    <a:pt x="112440" y="44384"/>
                  </a:cubicBezTo>
                  <a:lnTo>
                    <a:pt x="139190" y="1844"/>
                  </a:lnTo>
                  <a:cubicBezTo>
                    <a:pt x="140708" y="-547"/>
                    <a:pt x="144225" y="-647"/>
                    <a:pt x="145828" y="1745"/>
                  </a:cubicBezTo>
                  <a:lnTo>
                    <a:pt x="173758" y="43526"/>
                  </a:lnTo>
                  <a:cubicBezTo>
                    <a:pt x="175489" y="46100"/>
                    <a:pt x="173688" y="49642"/>
                    <a:pt x="170523" y="49687"/>
                  </a:cubicBezTo>
                  <a:lnTo>
                    <a:pt x="160358" y="49826"/>
                  </a:lnTo>
                  <a:lnTo>
                    <a:pt x="160443" y="73058"/>
                  </a:lnTo>
                  <a:cubicBezTo>
                    <a:pt x="160472" y="78952"/>
                    <a:pt x="159569" y="84448"/>
                    <a:pt x="157714" y="89538"/>
                  </a:cubicBezTo>
                  <a:cubicBezTo>
                    <a:pt x="155883" y="94544"/>
                    <a:pt x="153145" y="99158"/>
                    <a:pt x="149429" y="103335"/>
                  </a:cubicBezTo>
                  <a:lnTo>
                    <a:pt x="145728" y="107889"/>
                  </a:lnTo>
                  <a:cubicBezTo>
                    <a:pt x="172651" y="125565"/>
                    <a:pt x="176675" y="163575"/>
                    <a:pt x="153810" y="186440"/>
                  </a:cubicBezTo>
                  <a:close/>
                  <a:moveTo>
                    <a:pt x="90344" y="193316"/>
                  </a:moveTo>
                  <a:cubicBezTo>
                    <a:pt x="83230" y="188747"/>
                    <a:pt x="77337" y="182462"/>
                    <a:pt x="73244" y="175035"/>
                  </a:cubicBezTo>
                  <a:lnTo>
                    <a:pt x="57692" y="175035"/>
                  </a:lnTo>
                  <a:cubicBezTo>
                    <a:pt x="48410" y="175035"/>
                    <a:pt x="40859" y="167485"/>
                    <a:pt x="40859" y="158203"/>
                  </a:cubicBezTo>
                  <a:lnTo>
                    <a:pt x="40859" y="106172"/>
                  </a:lnTo>
                  <a:lnTo>
                    <a:pt x="22017" y="106172"/>
                  </a:lnTo>
                  <a:lnTo>
                    <a:pt x="22017" y="162831"/>
                  </a:lnTo>
                  <a:cubicBezTo>
                    <a:pt x="22017" y="179678"/>
                    <a:pt x="35754" y="193415"/>
                    <a:pt x="52602" y="193415"/>
                  </a:cubicBezTo>
                  <a:lnTo>
                    <a:pt x="87814" y="193415"/>
                  </a:lnTo>
                  <a:cubicBezTo>
                    <a:pt x="88673" y="193415"/>
                    <a:pt x="89516" y="193376"/>
                    <a:pt x="90344" y="193316"/>
                  </a:cubicBezTo>
                  <a:close/>
                  <a:moveTo>
                    <a:pt x="116404" y="99564"/>
                  </a:moveTo>
                  <a:cubicBezTo>
                    <a:pt x="124307" y="99351"/>
                    <a:pt x="131872" y="100943"/>
                    <a:pt x="138694" y="104009"/>
                  </a:cubicBezTo>
                  <a:lnTo>
                    <a:pt x="143531" y="98091"/>
                  </a:lnTo>
                  <a:cubicBezTo>
                    <a:pt x="146552" y="94673"/>
                    <a:pt x="148789" y="90932"/>
                    <a:pt x="150283" y="86840"/>
                  </a:cubicBezTo>
                  <a:cubicBezTo>
                    <a:pt x="151815" y="82608"/>
                    <a:pt x="152574" y="78009"/>
                    <a:pt x="152545" y="73058"/>
                  </a:cubicBezTo>
                  <a:lnTo>
                    <a:pt x="152445" y="45932"/>
                  </a:lnTo>
                  <a:cubicBezTo>
                    <a:pt x="152445" y="43764"/>
                    <a:pt x="154192" y="41993"/>
                    <a:pt x="156355" y="41978"/>
                  </a:cubicBezTo>
                  <a:lnTo>
                    <a:pt x="163146" y="41879"/>
                  </a:lnTo>
                  <a:lnTo>
                    <a:pt x="142658" y="11220"/>
                  </a:lnTo>
                  <a:lnTo>
                    <a:pt x="123027" y="42439"/>
                  </a:lnTo>
                  <a:lnTo>
                    <a:pt x="129834" y="42340"/>
                  </a:lnTo>
                  <a:cubicBezTo>
                    <a:pt x="132026" y="42310"/>
                    <a:pt x="133812" y="44071"/>
                    <a:pt x="133842" y="46249"/>
                  </a:cubicBezTo>
                  <a:cubicBezTo>
                    <a:pt x="133842" y="51324"/>
                    <a:pt x="133797" y="56404"/>
                    <a:pt x="133773" y="61494"/>
                  </a:cubicBezTo>
                  <a:cubicBezTo>
                    <a:pt x="133733" y="73038"/>
                    <a:pt x="130017" y="82925"/>
                    <a:pt x="122759" y="91741"/>
                  </a:cubicBezTo>
                  <a:lnTo>
                    <a:pt x="122759" y="91756"/>
                  </a:lnTo>
                  <a:close/>
                  <a:moveTo>
                    <a:pt x="48593" y="21038"/>
                  </a:moveTo>
                  <a:lnTo>
                    <a:pt x="48524" y="43114"/>
                  </a:lnTo>
                  <a:lnTo>
                    <a:pt x="58689" y="43253"/>
                  </a:lnTo>
                  <a:cubicBezTo>
                    <a:pt x="61869" y="43292"/>
                    <a:pt x="63655" y="46839"/>
                    <a:pt x="61938" y="49414"/>
                  </a:cubicBezTo>
                  <a:lnTo>
                    <a:pt x="33998" y="91195"/>
                  </a:lnTo>
                  <a:cubicBezTo>
                    <a:pt x="32396" y="93586"/>
                    <a:pt x="28878" y="93502"/>
                    <a:pt x="27375" y="91096"/>
                  </a:cubicBezTo>
                  <a:lnTo>
                    <a:pt x="611" y="48556"/>
                  </a:lnTo>
                  <a:cubicBezTo>
                    <a:pt x="-1036" y="45942"/>
                    <a:pt x="809" y="42370"/>
                    <a:pt x="4198" y="42494"/>
                  </a:cubicBezTo>
                  <a:lnTo>
                    <a:pt x="14085" y="42633"/>
                  </a:lnTo>
                  <a:lnTo>
                    <a:pt x="14030" y="22749"/>
                  </a:lnTo>
                  <a:lnTo>
                    <a:pt x="13991" y="20839"/>
                  </a:lnTo>
                  <a:cubicBezTo>
                    <a:pt x="13891" y="18617"/>
                    <a:pt x="15608" y="16761"/>
                    <a:pt x="17945" y="16717"/>
                  </a:cubicBezTo>
                  <a:lnTo>
                    <a:pt x="17945" y="16707"/>
                  </a:lnTo>
                  <a:lnTo>
                    <a:pt x="44649" y="16707"/>
                  </a:lnTo>
                  <a:cubicBezTo>
                    <a:pt x="46976" y="16707"/>
                    <a:pt x="48807" y="18701"/>
                    <a:pt x="48593" y="21038"/>
                  </a:cubicBezTo>
                  <a:close/>
                  <a:moveTo>
                    <a:pt x="40606" y="47013"/>
                  </a:moveTo>
                  <a:lnTo>
                    <a:pt x="40676" y="24639"/>
                  </a:lnTo>
                  <a:lnTo>
                    <a:pt x="21943" y="24639"/>
                  </a:lnTo>
                  <a:cubicBezTo>
                    <a:pt x="21958" y="31996"/>
                    <a:pt x="21998" y="39348"/>
                    <a:pt x="21998" y="46691"/>
                  </a:cubicBezTo>
                  <a:cubicBezTo>
                    <a:pt x="21968" y="48883"/>
                    <a:pt x="20182" y="50630"/>
                    <a:pt x="18004" y="50600"/>
                  </a:cubicBezTo>
                  <a:lnTo>
                    <a:pt x="11183" y="50501"/>
                  </a:lnTo>
                  <a:lnTo>
                    <a:pt x="30813" y="81720"/>
                  </a:lnTo>
                  <a:lnTo>
                    <a:pt x="51317" y="51061"/>
                  </a:lnTo>
                  <a:lnTo>
                    <a:pt x="44510" y="50977"/>
                  </a:lnTo>
                  <a:cubicBezTo>
                    <a:pt x="42352" y="50947"/>
                    <a:pt x="40606" y="49191"/>
                    <a:pt x="40606" y="47013"/>
                  </a:cubicBezTo>
                  <a:close/>
                  <a:moveTo>
                    <a:pt x="83697" y="208531"/>
                  </a:moveTo>
                  <a:cubicBezTo>
                    <a:pt x="83483" y="206363"/>
                    <a:pt x="85091" y="204424"/>
                    <a:pt x="87254" y="204230"/>
                  </a:cubicBezTo>
                  <a:cubicBezTo>
                    <a:pt x="89432" y="204017"/>
                    <a:pt x="91361" y="205624"/>
                    <a:pt x="91570" y="207787"/>
                  </a:cubicBezTo>
                  <a:lnTo>
                    <a:pt x="92696" y="219316"/>
                  </a:lnTo>
                  <a:lnTo>
                    <a:pt x="105143" y="222650"/>
                  </a:lnTo>
                  <a:lnTo>
                    <a:pt x="111880" y="213229"/>
                  </a:lnTo>
                  <a:cubicBezTo>
                    <a:pt x="112708" y="212063"/>
                    <a:pt x="114058" y="211483"/>
                    <a:pt x="115382" y="211582"/>
                  </a:cubicBezTo>
                  <a:cubicBezTo>
                    <a:pt x="122159" y="211949"/>
                    <a:pt x="129655" y="210838"/>
                    <a:pt x="136109" y="208814"/>
                  </a:cubicBezTo>
                  <a:cubicBezTo>
                    <a:pt x="137513" y="208378"/>
                    <a:pt x="138991" y="208774"/>
                    <a:pt x="139989" y="209712"/>
                  </a:cubicBezTo>
                  <a:lnTo>
                    <a:pt x="148750" y="216910"/>
                  </a:lnTo>
                  <a:lnTo>
                    <a:pt x="159917" y="210471"/>
                  </a:lnTo>
                  <a:lnTo>
                    <a:pt x="158007" y="199011"/>
                  </a:lnTo>
                  <a:cubicBezTo>
                    <a:pt x="157793" y="197647"/>
                    <a:pt x="158289" y="196337"/>
                    <a:pt x="159242" y="195469"/>
                  </a:cubicBezTo>
                  <a:lnTo>
                    <a:pt x="159227" y="195469"/>
                  </a:lnTo>
                  <a:cubicBezTo>
                    <a:pt x="164416" y="190702"/>
                    <a:pt x="168777" y="185061"/>
                    <a:pt x="172036" y="178805"/>
                  </a:cubicBezTo>
                  <a:cubicBezTo>
                    <a:pt x="172671" y="177570"/>
                    <a:pt x="173877" y="176821"/>
                    <a:pt x="175157" y="176697"/>
                  </a:cubicBezTo>
                  <a:lnTo>
                    <a:pt x="186686" y="175571"/>
                  </a:lnTo>
                  <a:lnTo>
                    <a:pt x="190020" y="163124"/>
                  </a:lnTo>
                  <a:lnTo>
                    <a:pt x="180599" y="156387"/>
                  </a:lnTo>
                  <a:cubicBezTo>
                    <a:pt x="179433" y="155558"/>
                    <a:pt x="178853" y="154209"/>
                    <a:pt x="178937" y="152884"/>
                  </a:cubicBezTo>
                  <a:cubicBezTo>
                    <a:pt x="179319" y="146108"/>
                    <a:pt x="178208" y="138612"/>
                    <a:pt x="176179" y="132158"/>
                  </a:cubicBezTo>
                  <a:cubicBezTo>
                    <a:pt x="175742" y="130754"/>
                    <a:pt x="176139" y="129290"/>
                    <a:pt x="177077" y="128278"/>
                  </a:cubicBezTo>
                  <a:lnTo>
                    <a:pt x="184290" y="119502"/>
                  </a:lnTo>
                  <a:lnTo>
                    <a:pt x="177850" y="108350"/>
                  </a:lnTo>
                  <a:lnTo>
                    <a:pt x="166376" y="110260"/>
                  </a:lnTo>
                  <a:cubicBezTo>
                    <a:pt x="165012" y="110483"/>
                    <a:pt x="163702" y="109977"/>
                    <a:pt x="162834" y="109035"/>
                  </a:cubicBezTo>
                  <a:lnTo>
                    <a:pt x="158701" y="104942"/>
                  </a:lnTo>
                  <a:cubicBezTo>
                    <a:pt x="157069" y="103478"/>
                    <a:pt x="156945" y="100963"/>
                    <a:pt x="158404" y="99346"/>
                  </a:cubicBezTo>
                  <a:cubicBezTo>
                    <a:pt x="159867" y="97714"/>
                    <a:pt x="162367" y="97590"/>
                    <a:pt x="164000" y="99048"/>
                  </a:cubicBezTo>
                  <a:lnTo>
                    <a:pt x="167165" y="102099"/>
                  </a:lnTo>
                  <a:lnTo>
                    <a:pt x="179259" y="100090"/>
                  </a:lnTo>
                  <a:cubicBezTo>
                    <a:pt x="180847" y="99837"/>
                    <a:pt x="182479" y="100566"/>
                    <a:pt x="183322" y="102030"/>
                  </a:cubicBezTo>
                  <a:lnTo>
                    <a:pt x="192421" y="117781"/>
                  </a:lnTo>
                  <a:cubicBezTo>
                    <a:pt x="193309" y="119185"/>
                    <a:pt x="193249" y="121055"/>
                    <a:pt x="192123" y="122409"/>
                  </a:cubicBezTo>
                  <a:lnTo>
                    <a:pt x="184359" y="131860"/>
                  </a:lnTo>
                  <a:cubicBezTo>
                    <a:pt x="186105" y="138091"/>
                    <a:pt x="186974" y="144644"/>
                    <a:pt x="186889" y="151168"/>
                  </a:cubicBezTo>
                  <a:lnTo>
                    <a:pt x="196662" y="158143"/>
                  </a:lnTo>
                  <a:cubicBezTo>
                    <a:pt x="198096" y="159041"/>
                    <a:pt x="198840" y="160817"/>
                    <a:pt x="198379" y="162529"/>
                  </a:cubicBezTo>
                  <a:lnTo>
                    <a:pt x="193626" y="180259"/>
                  </a:lnTo>
                  <a:cubicBezTo>
                    <a:pt x="193205" y="181807"/>
                    <a:pt x="191870" y="183017"/>
                    <a:pt x="190168" y="183171"/>
                  </a:cubicBezTo>
                  <a:lnTo>
                    <a:pt x="178004" y="184367"/>
                  </a:lnTo>
                  <a:cubicBezTo>
                    <a:pt x="174785" y="190091"/>
                    <a:pt x="170806" y="195251"/>
                    <a:pt x="166148" y="199805"/>
                  </a:cubicBezTo>
                  <a:lnTo>
                    <a:pt x="168132" y="211746"/>
                  </a:lnTo>
                  <a:cubicBezTo>
                    <a:pt x="168469" y="213363"/>
                    <a:pt x="167750" y="215080"/>
                    <a:pt x="166232" y="215953"/>
                  </a:cubicBezTo>
                  <a:lnTo>
                    <a:pt x="150342" y="225136"/>
                  </a:lnTo>
                  <a:cubicBezTo>
                    <a:pt x="148948" y="225939"/>
                    <a:pt x="147152" y="225840"/>
                    <a:pt x="145842" y="224768"/>
                  </a:cubicBezTo>
                  <a:lnTo>
                    <a:pt x="136392" y="216990"/>
                  </a:lnTo>
                  <a:cubicBezTo>
                    <a:pt x="130161" y="218736"/>
                    <a:pt x="123608" y="219604"/>
                    <a:pt x="117084" y="219535"/>
                  </a:cubicBezTo>
                  <a:lnTo>
                    <a:pt x="110109" y="229293"/>
                  </a:lnTo>
                  <a:cubicBezTo>
                    <a:pt x="109211" y="230727"/>
                    <a:pt x="107450" y="231471"/>
                    <a:pt x="105723" y="231009"/>
                  </a:cubicBezTo>
                  <a:lnTo>
                    <a:pt x="87993" y="226257"/>
                  </a:lnTo>
                  <a:cubicBezTo>
                    <a:pt x="86445" y="225835"/>
                    <a:pt x="85235" y="224501"/>
                    <a:pt x="85081" y="222799"/>
                  </a:cubicBezTo>
                  <a:close/>
                  <a:moveTo>
                    <a:pt x="107251" y="82166"/>
                  </a:moveTo>
                  <a:cubicBezTo>
                    <a:pt x="109404" y="81844"/>
                    <a:pt x="111428" y="83317"/>
                    <a:pt x="111766" y="85470"/>
                  </a:cubicBezTo>
                  <a:cubicBezTo>
                    <a:pt x="112088" y="87638"/>
                    <a:pt x="110615" y="89647"/>
                    <a:pt x="108462" y="89985"/>
                  </a:cubicBezTo>
                  <a:cubicBezTo>
                    <a:pt x="105550" y="90436"/>
                    <a:pt x="102414" y="91180"/>
                    <a:pt x="99532" y="92078"/>
                  </a:cubicBezTo>
                  <a:cubicBezTo>
                    <a:pt x="98128" y="92515"/>
                    <a:pt x="96650" y="92118"/>
                    <a:pt x="95653" y="91180"/>
                  </a:cubicBezTo>
                  <a:lnTo>
                    <a:pt x="86877" y="83982"/>
                  </a:lnTo>
                  <a:lnTo>
                    <a:pt x="75725" y="90406"/>
                  </a:lnTo>
                  <a:lnTo>
                    <a:pt x="77639" y="101881"/>
                  </a:lnTo>
                  <a:cubicBezTo>
                    <a:pt x="77848" y="103245"/>
                    <a:pt x="77357" y="104555"/>
                    <a:pt x="76404" y="105423"/>
                  </a:cubicBezTo>
                  <a:lnTo>
                    <a:pt x="76419" y="105423"/>
                  </a:lnTo>
                  <a:cubicBezTo>
                    <a:pt x="71230" y="110191"/>
                    <a:pt x="66869" y="115841"/>
                    <a:pt x="63610" y="122087"/>
                  </a:cubicBezTo>
                  <a:cubicBezTo>
                    <a:pt x="62613" y="124027"/>
                    <a:pt x="60222" y="124771"/>
                    <a:pt x="58282" y="123759"/>
                  </a:cubicBezTo>
                  <a:cubicBezTo>
                    <a:pt x="56357" y="122747"/>
                    <a:pt x="55598" y="120370"/>
                    <a:pt x="56610" y="118431"/>
                  </a:cubicBezTo>
                  <a:cubicBezTo>
                    <a:pt x="59998" y="111947"/>
                    <a:pt x="64314" y="106143"/>
                    <a:pt x="69494" y="101077"/>
                  </a:cubicBezTo>
                  <a:lnTo>
                    <a:pt x="67484" y="88998"/>
                  </a:lnTo>
                  <a:cubicBezTo>
                    <a:pt x="67231" y="87425"/>
                    <a:pt x="67951" y="85778"/>
                    <a:pt x="69424" y="84935"/>
                  </a:cubicBezTo>
                  <a:lnTo>
                    <a:pt x="85175" y="75836"/>
                  </a:lnTo>
                  <a:cubicBezTo>
                    <a:pt x="86579" y="74948"/>
                    <a:pt x="88449" y="75023"/>
                    <a:pt x="89804" y="76134"/>
                  </a:cubicBezTo>
                  <a:lnTo>
                    <a:pt x="99254" y="83898"/>
                  </a:lnTo>
                  <a:cubicBezTo>
                    <a:pt x="101903" y="83154"/>
                    <a:pt x="104409" y="82618"/>
                    <a:pt x="107251" y="82166"/>
                  </a:cubicBezTo>
                  <a:close/>
                </a:path>
              </a:pathLst>
            </a:custGeom>
            <a:solidFill>
              <a:schemeClr val="bg1"/>
            </a:solid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96" name="Group 95">
            <a:extLst>
              <a:ext uri="{FF2B5EF4-FFF2-40B4-BE49-F238E27FC236}">
                <a16:creationId xmlns:a16="http://schemas.microsoft.com/office/drawing/2014/main" id="{64FAD6F3-5C72-EFF6-351D-A512EAB3DDD1}"/>
              </a:ext>
            </a:extLst>
          </p:cNvPr>
          <p:cNvGrpSpPr/>
          <p:nvPr/>
        </p:nvGrpSpPr>
        <p:grpSpPr>
          <a:xfrm>
            <a:off x="7936609" y="3762940"/>
            <a:ext cx="457200" cy="457200"/>
            <a:chOff x="7936609" y="4213236"/>
            <a:chExt cx="457200" cy="457200"/>
          </a:xfrm>
        </p:grpSpPr>
        <p:sp>
          <p:nvSpPr>
            <p:cNvPr id="97" name="Oval 96">
              <a:extLst>
                <a:ext uri="{FF2B5EF4-FFF2-40B4-BE49-F238E27FC236}">
                  <a16:creationId xmlns:a16="http://schemas.microsoft.com/office/drawing/2014/main" id="{1B335EC1-7775-A7F1-1C8A-C37FC850A70C}"/>
                </a:ext>
              </a:extLst>
            </p:cNvPr>
            <p:cNvSpPr>
              <a:spLocks noChangeAspect="1"/>
            </p:cNvSpPr>
            <p:nvPr/>
          </p:nvSpPr>
          <p:spPr>
            <a:xfrm>
              <a:off x="7936609" y="4213236"/>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grpSp>
          <p:nvGrpSpPr>
            <p:cNvPr id="98" name="Group 97">
              <a:extLst>
                <a:ext uri="{FF2B5EF4-FFF2-40B4-BE49-F238E27FC236}">
                  <a16:creationId xmlns:a16="http://schemas.microsoft.com/office/drawing/2014/main" id="{C359371D-17E3-92B9-166E-7AC400990376}"/>
                </a:ext>
              </a:extLst>
            </p:cNvPr>
            <p:cNvGrpSpPr>
              <a:grpSpLocks noChangeAspect="1"/>
            </p:cNvGrpSpPr>
            <p:nvPr/>
          </p:nvGrpSpPr>
          <p:grpSpPr>
            <a:xfrm>
              <a:off x="8023082" y="4321034"/>
              <a:ext cx="284255" cy="241602"/>
              <a:chOff x="6081507" y="1434809"/>
              <a:chExt cx="213565" cy="181519"/>
            </a:xfrm>
            <a:solidFill>
              <a:schemeClr val="bg1"/>
            </a:solidFill>
          </p:grpSpPr>
          <p:sp>
            <p:nvSpPr>
              <p:cNvPr id="99" name="Freeform: Shape 98">
                <a:extLst>
                  <a:ext uri="{FF2B5EF4-FFF2-40B4-BE49-F238E27FC236}">
                    <a16:creationId xmlns:a16="http://schemas.microsoft.com/office/drawing/2014/main" id="{6D784402-5D91-9C60-C25B-FFBA2D08C32B}"/>
                  </a:ext>
                </a:extLst>
              </p:cNvPr>
              <p:cNvSpPr/>
              <p:nvPr/>
            </p:nvSpPr>
            <p:spPr>
              <a:xfrm>
                <a:off x="6127988" y="1465501"/>
                <a:ext cx="119935" cy="120054"/>
              </a:xfrm>
              <a:custGeom>
                <a:avLst/>
                <a:gdLst>
                  <a:gd name="csX0" fmla="*/ 15280 w 119935"/>
                  <a:gd name="csY0" fmla="*/ 86797 h 120054"/>
                  <a:gd name="csX1" fmla="*/ 10597 w 119935"/>
                  <a:gd name="csY1" fmla="*/ 91480 h 120054"/>
                  <a:gd name="csX2" fmla="*/ 10597 w 119935"/>
                  <a:gd name="csY2" fmla="*/ 95448 h 120054"/>
                  <a:gd name="csX3" fmla="*/ 24606 w 119935"/>
                  <a:gd name="csY3" fmla="*/ 109498 h 120054"/>
                  <a:gd name="csX4" fmla="*/ 28575 w 119935"/>
                  <a:gd name="csY4" fmla="*/ 109498 h 120054"/>
                  <a:gd name="csX5" fmla="*/ 33298 w 119935"/>
                  <a:gd name="csY5" fmla="*/ 104775 h 120054"/>
                  <a:gd name="csX6" fmla="*/ 47149 w 119935"/>
                  <a:gd name="csY6" fmla="*/ 110530 h 120054"/>
                  <a:gd name="csX7" fmla="*/ 47149 w 119935"/>
                  <a:gd name="csY7" fmla="*/ 117158 h 120054"/>
                  <a:gd name="csX8" fmla="*/ 50046 w 119935"/>
                  <a:gd name="csY8" fmla="*/ 120055 h 120054"/>
                  <a:gd name="csX9" fmla="*/ 69890 w 119935"/>
                  <a:gd name="csY9" fmla="*/ 120055 h 120054"/>
                  <a:gd name="csX10" fmla="*/ 72787 w 119935"/>
                  <a:gd name="csY10" fmla="*/ 117158 h 120054"/>
                  <a:gd name="csX11" fmla="*/ 72787 w 119935"/>
                  <a:gd name="csY11" fmla="*/ 110649 h 120054"/>
                  <a:gd name="csX12" fmla="*/ 86638 w 119935"/>
                  <a:gd name="csY12" fmla="*/ 104894 h 120054"/>
                  <a:gd name="csX13" fmla="*/ 91361 w 119935"/>
                  <a:gd name="csY13" fmla="*/ 109617 h 120054"/>
                  <a:gd name="csX14" fmla="*/ 95329 w 119935"/>
                  <a:gd name="csY14" fmla="*/ 109617 h 120054"/>
                  <a:gd name="csX15" fmla="*/ 109339 w 119935"/>
                  <a:gd name="csY15" fmla="*/ 95567 h 120054"/>
                  <a:gd name="csX16" fmla="*/ 109339 w 119935"/>
                  <a:gd name="csY16" fmla="*/ 91599 h 120054"/>
                  <a:gd name="csX17" fmla="*/ 104656 w 119935"/>
                  <a:gd name="csY17" fmla="*/ 86876 h 120054"/>
                  <a:gd name="csX18" fmla="*/ 110411 w 119935"/>
                  <a:gd name="csY18" fmla="*/ 73025 h 120054"/>
                  <a:gd name="csX19" fmla="*/ 117038 w 119935"/>
                  <a:gd name="csY19" fmla="*/ 73025 h 120054"/>
                  <a:gd name="csX20" fmla="*/ 119936 w 119935"/>
                  <a:gd name="csY20" fmla="*/ 70128 h 120054"/>
                  <a:gd name="csX21" fmla="*/ 119936 w 119935"/>
                  <a:gd name="csY21" fmla="*/ 50284 h 120054"/>
                  <a:gd name="csX22" fmla="*/ 117038 w 119935"/>
                  <a:gd name="csY22" fmla="*/ 47387 h 120054"/>
                  <a:gd name="csX23" fmla="*/ 110649 w 119935"/>
                  <a:gd name="csY23" fmla="*/ 47387 h 120054"/>
                  <a:gd name="csX24" fmla="*/ 104894 w 119935"/>
                  <a:gd name="csY24" fmla="*/ 33536 h 120054"/>
                  <a:gd name="csX25" fmla="*/ 109577 w 119935"/>
                  <a:gd name="csY25" fmla="*/ 28853 h 120054"/>
                  <a:gd name="csX26" fmla="*/ 109577 w 119935"/>
                  <a:gd name="csY26" fmla="*/ 24884 h 120054"/>
                  <a:gd name="csX27" fmla="*/ 95567 w 119935"/>
                  <a:gd name="csY27" fmla="*/ 10835 h 120054"/>
                  <a:gd name="csX28" fmla="*/ 91599 w 119935"/>
                  <a:gd name="csY28" fmla="*/ 10835 h 120054"/>
                  <a:gd name="csX29" fmla="*/ 86876 w 119935"/>
                  <a:gd name="csY29" fmla="*/ 15518 h 120054"/>
                  <a:gd name="csX30" fmla="*/ 73025 w 119935"/>
                  <a:gd name="csY30" fmla="*/ 9723 h 120054"/>
                  <a:gd name="csX31" fmla="*/ 73025 w 119935"/>
                  <a:gd name="csY31" fmla="*/ 2897 h 120054"/>
                  <a:gd name="csX32" fmla="*/ 70128 w 119935"/>
                  <a:gd name="csY32" fmla="*/ 0 h 120054"/>
                  <a:gd name="csX33" fmla="*/ 50284 w 119935"/>
                  <a:gd name="csY33" fmla="*/ 0 h 120054"/>
                  <a:gd name="csX34" fmla="*/ 47387 w 119935"/>
                  <a:gd name="csY34" fmla="*/ 2897 h 120054"/>
                  <a:gd name="csX35" fmla="*/ 47387 w 119935"/>
                  <a:gd name="csY35" fmla="*/ 9485 h 120054"/>
                  <a:gd name="csX36" fmla="*/ 33496 w 119935"/>
                  <a:gd name="csY36" fmla="*/ 15280 h 120054"/>
                  <a:gd name="csX37" fmla="*/ 28813 w 119935"/>
                  <a:gd name="csY37" fmla="*/ 10597 h 120054"/>
                  <a:gd name="csX38" fmla="*/ 24844 w 119935"/>
                  <a:gd name="csY38" fmla="*/ 10597 h 120054"/>
                  <a:gd name="csX39" fmla="*/ 10835 w 119935"/>
                  <a:gd name="csY39" fmla="*/ 24646 h 120054"/>
                  <a:gd name="csX40" fmla="*/ 10835 w 119935"/>
                  <a:gd name="csY40" fmla="*/ 28615 h 120054"/>
                  <a:gd name="csX41" fmla="*/ 15478 w 119935"/>
                  <a:gd name="csY41" fmla="*/ 33258 h 120054"/>
                  <a:gd name="csX42" fmla="*/ 9723 w 119935"/>
                  <a:gd name="csY42" fmla="*/ 47149 h 120054"/>
                  <a:gd name="csX43" fmla="*/ 2897 w 119935"/>
                  <a:gd name="csY43" fmla="*/ 47149 h 120054"/>
                  <a:gd name="csX44" fmla="*/ 0 w 119935"/>
                  <a:gd name="csY44" fmla="*/ 50046 h 120054"/>
                  <a:gd name="csX45" fmla="*/ 0 w 119935"/>
                  <a:gd name="csY45" fmla="*/ 69890 h 120054"/>
                  <a:gd name="csX46" fmla="*/ 2897 w 119935"/>
                  <a:gd name="csY46" fmla="*/ 72787 h 120054"/>
                  <a:gd name="csX47" fmla="*/ 9485 w 119935"/>
                  <a:gd name="csY47" fmla="*/ 72787 h 120054"/>
                  <a:gd name="csX48" fmla="*/ 15280 w 119935"/>
                  <a:gd name="csY48" fmla="*/ 86797 h 120054"/>
                  <a:gd name="csX49" fmla="*/ 5794 w 119935"/>
                  <a:gd name="csY49" fmla="*/ 53062 h 120054"/>
                  <a:gd name="csX50" fmla="*/ 11787 w 119935"/>
                  <a:gd name="csY50" fmla="*/ 53062 h 120054"/>
                  <a:gd name="csX51" fmla="*/ 14645 w 119935"/>
                  <a:gd name="csY51" fmla="*/ 50760 h 120054"/>
                  <a:gd name="csX52" fmla="*/ 21352 w 119935"/>
                  <a:gd name="csY52" fmla="*/ 34568 h 120054"/>
                  <a:gd name="csX53" fmla="*/ 20995 w 119935"/>
                  <a:gd name="csY53" fmla="*/ 30917 h 120054"/>
                  <a:gd name="csX54" fmla="*/ 16708 w 119935"/>
                  <a:gd name="csY54" fmla="*/ 26670 h 120054"/>
                  <a:gd name="csX55" fmla="*/ 26670 w 119935"/>
                  <a:gd name="csY55" fmla="*/ 16748 h 120054"/>
                  <a:gd name="csX56" fmla="*/ 30917 w 119935"/>
                  <a:gd name="csY56" fmla="*/ 20995 h 120054"/>
                  <a:gd name="csX57" fmla="*/ 34568 w 119935"/>
                  <a:gd name="csY57" fmla="*/ 21352 h 120054"/>
                  <a:gd name="csX58" fmla="*/ 50760 w 119935"/>
                  <a:gd name="csY58" fmla="*/ 14645 h 120054"/>
                  <a:gd name="csX59" fmla="*/ 53062 w 119935"/>
                  <a:gd name="csY59" fmla="*/ 11787 h 120054"/>
                  <a:gd name="csX60" fmla="*/ 53062 w 119935"/>
                  <a:gd name="csY60" fmla="*/ 5794 h 120054"/>
                  <a:gd name="csX61" fmla="*/ 67112 w 119935"/>
                  <a:gd name="csY61" fmla="*/ 5794 h 120054"/>
                  <a:gd name="csX62" fmla="*/ 67112 w 119935"/>
                  <a:gd name="csY62" fmla="*/ 11827 h 120054"/>
                  <a:gd name="csX63" fmla="*/ 69413 w 119935"/>
                  <a:gd name="csY63" fmla="*/ 14645 h 120054"/>
                  <a:gd name="csX64" fmla="*/ 85606 w 119935"/>
                  <a:gd name="csY64" fmla="*/ 21392 h 120054"/>
                  <a:gd name="csX65" fmla="*/ 89257 w 119935"/>
                  <a:gd name="csY65" fmla="*/ 20995 h 120054"/>
                  <a:gd name="csX66" fmla="*/ 93504 w 119935"/>
                  <a:gd name="csY66" fmla="*/ 16748 h 120054"/>
                  <a:gd name="csX67" fmla="*/ 103465 w 119935"/>
                  <a:gd name="csY67" fmla="*/ 26670 h 120054"/>
                  <a:gd name="csX68" fmla="*/ 99179 w 119935"/>
                  <a:gd name="csY68" fmla="*/ 30956 h 120054"/>
                  <a:gd name="csX69" fmla="*/ 98782 w 119935"/>
                  <a:gd name="csY69" fmla="*/ 34607 h 120054"/>
                  <a:gd name="csX70" fmla="*/ 105489 w 119935"/>
                  <a:gd name="csY70" fmla="*/ 50760 h 120054"/>
                  <a:gd name="csX71" fmla="*/ 108347 w 119935"/>
                  <a:gd name="csY71" fmla="*/ 53062 h 120054"/>
                  <a:gd name="csX72" fmla="*/ 114379 w 119935"/>
                  <a:gd name="csY72" fmla="*/ 53062 h 120054"/>
                  <a:gd name="csX73" fmla="*/ 114379 w 119935"/>
                  <a:gd name="csY73" fmla="*/ 67112 h 120054"/>
                  <a:gd name="csX74" fmla="*/ 108347 w 119935"/>
                  <a:gd name="csY74" fmla="*/ 67112 h 120054"/>
                  <a:gd name="csX75" fmla="*/ 105489 w 119935"/>
                  <a:gd name="csY75" fmla="*/ 69453 h 120054"/>
                  <a:gd name="csX76" fmla="*/ 98782 w 119935"/>
                  <a:gd name="csY76" fmla="*/ 85566 h 120054"/>
                  <a:gd name="csX77" fmla="*/ 99139 w 119935"/>
                  <a:gd name="csY77" fmla="*/ 89218 h 120054"/>
                  <a:gd name="csX78" fmla="*/ 103465 w 119935"/>
                  <a:gd name="csY78" fmla="*/ 93543 h 120054"/>
                  <a:gd name="csX79" fmla="*/ 93504 w 119935"/>
                  <a:gd name="csY79" fmla="*/ 103465 h 120054"/>
                  <a:gd name="csX80" fmla="*/ 89218 w 119935"/>
                  <a:gd name="csY80" fmla="*/ 99179 h 120054"/>
                  <a:gd name="csX81" fmla="*/ 85566 w 119935"/>
                  <a:gd name="csY81" fmla="*/ 98782 h 120054"/>
                  <a:gd name="csX82" fmla="*/ 69413 w 119935"/>
                  <a:gd name="csY82" fmla="*/ 105489 h 120054"/>
                  <a:gd name="csX83" fmla="*/ 67112 w 119935"/>
                  <a:gd name="csY83" fmla="*/ 108347 h 120054"/>
                  <a:gd name="csX84" fmla="*/ 67112 w 119935"/>
                  <a:gd name="csY84" fmla="*/ 114419 h 120054"/>
                  <a:gd name="csX85" fmla="*/ 53062 w 119935"/>
                  <a:gd name="csY85" fmla="*/ 114419 h 120054"/>
                  <a:gd name="csX86" fmla="*/ 53062 w 119935"/>
                  <a:gd name="csY86" fmla="*/ 108347 h 120054"/>
                  <a:gd name="csX87" fmla="*/ 50760 w 119935"/>
                  <a:gd name="csY87" fmla="*/ 105529 h 120054"/>
                  <a:gd name="csX88" fmla="*/ 34607 w 119935"/>
                  <a:gd name="csY88" fmla="*/ 98822 h 120054"/>
                  <a:gd name="csX89" fmla="*/ 30956 w 119935"/>
                  <a:gd name="csY89" fmla="*/ 99179 h 120054"/>
                  <a:gd name="csX90" fmla="*/ 26670 w 119935"/>
                  <a:gd name="csY90" fmla="*/ 103465 h 120054"/>
                  <a:gd name="csX91" fmla="*/ 16708 w 119935"/>
                  <a:gd name="csY91" fmla="*/ 93543 h 120054"/>
                  <a:gd name="csX92" fmla="*/ 20995 w 119935"/>
                  <a:gd name="csY92" fmla="*/ 89257 h 120054"/>
                  <a:gd name="csX93" fmla="*/ 21352 w 119935"/>
                  <a:gd name="csY93" fmla="*/ 85606 h 120054"/>
                  <a:gd name="csX94" fmla="*/ 14645 w 119935"/>
                  <a:gd name="csY94" fmla="*/ 69453 h 120054"/>
                  <a:gd name="csX95" fmla="*/ 11787 w 119935"/>
                  <a:gd name="csY95" fmla="*/ 67112 h 120054"/>
                  <a:gd name="csX96" fmla="*/ 5794 w 119935"/>
                  <a:gd name="csY96" fmla="*/ 67112 h 12005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Lst>
                <a:rect l="l" t="t" r="r" b="b"/>
                <a:pathLst>
                  <a:path w="119935" h="120054">
                    <a:moveTo>
                      <a:pt x="15280" y="86797"/>
                    </a:moveTo>
                    <a:lnTo>
                      <a:pt x="10597" y="91480"/>
                    </a:lnTo>
                    <a:cubicBezTo>
                      <a:pt x="9528" y="92587"/>
                      <a:pt x="9528" y="94341"/>
                      <a:pt x="10597" y="95448"/>
                    </a:cubicBezTo>
                    <a:lnTo>
                      <a:pt x="24606" y="109498"/>
                    </a:lnTo>
                    <a:cubicBezTo>
                      <a:pt x="25743" y="110491"/>
                      <a:pt x="27438" y="110491"/>
                      <a:pt x="28575" y="109498"/>
                    </a:cubicBezTo>
                    <a:lnTo>
                      <a:pt x="33298" y="104775"/>
                    </a:lnTo>
                    <a:cubicBezTo>
                      <a:pt x="37610" y="107358"/>
                      <a:pt x="42276" y="109296"/>
                      <a:pt x="47149" y="110530"/>
                    </a:cubicBezTo>
                    <a:lnTo>
                      <a:pt x="47149" y="117158"/>
                    </a:lnTo>
                    <a:cubicBezTo>
                      <a:pt x="47149" y="118758"/>
                      <a:pt x="48446" y="120055"/>
                      <a:pt x="50046" y="120055"/>
                    </a:cubicBezTo>
                    <a:lnTo>
                      <a:pt x="69890" y="120055"/>
                    </a:lnTo>
                    <a:cubicBezTo>
                      <a:pt x="71490" y="120055"/>
                      <a:pt x="72787" y="118758"/>
                      <a:pt x="72787" y="117158"/>
                    </a:cubicBezTo>
                    <a:lnTo>
                      <a:pt x="72787" y="110649"/>
                    </a:lnTo>
                    <a:cubicBezTo>
                      <a:pt x="77654" y="109400"/>
                      <a:pt x="82319" y="107462"/>
                      <a:pt x="86638" y="104894"/>
                    </a:cubicBezTo>
                    <a:lnTo>
                      <a:pt x="91361" y="109617"/>
                    </a:lnTo>
                    <a:cubicBezTo>
                      <a:pt x="92483" y="110646"/>
                      <a:pt x="94207" y="110646"/>
                      <a:pt x="95329" y="109617"/>
                    </a:cubicBezTo>
                    <a:lnTo>
                      <a:pt x="109339" y="95567"/>
                    </a:lnTo>
                    <a:cubicBezTo>
                      <a:pt x="110408" y="94460"/>
                      <a:pt x="110408" y="92706"/>
                      <a:pt x="109339" y="91599"/>
                    </a:cubicBezTo>
                    <a:lnTo>
                      <a:pt x="104656" y="86876"/>
                    </a:lnTo>
                    <a:cubicBezTo>
                      <a:pt x="107231" y="82560"/>
                      <a:pt x="109169" y="77895"/>
                      <a:pt x="110411" y="73025"/>
                    </a:cubicBezTo>
                    <a:lnTo>
                      <a:pt x="117038" y="73025"/>
                    </a:lnTo>
                    <a:cubicBezTo>
                      <a:pt x="118639" y="73025"/>
                      <a:pt x="119936" y="71728"/>
                      <a:pt x="119936" y="70128"/>
                    </a:cubicBezTo>
                    <a:lnTo>
                      <a:pt x="119936" y="50284"/>
                    </a:lnTo>
                    <a:cubicBezTo>
                      <a:pt x="119936" y="48684"/>
                      <a:pt x="118639" y="47387"/>
                      <a:pt x="117038" y="47387"/>
                    </a:cubicBezTo>
                    <a:lnTo>
                      <a:pt x="110649" y="47387"/>
                    </a:lnTo>
                    <a:cubicBezTo>
                      <a:pt x="109400" y="42519"/>
                      <a:pt x="107462" y="37855"/>
                      <a:pt x="104894" y="33536"/>
                    </a:cubicBezTo>
                    <a:lnTo>
                      <a:pt x="109577" y="28853"/>
                    </a:lnTo>
                    <a:cubicBezTo>
                      <a:pt x="110646" y="27746"/>
                      <a:pt x="110646" y="25991"/>
                      <a:pt x="109577" y="24884"/>
                    </a:cubicBezTo>
                    <a:lnTo>
                      <a:pt x="95567" y="10835"/>
                    </a:lnTo>
                    <a:cubicBezTo>
                      <a:pt x="94445" y="9806"/>
                      <a:pt x="92722" y="9806"/>
                      <a:pt x="91599" y="10835"/>
                    </a:cubicBezTo>
                    <a:lnTo>
                      <a:pt x="86876" y="15518"/>
                    </a:lnTo>
                    <a:cubicBezTo>
                      <a:pt x="82566" y="12921"/>
                      <a:pt x="77900" y="10969"/>
                      <a:pt x="73025" y="9723"/>
                    </a:cubicBezTo>
                    <a:lnTo>
                      <a:pt x="73025" y="2897"/>
                    </a:lnTo>
                    <a:cubicBezTo>
                      <a:pt x="73025" y="1297"/>
                      <a:pt x="71728" y="0"/>
                      <a:pt x="70128" y="0"/>
                    </a:cubicBezTo>
                    <a:lnTo>
                      <a:pt x="50284" y="0"/>
                    </a:lnTo>
                    <a:cubicBezTo>
                      <a:pt x="48684" y="0"/>
                      <a:pt x="47387" y="1297"/>
                      <a:pt x="47387" y="2897"/>
                    </a:cubicBezTo>
                    <a:lnTo>
                      <a:pt x="47387" y="9485"/>
                    </a:lnTo>
                    <a:cubicBezTo>
                      <a:pt x="42497" y="10723"/>
                      <a:pt x="37816" y="12676"/>
                      <a:pt x="33496" y="15280"/>
                    </a:cubicBezTo>
                    <a:lnTo>
                      <a:pt x="28813" y="10597"/>
                    </a:lnTo>
                    <a:cubicBezTo>
                      <a:pt x="27690" y="9567"/>
                      <a:pt x="25967" y="9567"/>
                      <a:pt x="24844" y="10597"/>
                    </a:cubicBezTo>
                    <a:lnTo>
                      <a:pt x="10835" y="24646"/>
                    </a:lnTo>
                    <a:cubicBezTo>
                      <a:pt x="9766" y="25753"/>
                      <a:pt x="9766" y="27508"/>
                      <a:pt x="10835" y="28615"/>
                    </a:cubicBezTo>
                    <a:lnTo>
                      <a:pt x="15478" y="33258"/>
                    </a:lnTo>
                    <a:cubicBezTo>
                      <a:pt x="12903" y="37588"/>
                      <a:pt x="10965" y="42266"/>
                      <a:pt x="9723" y="47149"/>
                    </a:cubicBezTo>
                    <a:lnTo>
                      <a:pt x="2897" y="47149"/>
                    </a:lnTo>
                    <a:cubicBezTo>
                      <a:pt x="1297" y="47149"/>
                      <a:pt x="0" y="48446"/>
                      <a:pt x="0" y="50046"/>
                    </a:cubicBezTo>
                    <a:lnTo>
                      <a:pt x="0" y="69890"/>
                    </a:lnTo>
                    <a:cubicBezTo>
                      <a:pt x="0" y="71490"/>
                      <a:pt x="1297" y="72787"/>
                      <a:pt x="2897" y="72787"/>
                    </a:cubicBezTo>
                    <a:lnTo>
                      <a:pt x="9485" y="72787"/>
                    </a:lnTo>
                    <a:cubicBezTo>
                      <a:pt x="10712" y="77718"/>
                      <a:pt x="12665" y="82440"/>
                      <a:pt x="15280" y="86797"/>
                    </a:cubicBezTo>
                    <a:close/>
                    <a:moveTo>
                      <a:pt x="5794" y="53062"/>
                    </a:moveTo>
                    <a:lnTo>
                      <a:pt x="11787" y="53062"/>
                    </a:lnTo>
                    <a:cubicBezTo>
                      <a:pt x="13166" y="53073"/>
                      <a:pt x="14361" y="52110"/>
                      <a:pt x="14645" y="50760"/>
                    </a:cubicBezTo>
                    <a:cubicBezTo>
                      <a:pt x="15811" y="44980"/>
                      <a:pt x="18089" y="39480"/>
                      <a:pt x="21352" y="34568"/>
                    </a:cubicBezTo>
                    <a:cubicBezTo>
                      <a:pt x="22101" y="33417"/>
                      <a:pt x="21953" y="31900"/>
                      <a:pt x="20995" y="30917"/>
                    </a:cubicBezTo>
                    <a:lnTo>
                      <a:pt x="16708" y="26670"/>
                    </a:lnTo>
                    <a:lnTo>
                      <a:pt x="26670" y="16748"/>
                    </a:lnTo>
                    <a:lnTo>
                      <a:pt x="30917" y="20995"/>
                    </a:lnTo>
                    <a:cubicBezTo>
                      <a:pt x="31900" y="21953"/>
                      <a:pt x="33417" y="22101"/>
                      <a:pt x="34568" y="21352"/>
                    </a:cubicBezTo>
                    <a:cubicBezTo>
                      <a:pt x="39473" y="18076"/>
                      <a:pt x="44975" y="15797"/>
                      <a:pt x="50760" y="14645"/>
                    </a:cubicBezTo>
                    <a:cubicBezTo>
                      <a:pt x="52110" y="14361"/>
                      <a:pt x="53073" y="13166"/>
                      <a:pt x="53062" y="11787"/>
                    </a:cubicBezTo>
                    <a:lnTo>
                      <a:pt x="53062" y="5794"/>
                    </a:lnTo>
                    <a:lnTo>
                      <a:pt x="67112" y="5794"/>
                    </a:lnTo>
                    <a:lnTo>
                      <a:pt x="67112" y="11827"/>
                    </a:lnTo>
                    <a:cubicBezTo>
                      <a:pt x="67120" y="13191"/>
                      <a:pt x="68078" y="14364"/>
                      <a:pt x="69413" y="14645"/>
                    </a:cubicBezTo>
                    <a:cubicBezTo>
                      <a:pt x="75196" y="15828"/>
                      <a:pt x="80694" y="18119"/>
                      <a:pt x="85606" y="21392"/>
                    </a:cubicBezTo>
                    <a:cubicBezTo>
                      <a:pt x="86762" y="22146"/>
                      <a:pt x="88290" y="21980"/>
                      <a:pt x="89257" y="20995"/>
                    </a:cubicBezTo>
                    <a:lnTo>
                      <a:pt x="93504" y="16748"/>
                    </a:lnTo>
                    <a:lnTo>
                      <a:pt x="103465" y="26670"/>
                    </a:lnTo>
                    <a:lnTo>
                      <a:pt x="99179" y="30956"/>
                    </a:lnTo>
                    <a:cubicBezTo>
                      <a:pt x="98194" y="31923"/>
                      <a:pt x="98028" y="33451"/>
                      <a:pt x="98782" y="34607"/>
                    </a:cubicBezTo>
                    <a:cubicBezTo>
                      <a:pt x="102051" y="39502"/>
                      <a:pt x="104329" y="44990"/>
                      <a:pt x="105489" y="50760"/>
                    </a:cubicBezTo>
                    <a:cubicBezTo>
                      <a:pt x="105773" y="52110"/>
                      <a:pt x="106968" y="53073"/>
                      <a:pt x="108347" y="53062"/>
                    </a:cubicBezTo>
                    <a:lnTo>
                      <a:pt x="114379" y="53062"/>
                    </a:lnTo>
                    <a:lnTo>
                      <a:pt x="114379" y="67112"/>
                    </a:lnTo>
                    <a:lnTo>
                      <a:pt x="108347" y="67112"/>
                    </a:lnTo>
                    <a:cubicBezTo>
                      <a:pt x="106961" y="67120"/>
                      <a:pt x="105770" y="68096"/>
                      <a:pt x="105489" y="69453"/>
                    </a:cubicBezTo>
                    <a:cubicBezTo>
                      <a:pt x="104287" y="75198"/>
                      <a:pt x="102011" y="80665"/>
                      <a:pt x="98782" y="85566"/>
                    </a:cubicBezTo>
                    <a:cubicBezTo>
                      <a:pt x="98033" y="86717"/>
                      <a:pt x="98181" y="88234"/>
                      <a:pt x="99139" y="89218"/>
                    </a:cubicBezTo>
                    <a:lnTo>
                      <a:pt x="103465" y="93543"/>
                    </a:lnTo>
                    <a:lnTo>
                      <a:pt x="93504" y="103465"/>
                    </a:lnTo>
                    <a:lnTo>
                      <a:pt x="89218" y="99179"/>
                    </a:lnTo>
                    <a:cubicBezTo>
                      <a:pt x="88250" y="98194"/>
                      <a:pt x="86722" y="98028"/>
                      <a:pt x="85566" y="98782"/>
                    </a:cubicBezTo>
                    <a:cubicBezTo>
                      <a:pt x="80671" y="102051"/>
                      <a:pt x="75184" y="104329"/>
                      <a:pt x="69413" y="105489"/>
                    </a:cubicBezTo>
                    <a:cubicBezTo>
                      <a:pt x="68064" y="105773"/>
                      <a:pt x="67101" y="106968"/>
                      <a:pt x="67112" y="108347"/>
                    </a:cubicBezTo>
                    <a:lnTo>
                      <a:pt x="67112" y="114419"/>
                    </a:lnTo>
                    <a:lnTo>
                      <a:pt x="53062" y="114419"/>
                    </a:lnTo>
                    <a:lnTo>
                      <a:pt x="53062" y="108347"/>
                    </a:lnTo>
                    <a:cubicBezTo>
                      <a:pt x="53069" y="106977"/>
                      <a:pt x="52104" y="105795"/>
                      <a:pt x="50760" y="105529"/>
                    </a:cubicBezTo>
                    <a:cubicBezTo>
                      <a:pt x="45001" y="104334"/>
                      <a:pt x="39520" y="102058"/>
                      <a:pt x="34607" y="98822"/>
                    </a:cubicBezTo>
                    <a:cubicBezTo>
                      <a:pt x="33457" y="98073"/>
                      <a:pt x="31940" y="98221"/>
                      <a:pt x="30956" y="99179"/>
                    </a:cubicBezTo>
                    <a:lnTo>
                      <a:pt x="26670" y="103465"/>
                    </a:lnTo>
                    <a:lnTo>
                      <a:pt x="16708" y="93543"/>
                    </a:lnTo>
                    <a:lnTo>
                      <a:pt x="20995" y="89257"/>
                    </a:lnTo>
                    <a:cubicBezTo>
                      <a:pt x="21967" y="88280"/>
                      <a:pt x="22117" y="86753"/>
                      <a:pt x="21352" y="85606"/>
                    </a:cubicBezTo>
                    <a:cubicBezTo>
                      <a:pt x="18099" y="80703"/>
                      <a:pt x="15822" y="75218"/>
                      <a:pt x="14645" y="69453"/>
                    </a:cubicBezTo>
                    <a:cubicBezTo>
                      <a:pt x="14364" y="68096"/>
                      <a:pt x="13173" y="67120"/>
                      <a:pt x="11787" y="67112"/>
                    </a:cubicBezTo>
                    <a:lnTo>
                      <a:pt x="5794" y="67112"/>
                    </a:ln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00" name="Freeform: Shape 99">
                <a:extLst>
                  <a:ext uri="{FF2B5EF4-FFF2-40B4-BE49-F238E27FC236}">
                    <a16:creationId xmlns:a16="http://schemas.microsoft.com/office/drawing/2014/main" id="{35953A61-3034-0CC9-0708-69EC9373FBAC}"/>
                  </a:ext>
                </a:extLst>
              </p:cNvPr>
              <p:cNvSpPr/>
              <p:nvPr/>
            </p:nvSpPr>
            <p:spPr>
              <a:xfrm>
                <a:off x="6150014" y="1487726"/>
                <a:ext cx="76120" cy="75922"/>
              </a:xfrm>
              <a:custGeom>
                <a:avLst/>
                <a:gdLst>
                  <a:gd name="csX0" fmla="*/ 38060 w 76120"/>
                  <a:gd name="csY0" fmla="*/ 75922 h 75922"/>
                  <a:gd name="csX1" fmla="*/ 76121 w 76120"/>
                  <a:gd name="csY1" fmla="*/ 37862 h 75922"/>
                  <a:gd name="csX2" fmla="*/ 0 w 76120"/>
                  <a:gd name="csY2" fmla="*/ 37862 h 75922"/>
                  <a:gd name="csX3" fmla="*/ 38060 w 76120"/>
                  <a:gd name="csY3" fmla="*/ 75922 h 75922"/>
                  <a:gd name="csX4" fmla="*/ 38060 w 76120"/>
                  <a:gd name="csY4" fmla="*/ 5596 h 75922"/>
                  <a:gd name="csX5" fmla="*/ 70326 w 76120"/>
                  <a:gd name="csY5" fmla="*/ 37862 h 75922"/>
                  <a:gd name="csX6" fmla="*/ 5794 w 76120"/>
                  <a:gd name="csY6" fmla="*/ 37862 h 75922"/>
                  <a:gd name="csX7" fmla="*/ 38060 w 76120"/>
                  <a:gd name="csY7" fmla="*/ 5596 h 7592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76120" h="75922">
                    <a:moveTo>
                      <a:pt x="38060" y="75922"/>
                    </a:moveTo>
                    <a:cubicBezTo>
                      <a:pt x="59071" y="75900"/>
                      <a:pt x="76099" y="58873"/>
                      <a:pt x="76121" y="37862"/>
                    </a:cubicBezTo>
                    <a:cubicBezTo>
                      <a:pt x="74017" y="-12621"/>
                      <a:pt x="2103" y="-12621"/>
                      <a:pt x="0" y="37862"/>
                    </a:cubicBezTo>
                    <a:cubicBezTo>
                      <a:pt x="22" y="58873"/>
                      <a:pt x="17049" y="75900"/>
                      <a:pt x="38060" y="75922"/>
                    </a:cubicBezTo>
                    <a:close/>
                    <a:moveTo>
                      <a:pt x="38060" y="5596"/>
                    </a:moveTo>
                    <a:cubicBezTo>
                      <a:pt x="55871" y="5618"/>
                      <a:pt x="70304" y="20051"/>
                      <a:pt x="70326" y="37862"/>
                    </a:cubicBezTo>
                    <a:cubicBezTo>
                      <a:pt x="68699" y="80605"/>
                      <a:pt x="7422" y="80605"/>
                      <a:pt x="5794" y="37862"/>
                    </a:cubicBezTo>
                    <a:cubicBezTo>
                      <a:pt x="5816" y="20051"/>
                      <a:pt x="20249" y="5618"/>
                      <a:pt x="38060" y="5596"/>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01" name="Freeform: Shape 100">
                <a:extLst>
                  <a:ext uri="{FF2B5EF4-FFF2-40B4-BE49-F238E27FC236}">
                    <a16:creationId xmlns:a16="http://schemas.microsoft.com/office/drawing/2014/main" id="{33D9F418-D278-2E39-6AD6-0D942E1654C5}"/>
                  </a:ext>
                </a:extLst>
              </p:cNvPr>
              <p:cNvSpPr/>
              <p:nvPr/>
            </p:nvSpPr>
            <p:spPr>
              <a:xfrm>
                <a:off x="6081507" y="1434809"/>
                <a:ext cx="159401" cy="93556"/>
              </a:xfrm>
              <a:custGeom>
                <a:avLst/>
                <a:gdLst>
                  <a:gd name="csX0" fmla="*/ 33067 w 159401"/>
                  <a:gd name="csY0" fmla="*/ 72363 h 93556"/>
                  <a:gd name="csX1" fmla="*/ 21954 w 159401"/>
                  <a:gd name="csY1" fmla="*/ 83476 h 93556"/>
                  <a:gd name="csX2" fmla="*/ 106568 w 159401"/>
                  <a:gd name="csY2" fmla="*/ 5847 h 93556"/>
                  <a:gd name="csX3" fmla="*/ 154828 w 159401"/>
                  <a:gd name="csY3" fmla="*/ 20849 h 93556"/>
                  <a:gd name="csX4" fmla="*/ 158876 w 159401"/>
                  <a:gd name="csY4" fmla="*/ 20134 h 93556"/>
                  <a:gd name="csX5" fmla="*/ 158162 w 159401"/>
                  <a:gd name="csY5" fmla="*/ 16086 h 93556"/>
                  <a:gd name="csX6" fmla="*/ 16080 w 159401"/>
                  <a:gd name="csY6" fmla="*/ 84071 h 93556"/>
                  <a:gd name="csX7" fmla="*/ 4373 w 159401"/>
                  <a:gd name="csY7" fmla="*/ 72363 h 93556"/>
                  <a:gd name="csX8" fmla="*/ 404 w 159401"/>
                  <a:gd name="csY8" fmla="*/ 73381 h 93556"/>
                  <a:gd name="csX9" fmla="*/ 404 w 159401"/>
                  <a:gd name="csY9" fmla="*/ 76332 h 93556"/>
                  <a:gd name="csX10" fmla="*/ 16795 w 159401"/>
                  <a:gd name="csY10" fmla="*/ 92723 h 93556"/>
                  <a:gd name="csX11" fmla="*/ 19930 w 159401"/>
                  <a:gd name="csY11" fmla="*/ 93358 h 93556"/>
                  <a:gd name="csX12" fmla="*/ 20883 w 159401"/>
                  <a:gd name="csY12" fmla="*/ 92723 h 93556"/>
                  <a:gd name="csX13" fmla="*/ 37273 w 159401"/>
                  <a:gd name="csY13" fmla="*/ 76332 h 93556"/>
                  <a:gd name="csX14" fmla="*/ 36904 w 159401"/>
                  <a:gd name="csY14" fmla="*/ 72251 h 93556"/>
                  <a:gd name="csX15" fmla="*/ 33067 w 159401"/>
                  <a:gd name="csY15" fmla="*/ 72363 h 9355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Lst>
                <a:rect l="l" t="t" r="r" b="b"/>
                <a:pathLst>
                  <a:path w="159401" h="93556">
                    <a:moveTo>
                      <a:pt x="33067" y="72363"/>
                    </a:moveTo>
                    <a:lnTo>
                      <a:pt x="21954" y="83476"/>
                    </a:lnTo>
                    <a:cubicBezTo>
                      <a:pt x="25798" y="39591"/>
                      <a:pt x="62515" y="5905"/>
                      <a:pt x="106568" y="5847"/>
                    </a:cubicBezTo>
                    <a:cubicBezTo>
                      <a:pt x="123814" y="5768"/>
                      <a:pt x="140665" y="11007"/>
                      <a:pt x="154828" y="20849"/>
                    </a:cubicBezTo>
                    <a:cubicBezTo>
                      <a:pt x="156143" y="21769"/>
                      <a:pt x="157955" y="21449"/>
                      <a:pt x="158876" y="20134"/>
                    </a:cubicBezTo>
                    <a:cubicBezTo>
                      <a:pt x="159797" y="18819"/>
                      <a:pt x="159477" y="17007"/>
                      <a:pt x="158162" y="16086"/>
                    </a:cubicBezTo>
                    <a:cubicBezTo>
                      <a:pt x="101528" y="-23998"/>
                      <a:pt x="20367" y="15372"/>
                      <a:pt x="16080" y="84071"/>
                    </a:cubicBezTo>
                    <a:lnTo>
                      <a:pt x="4373" y="72363"/>
                    </a:lnTo>
                    <a:cubicBezTo>
                      <a:pt x="2995" y="71548"/>
                      <a:pt x="1219" y="72004"/>
                      <a:pt x="404" y="73381"/>
                    </a:cubicBezTo>
                    <a:cubicBezTo>
                      <a:pt x="-135" y="74291"/>
                      <a:pt x="-135" y="75422"/>
                      <a:pt x="404" y="76332"/>
                    </a:cubicBezTo>
                    <a:lnTo>
                      <a:pt x="16795" y="92723"/>
                    </a:lnTo>
                    <a:cubicBezTo>
                      <a:pt x="17628" y="93526"/>
                      <a:pt x="18850" y="93773"/>
                      <a:pt x="19930" y="93358"/>
                    </a:cubicBezTo>
                    <a:cubicBezTo>
                      <a:pt x="20284" y="93207"/>
                      <a:pt x="20607" y="92992"/>
                      <a:pt x="20883" y="92723"/>
                    </a:cubicBezTo>
                    <a:lnTo>
                      <a:pt x="37273" y="76332"/>
                    </a:lnTo>
                    <a:cubicBezTo>
                      <a:pt x="38298" y="75103"/>
                      <a:pt x="38132" y="73276"/>
                      <a:pt x="36904" y="72251"/>
                    </a:cubicBezTo>
                    <a:cubicBezTo>
                      <a:pt x="35780" y="71314"/>
                      <a:pt x="34134" y="71362"/>
                      <a:pt x="33067" y="72363"/>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02" name="Freeform: Shape 101">
                <a:extLst>
                  <a:ext uri="{FF2B5EF4-FFF2-40B4-BE49-F238E27FC236}">
                    <a16:creationId xmlns:a16="http://schemas.microsoft.com/office/drawing/2014/main" id="{A1D18BCC-A32D-58D4-A80C-DC4AFAD0A581}"/>
                  </a:ext>
                </a:extLst>
              </p:cNvPr>
              <p:cNvSpPr/>
              <p:nvPr/>
            </p:nvSpPr>
            <p:spPr>
              <a:xfrm>
                <a:off x="6132732" y="1522716"/>
                <a:ext cx="162340" cy="93612"/>
              </a:xfrm>
              <a:custGeom>
                <a:avLst/>
                <a:gdLst>
                  <a:gd name="csX0" fmla="*/ 161625 w 162340"/>
                  <a:gd name="csY0" fmla="*/ 17238 h 93612"/>
                  <a:gd name="csX1" fmla="*/ 145234 w 162340"/>
                  <a:gd name="csY1" fmla="*/ 847 h 93612"/>
                  <a:gd name="csX2" fmla="*/ 142099 w 162340"/>
                  <a:gd name="csY2" fmla="*/ 212 h 93612"/>
                  <a:gd name="csX3" fmla="*/ 141147 w 162340"/>
                  <a:gd name="csY3" fmla="*/ 847 h 93612"/>
                  <a:gd name="csX4" fmla="*/ 124756 w 162340"/>
                  <a:gd name="csY4" fmla="*/ 17238 h 93612"/>
                  <a:gd name="csX5" fmla="*/ 125774 w 162340"/>
                  <a:gd name="csY5" fmla="*/ 21207 h 93612"/>
                  <a:gd name="csX6" fmla="*/ 128724 w 162340"/>
                  <a:gd name="csY6" fmla="*/ 21207 h 93612"/>
                  <a:gd name="csX7" fmla="*/ 139837 w 162340"/>
                  <a:gd name="csY7" fmla="*/ 10094 h 93612"/>
                  <a:gd name="csX8" fmla="*/ 4502 w 162340"/>
                  <a:gd name="csY8" fmla="*/ 71054 h 93612"/>
                  <a:gd name="csX9" fmla="*/ 485 w 162340"/>
                  <a:gd name="csY9" fmla="*/ 71861 h 93612"/>
                  <a:gd name="csX10" fmla="*/ 1050 w 162340"/>
                  <a:gd name="csY10" fmla="*/ 75698 h 93612"/>
                  <a:gd name="csX11" fmla="*/ 145830 w 162340"/>
                  <a:gd name="csY11" fmla="*/ 9578 h 93612"/>
                  <a:gd name="csX12" fmla="*/ 157736 w 162340"/>
                  <a:gd name="csY12" fmla="*/ 21485 h 93612"/>
                  <a:gd name="csX13" fmla="*/ 161784 w 162340"/>
                  <a:gd name="csY13" fmla="*/ 20851 h 93612"/>
                  <a:gd name="csX14" fmla="*/ 161625 w 162340"/>
                  <a:gd name="csY14" fmla="*/ 17238 h 9361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162340" h="93612">
                    <a:moveTo>
                      <a:pt x="161625" y="17238"/>
                    </a:moveTo>
                    <a:lnTo>
                      <a:pt x="145234" y="847"/>
                    </a:lnTo>
                    <a:cubicBezTo>
                      <a:pt x="144411" y="25"/>
                      <a:pt x="143177" y="-225"/>
                      <a:pt x="142099" y="212"/>
                    </a:cubicBezTo>
                    <a:cubicBezTo>
                      <a:pt x="141745" y="363"/>
                      <a:pt x="141422" y="578"/>
                      <a:pt x="141147" y="847"/>
                    </a:cubicBezTo>
                    <a:lnTo>
                      <a:pt x="124756" y="17238"/>
                    </a:lnTo>
                    <a:cubicBezTo>
                      <a:pt x="123941" y="18615"/>
                      <a:pt x="124397" y="20392"/>
                      <a:pt x="125774" y="21207"/>
                    </a:cubicBezTo>
                    <a:cubicBezTo>
                      <a:pt x="126684" y="21745"/>
                      <a:pt x="127814" y="21745"/>
                      <a:pt x="128724" y="21207"/>
                    </a:cubicBezTo>
                    <a:lnTo>
                      <a:pt x="139837" y="10094"/>
                    </a:lnTo>
                    <a:cubicBezTo>
                      <a:pt x="135114" y="75420"/>
                      <a:pt x="56890" y="110980"/>
                      <a:pt x="4502" y="71054"/>
                    </a:cubicBezTo>
                    <a:cubicBezTo>
                      <a:pt x="3170" y="70168"/>
                      <a:pt x="1372" y="70529"/>
                      <a:pt x="485" y="71861"/>
                    </a:cubicBezTo>
                    <a:cubicBezTo>
                      <a:pt x="-336" y="73096"/>
                      <a:pt x="-93" y="74752"/>
                      <a:pt x="1050" y="75698"/>
                    </a:cubicBezTo>
                    <a:cubicBezTo>
                      <a:pt x="57446" y="118600"/>
                      <a:pt x="141385" y="79667"/>
                      <a:pt x="145830" y="9578"/>
                    </a:cubicBezTo>
                    <a:lnTo>
                      <a:pt x="157736" y="21485"/>
                    </a:lnTo>
                    <a:cubicBezTo>
                      <a:pt x="159029" y="22428"/>
                      <a:pt x="160841" y="22144"/>
                      <a:pt x="161784" y="20851"/>
                    </a:cubicBezTo>
                    <a:cubicBezTo>
                      <a:pt x="162582" y="19758"/>
                      <a:pt x="162516" y="18258"/>
                      <a:pt x="161625" y="17238"/>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03" name="Freeform: Shape 102">
                <a:extLst>
                  <a:ext uri="{FF2B5EF4-FFF2-40B4-BE49-F238E27FC236}">
                    <a16:creationId xmlns:a16="http://schemas.microsoft.com/office/drawing/2014/main" id="{0D49DFFA-0FF1-5FDB-6C3C-A28D28B64BF5}"/>
                  </a:ext>
                </a:extLst>
              </p:cNvPr>
              <p:cNvSpPr/>
              <p:nvPr/>
            </p:nvSpPr>
            <p:spPr>
              <a:xfrm>
                <a:off x="6165135" y="1510824"/>
                <a:ext cx="45878" cy="31591"/>
              </a:xfrm>
              <a:custGeom>
                <a:avLst/>
                <a:gdLst>
                  <a:gd name="csX0" fmla="*/ 45879 w 45878"/>
                  <a:gd name="csY0" fmla="*/ 4088 h 31591"/>
                  <a:gd name="csX1" fmla="*/ 41751 w 45878"/>
                  <a:gd name="csY1" fmla="*/ 0 h 31591"/>
                  <a:gd name="csX2" fmla="*/ 18375 w 45878"/>
                  <a:gd name="csY2" fmla="*/ 23416 h 31591"/>
                  <a:gd name="csX3" fmla="*/ 4128 w 45878"/>
                  <a:gd name="csY3" fmla="*/ 9128 h 31591"/>
                  <a:gd name="csX4" fmla="*/ 0 w 45878"/>
                  <a:gd name="csY4" fmla="*/ 13216 h 31591"/>
                  <a:gd name="csX5" fmla="*/ 18375 w 45878"/>
                  <a:gd name="csY5" fmla="*/ 31591 h 31591"/>
                </a:gdLst>
                <a:ahLst/>
                <a:cxnLst>
                  <a:cxn ang="0">
                    <a:pos x="csX0" y="csY0"/>
                  </a:cxn>
                  <a:cxn ang="0">
                    <a:pos x="csX1" y="csY1"/>
                  </a:cxn>
                  <a:cxn ang="0">
                    <a:pos x="csX2" y="csY2"/>
                  </a:cxn>
                  <a:cxn ang="0">
                    <a:pos x="csX3" y="csY3"/>
                  </a:cxn>
                  <a:cxn ang="0">
                    <a:pos x="csX4" y="csY4"/>
                  </a:cxn>
                  <a:cxn ang="0">
                    <a:pos x="csX5" y="csY5"/>
                  </a:cxn>
                </a:cxnLst>
                <a:rect l="l" t="t" r="r" b="b"/>
                <a:pathLst>
                  <a:path w="45878" h="31591">
                    <a:moveTo>
                      <a:pt x="45879" y="4088"/>
                    </a:moveTo>
                    <a:lnTo>
                      <a:pt x="41751" y="0"/>
                    </a:lnTo>
                    <a:lnTo>
                      <a:pt x="18375" y="23416"/>
                    </a:lnTo>
                    <a:lnTo>
                      <a:pt x="4128" y="9128"/>
                    </a:lnTo>
                    <a:lnTo>
                      <a:pt x="0" y="13216"/>
                    </a:lnTo>
                    <a:lnTo>
                      <a:pt x="18375" y="31591"/>
                    </a:ln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04" name="Group 103">
            <a:extLst>
              <a:ext uri="{FF2B5EF4-FFF2-40B4-BE49-F238E27FC236}">
                <a16:creationId xmlns:a16="http://schemas.microsoft.com/office/drawing/2014/main" id="{96445677-AE70-3A85-F540-7CEE82721BEE}"/>
              </a:ext>
            </a:extLst>
          </p:cNvPr>
          <p:cNvGrpSpPr/>
          <p:nvPr/>
        </p:nvGrpSpPr>
        <p:grpSpPr>
          <a:xfrm>
            <a:off x="7936609" y="4636736"/>
            <a:ext cx="457200" cy="457200"/>
            <a:chOff x="7936609" y="5270076"/>
            <a:chExt cx="457200" cy="457200"/>
          </a:xfrm>
        </p:grpSpPr>
        <p:sp>
          <p:nvSpPr>
            <p:cNvPr id="105" name="Oval 104">
              <a:extLst>
                <a:ext uri="{FF2B5EF4-FFF2-40B4-BE49-F238E27FC236}">
                  <a16:creationId xmlns:a16="http://schemas.microsoft.com/office/drawing/2014/main" id="{4D015FB7-1665-AF8A-A85E-3DFC95381497}"/>
                </a:ext>
              </a:extLst>
            </p:cNvPr>
            <p:cNvSpPr>
              <a:spLocks noChangeAspect="1"/>
            </p:cNvSpPr>
            <p:nvPr/>
          </p:nvSpPr>
          <p:spPr>
            <a:xfrm>
              <a:off x="7936609" y="5270076"/>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grpSp>
          <p:nvGrpSpPr>
            <p:cNvPr id="106" name="Group 105">
              <a:extLst>
                <a:ext uri="{FF2B5EF4-FFF2-40B4-BE49-F238E27FC236}">
                  <a16:creationId xmlns:a16="http://schemas.microsoft.com/office/drawing/2014/main" id="{C28E04D4-F2EC-9999-3B6B-EC24078F940E}"/>
                </a:ext>
              </a:extLst>
            </p:cNvPr>
            <p:cNvGrpSpPr>
              <a:grpSpLocks noChangeAspect="1"/>
            </p:cNvGrpSpPr>
            <p:nvPr/>
          </p:nvGrpSpPr>
          <p:grpSpPr>
            <a:xfrm>
              <a:off x="8028250" y="5358976"/>
              <a:ext cx="273919" cy="279400"/>
              <a:chOff x="6061323" y="1739900"/>
              <a:chExt cx="249017" cy="254000"/>
            </a:xfrm>
            <a:solidFill>
              <a:schemeClr val="bg1"/>
            </a:solidFill>
          </p:grpSpPr>
          <p:sp>
            <p:nvSpPr>
              <p:cNvPr id="107" name="Freeform: Shape 106">
                <a:extLst>
                  <a:ext uri="{FF2B5EF4-FFF2-40B4-BE49-F238E27FC236}">
                    <a16:creationId xmlns:a16="http://schemas.microsoft.com/office/drawing/2014/main" id="{1AD4B141-2190-4A09-5AF6-68FD20681F50}"/>
                  </a:ext>
                </a:extLst>
              </p:cNvPr>
              <p:cNvSpPr/>
              <p:nvPr/>
            </p:nvSpPr>
            <p:spPr>
              <a:xfrm>
                <a:off x="6061323" y="1739900"/>
                <a:ext cx="249017" cy="254000"/>
              </a:xfrm>
              <a:custGeom>
                <a:avLst/>
                <a:gdLst>
                  <a:gd name="csX0" fmla="*/ 171080 w 249017"/>
                  <a:gd name="csY0" fmla="*/ 233782 h 254000"/>
                  <a:gd name="csX1" fmla="*/ 124385 w 249017"/>
                  <a:gd name="csY1" fmla="*/ 246423 h 254000"/>
                  <a:gd name="csX2" fmla="*/ 32412 w 249017"/>
                  <a:gd name="csY2" fmla="*/ 154754 h 254000"/>
                  <a:gd name="csX3" fmla="*/ 32412 w 249017"/>
                  <a:gd name="csY3" fmla="*/ 151276 h 254000"/>
                  <a:gd name="csX4" fmla="*/ 18028 w 249017"/>
                  <a:gd name="csY4" fmla="*/ 151276 h 254000"/>
                  <a:gd name="csX5" fmla="*/ 44858 w 249017"/>
                  <a:gd name="csY5" fmla="*/ 124498 h 254000"/>
                  <a:gd name="csX6" fmla="*/ 71688 w 249017"/>
                  <a:gd name="csY6" fmla="*/ 151276 h 254000"/>
                  <a:gd name="csX7" fmla="*/ 56805 w 249017"/>
                  <a:gd name="csY7" fmla="*/ 151276 h 254000"/>
                  <a:gd name="csX8" fmla="*/ 56805 w 249017"/>
                  <a:gd name="csY8" fmla="*/ 154754 h 254000"/>
                  <a:gd name="csX9" fmla="*/ 124385 w 249017"/>
                  <a:gd name="csY9" fmla="*/ 222078 h 254000"/>
                  <a:gd name="csX10" fmla="*/ 187360 w 249017"/>
                  <a:gd name="csY10" fmla="*/ 179092 h 254000"/>
                  <a:gd name="csX11" fmla="*/ 204130 w 249017"/>
                  <a:gd name="csY11" fmla="*/ 195920 h 254000"/>
                  <a:gd name="csX12" fmla="*/ 249018 w 249017"/>
                  <a:gd name="csY12" fmla="*/ 151276 h 254000"/>
                  <a:gd name="csX13" fmla="*/ 223755 w 249017"/>
                  <a:gd name="csY13" fmla="*/ 151276 h 254000"/>
                  <a:gd name="csX14" fmla="*/ 197422 w 249017"/>
                  <a:gd name="csY14" fmla="*/ 87574 h 254000"/>
                  <a:gd name="csX15" fmla="*/ 139792 w 249017"/>
                  <a:gd name="csY15" fmla="*/ 56861 h 254000"/>
                  <a:gd name="csX16" fmla="*/ 152139 w 249017"/>
                  <a:gd name="csY16" fmla="*/ 27591 h 254000"/>
                  <a:gd name="csX17" fmla="*/ 124509 w 249017"/>
                  <a:gd name="csY17" fmla="*/ 0 h 254000"/>
                  <a:gd name="csX18" fmla="*/ 96881 w 249017"/>
                  <a:gd name="csY18" fmla="*/ 27568 h 254000"/>
                  <a:gd name="csX19" fmla="*/ 109236 w 249017"/>
                  <a:gd name="csY19" fmla="*/ 56812 h 254000"/>
                  <a:gd name="csX20" fmla="*/ 38482 w 249017"/>
                  <a:gd name="csY20" fmla="*/ 105191 h 254000"/>
                  <a:gd name="csX21" fmla="*/ 44946 w 249017"/>
                  <a:gd name="csY21" fmla="*/ 108924 h 254000"/>
                  <a:gd name="csX22" fmla="*/ 115133 w 249017"/>
                  <a:gd name="csY22" fmla="*/ 63566 h 254000"/>
                  <a:gd name="csX23" fmla="*/ 122136 w 249017"/>
                  <a:gd name="csY23" fmla="*/ 70186 h 254000"/>
                  <a:gd name="csX24" fmla="*/ 124509 w 249017"/>
                  <a:gd name="csY24" fmla="*/ 72133 h 254000"/>
                  <a:gd name="csX25" fmla="*/ 126882 w 249017"/>
                  <a:gd name="csY25" fmla="*/ 70186 h 254000"/>
                  <a:gd name="csX26" fmla="*/ 133891 w 249017"/>
                  <a:gd name="csY26" fmla="*/ 63560 h 254000"/>
                  <a:gd name="csX27" fmla="*/ 191816 w 249017"/>
                  <a:gd name="csY27" fmla="*/ 92512 h 254000"/>
                  <a:gd name="csX28" fmla="*/ 216109 w 249017"/>
                  <a:gd name="csY28" fmla="*/ 154754 h 254000"/>
                  <a:gd name="csX29" fmla="*/ 216109 w 249017"/>
                  <a:gd name="csY29" fmla="*/ 158729 h 254000"/>
                  <a:gd name="csX30" fmla="*/ 230991 w 249017"/>
                  <a:gd name="csY30" fmla="*/ 158729 h 254000"/>
                  <a:gd name="csX31" fmla="*/ 204162 w 249017"/>
                  <a:gd name="csY31" fmla="*/ 185506 h 254000"/>
                  <a:gd name="csX32" fmla="*/ 177332 w 249017"/>
                  <a:gd name="csY32" fmla="*/ 158729 h 254000"/>
                  <a:gd name="csX33" fmla="*/ 191715 w 249017"/>
                  <a:gd name="csY33" fmla="*/ 158729 h 254000"/>
                  <a:gd name="csX34" fmla="*/ 191715 w 249017"/>
                  <a:gd name="csY34" fmla="*/ 154754 h 254000"/>
                  <a:gd name="csX35" fmla="*/ 124385 w 249017"/>
                  <a:gd name="csY35" fmla="*/ 87431 h 254000"/>
                  <a:gd name="csX36" fmla="*/ 61533 w 249017"/>
                  <a:gd name="csY36" fmla="*/ 130416 h 254000"/>
                  <a:gd name="csX37" fmla="*/ 44825 w 249017"/>
                  <a:gd name="csY37" fmla="*/ 113836 h 254000"/>
                  <a:gd name="csX38" fmla="*/ 0 w 249017"/>
                  <a:gd name="csY38" fmla="*/ 158729 h 254000"/>
                  <a:gd name="csX39" fmla="*/ 25263 w 249017"/>
                  <a:gd name="csY39" fmla="*/ 158729 h 254000"/>
                  <a:gd name="csX40" fmla="*/ 124509 w 249017"/>
                  <a:gd name="csY40" fmla="*/ 254000 h 254000"/>
                  <a:gd name="csX41" fmla="*/ 174872 w 249017"/>
                  <a:gd name="csY41" fmla="*/ 240264 h 254000"/>
                  <a:gd name="csX42" fmla="*/ 210536 w 249017"/>
                  <a:gd name="csY42" fmla="*/ 204348 h 254000"/>
                  <a:gd name="csX43" fmla="*/ 204072 w 249017"/>
                  <a:gd name="csY43" fmla="*/ 200600 h 254000"/>
                  <a:gd name="csX44" fmla="*/ 171080 w 249017"/>
                  <a:gd name="csY44" fmla="*/ 233782 h 254000"/>
                  <a:gd name="csX45" fmla="*/ 124505 w 249017"/>
                  <a:gd name="csY45" fmla="*/ 62320 h 254000"/>
                  <a:gd name="csX46" fmla="*/ 115472 w 249017"/>
                  <a:gd name="csY46" fmla="*/ 52646 h 254000"/>
                  <a:gd name="csX47" fmla="*/ 104347 w 249017"/>
                  <a:gd name="csY47" fmla="*/ 27560 h 254000"/>
                  <a:gd name="csX48" fmla="*/ 124509 w 249017"/>
                  <a:gd name="csY48" fmla="*/ 7438 h 254000"/>
                  <a:gd name="csX49" fmla="*/ 144671 w 249017"/>
                  <a:gd name="csY49" fmla="*/ 27560 h 254000"/>
                  <a:gd name="csX50" fmla="*/ 124505 w 249017"/>
                  <a:gd name="csY50" fmla="*/ 62320 h 254000"/>
                  <a:gd name="csX51" fmla="*/ 108578 w 249017"/>
                  <a:gd name="csY51" fmla="*/ 186801 h 254000"/>
                  <a:gd name="csX52" fmla="*/ 96382 w 249017"/>
                  <a:gd name="csY52" fmla="*/ 174629 h 254000"/>
                  <a:gd name="csX53" fmla="*/ 108578 w 249017"/>
                  <a:gd name="csY53" fmla="*/ 162455 h 254000"/>
                  <a:gd name="csX54" fmla="*/ 120775 w 249017"/>
                  <a:gd name="csY54" fmla="*/ 174629 h 254000"/>
                  <a:gd name="csX55" fmla="*/ 108578 w 249017"/>
                  <a:gd name="csY55" fmla="*/ 186801 h 254000"/>
                  <a:gd name="csX56" fmla="*/ 112063 w 249017"/>
                  <a:gd name="csY56" fmla="*/ 213377 h 254000"/>
                  <a:gd name="csX57" fmla="*/ 112063 w 249017"/>
                  <a:gd name="csY57" fmla="*/ 193895 h 254000"/>
                  <a:gd name="csX58" fmla="*/ 126251 w 249017"/>
                  <a:gd name="csY58" fmla="*/ 182688 h 254000"/>
                  <a:gd name="csX59" fmla="*/ 140438 w 249017"/>
                  <a:gd name="csY59" fmla="*/ 193895 h 254000"/>
                  <a:gd name="csX60" fmla="*/ 140438 w 249017"/>
                  <a:gd name="csY60" fmla="*/ 212404 h 254000"/>
                  <a:gd name="csX61" fmla="*/ 124260 w 249017"/>
                  <a:gd name="csY61" fmla="*/ 214625 h 254000"/>
                  <a:gd name="csX62" fmla="*/ 112063 w 249017"/>
                  <a:gd name="csY62" fmla="*/ 213377 h 254000"/>
                  <a:gd name="csX63" fmla="*/ 144423 w 249017"/>
                  <a:gd name="csY63" fmla="*/ 186801 h 254000"/>
                  <a:gd name="csX64" fmla="*/ 132225 w 249017"/>
                  <a:gd name="csY64" fmla="*/ 174629 h 254000"/>
                  <a:gd name="csX65" fmla="*/ 144423 w 249017"/>
                  <a:gd name="csY65" fmla="*/ 162455 h 254000"/>
                  <a:gd name="csX66" fmla="*/ 156618 w 249017"/>
                  <a:gd name="csY66" fmla="*/ 174629 h 254000"/>
                  <a:gd name="csX67" fmla="*/ 144423 w 249017"/>
                  <a:gd name="csY67" fmla="*/ 186801 h 254000"/>
                  <a:gd name="csX68" fmla="*/ 124509 w 249017"/>
                  <a:gd name="csY68" fmla="*/ 95008 h 254000"/>
                  <a:gd name="csX69" fmla="*/ 184382 w 249017"/>
                  <a:gd name="csY69" fmla="*/ 151276 h 254000"/>
                  <a:gd name="csX70" fmla="*/ 159303 w 249017"/>
                  <a:gd name="csY70" fmla="*/ 151276 h 254000"/>
                  <a:gd name="csX71" fmla="*/ 181444 w 249017"/>
                  <a:gd name="csY71" fmla="*/ 173373 h 254000"/>
                  <a:gd name="csX72" fmla="*/ 147908 w 249017"/>
                  <a:gd name="csY72" fmla="*/ 209782 h 254000"/>
                  <a:gd name="csX73" fmla="*/ 147908 w 249017"/>
                  <a:gd name="csY73" fmla="*/ 193895 h 254000"/>
                  <a:gd name="csX74" fmla="*/ 163961 w 249017"/>
                  <a:gd name="csY74" fmla="*/ 174629 h 254000"/>
                  <a:gd name="csX75" fmla="*/ 144360 w 249017"/>
                  <a:gd name="csY75" fmla="*/ 155002 h 254000"/>
                  <a:gd name="csX76" fmla="*/ 126470 w 249017"/>
                  <a:gd name="csY76" fmla="*/ 166567 h 254000"/>
                  <a:gd name="csX77" fmla="*/ 108562 w 249017"/>
                  <a:gd name="csY77" fmla="*/ 155002 h 254000"/>
                  <a:gd name="csX78" fmla="*/ 88782 w 249017"/>
                  <a:gd name="csY78" fmla="*/ 174629 h 254000"/>
                  <a:gd name="csX79" fmla="*/ 104597 w 249017"/>
                  <a:gd name="csY79" fmla="*/ 193895 h 254000"/>
                  <a:gd name="csX80" fmla="*/ 104597 w 249017"/>
                  <a:gd name="csY80" fmla="*/ 211319 h 254000"/>
                  <a:gd name="csX81" fmla="*/ 64636 w 249017"/>
                  <a:gd name="csY81" fmla="*/ 158729 h 254000"/>
                  <a:gd name="csX82" fmla="*/ 89714 w 249017"/>
                  <a:gd name="csY82" fmla="*/ 158729 h 254000"/>
                  <a:gd name="csX83" fmla="*/ 67449 w 249017"/>
                  <a:gd name="csY83" fmla="*/ 136445 h 254000"/>
                  <a:gd name="csX84" fmla="*/ 124509 w 249017"/>
                  <a:gd name="csY84" fmla="*/ 95008 h 2540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Lst>
                <a:rect l="l" t="t" r="r" b="b"/>
                <a:pathLst>
                  <a:path w="249017" h="254000">
                    <a:moveTo>
                      <a:pt x="171080" y="233782"/>
                    </a:moveTo>
                    <a:cubicBezTo>
                      <a:pt x="157024" y="242053"/>
                      <a:pt x="140795" y="246423"/>
                      <a:pt x="124385" y="246423"/>
                    </a:cubicBezTo>
                    <a:cubicBezTo>
                      <a:pt x="73738" y="246423"/>
                      <a:pt x="32412" y="205299"/>
                      <a:pt x="32412" y="154754"/>
                    </a:cubicBezTo>
                    <a:lnTo>
                      <a:pt x="32412" y="151276"/>
                    </a:lnTo>
                    <a:lnTo>
                      <a:pt x="18028" y="151276"/>
                    </a:lnTo>
                    <a:lnTo>
                      <a:pt x="44858" y="124498"/>
                    </a:lnTo>
                    <a:lnTo>
                      <a:pt x="71688" y="151276"/>
                    </a:lnTo>
                    <a:lnTo>
                      <a:pt x="56805" y="151276"/>
                    </a:lnTo>
                    <a:lnTo>
                      <a:pt x="56805" y="154754"/>
                    </a:lnTo>
                    <a:cubicBezTo>
                      <a:pt x="56805" y="191876"/>
                      <a:pt x="87190" y="222078"/>
                      <a:pt x="124385" y="222078"/>
                    </a:cubicBezTo>
                    <a:cubicBezTo>
                      <a:pt x="152517" y="222078"/>
                      <a:pt x="177425" y="204749"/>
                      <a:pt x="187360" y="179092"/>
                    </a:cubicBezTo>
                    <a:lnTo>
                      <a:pt x="204130" y="195920"/>
                    </a:lnTo>
                    <a:lnTo>
                      <a:pt x="249018" y="151276"/>
                    </a:lnTo>
                    <a:lnTo>
                      <a:pt x="223755" y="151276"/>
                    </a:lnTo>
                    <a:cubicBezTo>
                      <a:pt x="222873" y="127426"/>
                      <a:pt x="213600" y="105025"/>
                      <a:pt x="197422" y="87574"/>
                    </a:cubicBezTo>
                    <a:cubicBezTo>
                      <a:pt x="182102" y="71050"/>
                      <a:pt x="161847" y="60262"/>
                      <a:pt x="139792" y="56861"/>
                    </a:cubicBezTo>
                    <a:cubicBezTo>
                      <a:pt x="146013" y="49001"/>
                      <a:pt x="152139" y="38469"/>
                      <a:pt x="152139" y="27591"/>
                    </a:cubicBezTo>
                    <a:cubicBezTo>
                      <a:pt x="152139" y="12385"/>
                      <a:pt x="139745" y="0"/>
                      <a:pt x="124509" y="0"/>
                    </a:cubicBezTo>
                    <a:cubicBezTo>
                      <a:pt x="109275" y="0"/>
                      <a:pt x="96881" y="12364"/>
                      <a:pt x="96881" y="27568"/>
                    </a:cubicBezTo>
                    <a:cubicBezTo>
                      <a:pt x="96881" y="38449"/>
                      <a:pt x="103011" y="48951"/>
                      <a:pt x="109236" y="56812"/>
                    </a:cubicBezTo>
                    <a:cubicBezTo>
                      <a:pt x="79711" y="61378"/>
                      <a:pt x="53615" y="79084"/>
                      <a:pt x="38482" y="105191"/>
                    </a:cubicBezTo>
                    <a:lnTo>
                      <a:pt x="44946" y="108924"/>
                    </a:lnTo>
                    <a:cubicBezTo>
                      <a:pt x="59749" y="83383"/>
                      <a:pt x="85893" y="66531"/>
                      <a:pt x="115133" y="63566"/>
                    </a:cubicBezTo>
                    <a:cubicBezTo>
                      <a:pt x="118872" y="67477"/>
                      <a:pt x="121792" y="69903"/>
                      <a:pt x="122136" y="70186"/>
                    </a:cubicBezTo>
                    <a:lnTo>
                      <a:pt x="124509" y="72133"/>
                    </a:lnTo>
                    <a:lnTo>
                      <a:pt x="126882" y="70186"/>
                    </a:lnTo>
                    <a:cubicBezTo>
                      <a:pt x="127225" y="69903"/>
                      <a:pt x="130149" y="67473"/>
                      <a:pt x="133891" y="63560"/>
                    </a:cubicBezTo>
                    <a:cubicBezTo>
                      <a:pt x="156119" y="65812"/>
                      <a:pt x="176551" y="76048"/>
                      <a:pt x="191816" y="92512"/>
                    </a:cubicBezTo>
                    <a:cubicBezTo>
                      <a:pt x="207561" y="109495"/>
                      <a:pt x="216109" y="131601"/>
                      <a:pt x="216109" y="154754"/>
                    </a:cubicBezTo>
                    <a:lnTo>
                      <a:pt x="216109" y="158729"/>
                    </a:lnTo>
                    <a:lnTo>
                      <a:pt x="230991" y="158729"/>
                    </a:lnTo>
                    <a:lnTo>
                      <a:pt x="204162" y="185506"/>
                    </a:lnTo>
                    <a:lnTo>
                      <a:pt x="177332" y="158729"/>
                    </a:lnTo>
                    <a:lnTo>
                      <a:pt x="191715" y="158729"/>
                    </a:lnTo>
                    <a:lnTo>
                      <a:pt x="191715" y="154754"/>
                    </a:lnTo>
                    <a:cubicBezTo>
                      <a:pt x="191715" y="117632"/>
                      <a:pt x="161579" y="87431"/>
                      <a:pt x="124385" y="87431"/>
                    </a:cubicBezTo>
                    <a:cubicBezTo>
                      <a:pt x="96252" y="87431"/>
                      <a:pt x="71469" y="104757"/>
                      <a:pt x="61533" y="130416"/>
                    </a:cubicBezTo>
                    <a:lnTo>
                      <a:pt x="44825" y="113836"/>
                    </a:lnTo>
                    <a:lnTo>
                      <a:pt x="0" y="158729"/>
                    </a:lnTo>
                    <a:lnTo>
                      <a:pt x="25263" y="158729"/>
                    </a:lnTo>
                    <a:cubicBezTo>
                      <a:pt x="27232" y="211394"/>
                      <a:pt x="70997" y="254000"/>
                      <a:pt x="124509" y="254000"/>
                    </a:cubicBezTo>
                    <a:cubicBezTo>
                      <a:pt x="142254" y="254000"/>
                      <a:pt x="159668" y="249210"/>
                      <a:pt x="174872" y="240264"/>
                    </a:cubicBezTo>
                    <a:cubicBezTo>
                      <a:pt x="189628" y="231585"/>
                      <a:pt x="201960" y="219144"/>
                      <a:pt x="210536" y="204348"/>
                    </a:cubicBezTo>
                    <a:lnTo>
                      <a:pt x="204072" y="200600"/>
                    </a:lnTo>
                    <a:cubicBezTo>
                      <a:pt x="196139" y="214287"/>
                      <a:pt x="184731" y="225752"/>
                      <a:pt x="171080" y="233782"/>
                    </a:cubicBezTo>
                    <a:close/>
                    <a:moveTo>
                      <a:pt x="124505" y="62320"/>
                    </a:moveTo>
                    <a:cubicBezTo>
                      <a:pt x="122313" y="60285"/>
                      <a:pt x="118890" y="56892"/>
                      <a:pt x="115472" y="52646"/>
                    </a:cubicBezTo>
                    <a:cubicBezTo>
                      <a:pt x="110397" y="46340"/>
                      <a:pt x="104347" y="36870"/>
                      <a:pt x="104347" y="27560"/>
                    </a:cubicBezTo>
                    <a:cubicBezTo>
                      <a:pt x="104347" y="16464"/>
                      <a:pt x="113391" y="7438"/>
                      <a:pt x="124509" y="7438"/>
                    </a:cubicBezTo>
                    <a:cubicBezTo>
                      <a:pt x="135627" y="7438"/>
                      <a:pt x="144671" y="16464"/>
                      <a:pt x="144671" y="27560"/>
                    </a:cubicBezTo>
                    <a:cubicBezTo>
                      <a:pt x="144671" y="42094"/>
                      <a:pt x="130291" y="56936"/>
                      <a:pt x="124505" y="62320"/>
                    </a:cubicBezTo>
                    <a:close/>
                    <a:moveTo>
                      <a:pt x="108578" y="186801"/>
                    </a:moveTo>
                    <a:cubicBezTo>
                      <a:pt x="101854" y="186801"/>
                      <a:pt x="96382" y="181340"/>
                      <a:pt x="96382" y="174629"/>
                    </a:cubicBezTo>
                    <a:cubicBezTo>
                      <a:pt x="96382" y="167916"/>
                      <a:pt x="101854" y="162455"/>
                      <a:pt x="108578" y="162455"/>
                    </a:cubicBezTo>
                    <a:cubicBezTo>
                      <a:pt x="115303" y="162455"/>
                      <a:pt x="120775" y="167916"/>
                      <a:pt x="120775" y="174629"/>
                    </a:cubicBezTo>
                    <a:cubicBezTo>
                      <a:pt x="120775" y="181340"/>
                      <a:pt x="115303" y="186801"/>
                      <a:pt x="108578" y="186801"/>
                    </a:cubicBezTo>
                    <a:close/>
                    <a:moveTo>
                      <a:pt x="112063" y="213377"/>
                    </a:moveTo>
                    <a:lnTo>
                      <a:pt x="112063" y="193895"/>
                    </a:lnTo>
                    <a:cubicBezTo>
                      <a:pt x="118534" y="192674"/>
                      <a:pt x="123658" y="188409"/>
                      <a:pt x="126251" y="182688"/>
                    </a:cubicBezTo>
                    <a:cubicBezTo>
                      <a:pt x="128845" y="188409"/>
                      <a:pt x="134466" y="192674"/>
                      <a:pt x="140438" y="193895"/>
                    </a:cubicBezTo>
                    <a:lnTo>
                      <a:pt x="140438" y="212404"/>
                    </a:lnTo>
                    <a:cubicBezTo>
                      <a:pt x="135462" y="213847"/>
                      <a:pt x="129839" y="214625"/>
                      <a:pt x="124260" y="214625"/>
                    </a:cubicBezTo>
                    <a:cubicBezTo>
                      <a:pt x="120082" y="214625"/>
                      <a:pt x="116045" y="214192"/>
                      <a:pt x="112063" y="213377"/>
                    </a:cubicBezTo>
                    <a:close/>
                    <a:moveTo>
                      <a:pt x="144423" y="186801"/>
                    </a:moveTo>
                    <a:cubicBezTo>
                      <a:pt x="137697" y="186801"/>
                      <a:pt x="132225" y="181340"/>
                      <a:pt x="132225" y="174629"/>
                    </a:cubicBezTo>
                    <a:cubicBezTo>
                      <a:pt x="132225" y="167916"/>
                      <a:pt x="137697" y="162455"/>
                      <a:pt x="144423" y="162455"/>
                    </a:cubicBezTo>
                    <a:cubicBezTo>
                      <a:pt x="151146" y="162455"/>
                      <a:pt x="156618" y="167916"/>
                      <a:pt x="156618" y="174629"/>
                    </a:cubicBezTo>
                    <a:cubicBezTo>
                      <a:pt x="156618" y="181340"/>
                      <a:pt x="151146" y="186801"/>
                      <a:pt x="144423" y="186801"/>
                    </a:cubicBezTo>
                    <a:close/>
                    <a:moveTo>
                      <a:pt x="124509" y="95008"/>
                    </a:moveTo>
                    <a:cubicBezTo>
                      <a:pt x="156333" y="95008"/>
                      <a:pt x="182448" y="119975"/>
                      <a:pt x="184382" y="151276"/>
                    </a:cubicBezTo>
                    <a:lnTo>
                      <a:pt x="159303" y="151276"/>
                    </a:lnTo>
                    <a:lnTo>
                      <a:pt x="181444" y="173373"/>
                    </a:lnTo>
                    <a:cubicBezTo>
                      <a:pt x="176025" y="190089"/>
                      <a:pt x="163837" y="203104"/>
                      <a:pt x="147908" y="209782"/>
                    </a:cubicBezTo>
                    <a:lnTo>
                      <a:pt x="147908" y="193895"/>
                    </a:lnTo>
                    <a:cubicBezTo>
                      <a:pt x="157366" y="192147"/>
                      <a:pt x="163961" y="184175"/>
                      <a:pt x="163961" y="174629"/>
                    </a:cubicBezTo>
                    <a:cubicBezTo>
                      <a:pt x="163961" y="163806"/>
                      <a:pt x="155203" y="155002"/>
                      <a:pt x="144360" y="155002"/>
                    </a:cubicBezTo>
                    <a:cubicBezTo>
                      <a:pt x="136396" y="155002"/>
                      <a:pt x="129557" y="159756"/>
                      <a:pt x="126470" y="166567"/>
                    </a:cubicBezTo>
                    <a:cubicBezTo>
                      <a:pt x="123381" y="159756"/>
                      <a:pt x="116529" y="155002"/>
                      <a:pt x="108562" y="155002"/>
                    </a:cubicBezTo>
                    <a:cubicBezTo>
                      <a:pt x="97720" y="155002"/>
                      <a:pt x="88782" y="163806"/>
                      <a:pt x="88782" y="174629"/>
                    </a:cubicBezTo>
                    <a:cubicBezTo>
                      <a:pt x="88782" y="184175"/>
                      <a:pt x="95636" y="192147"/>
                      <a:pt x="104597" y="193895"/>
                    </a:cubicBezTo>
                    <a:lnTo>
                      <a:pt x="104597" y="211319"/>
                    </a:lnTo>
                    <a:cubicBezTo>
                      <a:pt x="82691" y="203567"/>
                      <a:pt x="66152" y="183074"/>
                      <a:pt x="64636" y="158729"/>
                    </a:cubicBezTo>
                    <a:lnTo>
                      <a:pt x="89714" y="158729"/>
                    </a:lnTo>
                    <a:lnTo>
                      <a:pt x="67449" y="136445"/>
                    </a:lnTo>
                    <a:cubicBezTo>
                      <a:pt x="75404" y="111910"/>
                      <a:pt x="98357" y="95008"/>
                      <a:pt x="124509" y="95008"/>
                    </a:cubicBezTo>
                    <a:close/>
                  </a:path>
                </a:pathLst>
              </a:custGeom>
              <a:grpFill/>
              <a:ln w="48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08" name="Freeform: Shape 107">
                <a:extLst>
                  <a:ext uri="{FF2B5EF4-FFF2-40B4-BE49-F238E27FC236}">
                    <a16:creationId xmlns:a16="http://schemas.microsoft.com/office/drawing/2014/main" id="{FBB7465D-EA31-C21C-C940-DB6453852548}"/>
                  </a:ext>
                </a:extLst>
              </p:cNvPr>
              <p:cNvSpPr/>
              <p:nvPr/>
            </p:nvSpPr>
            <p:spPr>
              <a:xfrm>
                <a:off x="6174133" y="1755784"/>
                <a:ext cx="23396" cy="23351"/>
              </a:xfrm>
              <a:custGeom>
                <a:avLst/>
                <a:gdLst>
                  <a:gd name="csX0" fmla="*/ 11698 w 23396"/>
                  <a:gd name="csY0" fmla="*/ 0 h 23351"/>
                  <a:gd name="csX1" fmla="*/ 0 w 23396"/>
                  <a:gd name="csY1" fmla="*/ 11676 h 23351"/>
                  <a:gd name="csX2" fmla="*/ 11698 w 23396"/>
                  <a:gd name="csY2" fmla="*/ 23351 h 23351"/>
                  <a:gd name="csX3" fmla="*/ 23397 w 23396"/>
                  <a:gd name="csY3" fmla="*/ 11676 h 23351"/>
                  <a:gd name="csX4" fmla="*/ 11698 w 23396"/>
                  <a:gd name="csY4" fmla="*/ 0 h 23351"/>
                  <a:gd name="csX5" fmla="*/ 11698 w 23396"/>
                  <a:gd name="csY5" fmla="*/ 15898 h 23351"/>
                  <a:gd name="csX6" fmla="*/ 7468 w 23396"/>
                  <a:gd name="csY6" fmla="*/ 11676 h 23351"/>
                  <a:gd name="csX7" fmla="*/ 11698 w 23396"/>
                  <a:gd name="csY7" fmla="*/ 7451 h 23351"/>
                  <a:gd name="csX8" fmla="*/ 15929 w 23396"/>
                  <a:gd name="csY8" fmla="*/ 11676 h 23351"/>
                  <a:gd name="csX9" fmla="*/ 11698 w 23396"/>
                  <a:gd name="csY9" fmla="*/ 15898 h 2335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23396" h="23351">
                    <a:moveTo>
                      <a:pt x="11698" y="0"/>
                    </a:moveTo>
                    <a:cubicBezTo>
                      <a:pt x="5248" y="0"/>
                      <a:pt x="0" y="5236"/>
                      <a:pt x="0" y="11676"/>
                    </a:cubicBezTo>
                    <a:cubicBezTo>
                      <a:pt x="0" y="18113"/>
                      <a:pt x="5248" y="23351"/>
                      <a:pt x="11698" y="23351"/>
                    </a:cubicBezTo>
                    <a:cubicBezTo>
                      <a:pt x="18149" y="23351"/>
                      <a:pt x="23397" y="18113"/>
                      <a:pt x="23397" y="11676"/>
                    </a:cubicBezTo>
                    <a:cubicBezTo>
                      <a:pt x="23397" y="5236"/>
                      <a:pt x="18149" y="0"/>
                      <a:pt x="11698" y="0"/>
                    </a:cubicBezTo>
                    <a:close/>
                    <a:moveTo>
                      <a:pt x="11698" y="15898"/>
                    </a:moveTo>
                    <a:cubicBezTo>
                      <a:pt x="9367" y="15898"/>
                      <a:pt x="7468" y="14003"/>
                      <a:pt x="7468" y="11676"/>
                    </a:cubicBezTo>
                    <a:cubicBezTo>
                      <a:pt x="7468" y="9346"/>
                      <a:pt x="9367" y="7451"/>
                      <a:pt x="11698" y="7451"/>
                    </a:cubicBezTo>
                    <a:cubicBezTo>
                      <a:pt x="14030" y="7451"/>
                      <a:pt x="15929" y="9346"/>
                      <a:pt x="15929" y="11676"/>
                    </a:cubicBezTo>
                    <a:cubicBezTo>
                      <a:pt x="15929" y="14003"/>
                      <a:pt x="14032" y="15898"/>
                      <a:pt x="11698" y="15898"/>
                    </a:cubicBezTo>
                    <a:close/>
                  </a:path>
                </a:pathLst>
              </a:custGeom>
              <a:grpFill/>
              <a:ln w="48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09" name="Freeform: Shape 108">
                <a:extLst>
                  <a:ext uri="{FF2B5EF4-FFF2-40B4-BE49-F238E27FC236}">
                    <a16:creationId xmlns:a16="http://schemas.microsoft.com/office/drawing/2014/main" id="{D8B0EC3C-5E6A-0FE5-7FF0-C8957802AE45}"/>
                  </a:ext>
                </a:extLst>
              </p:cNvPr>
              <p:cNvSpPr/>
              <p:nvPr/>
            </p:nvSpPr>
            <p:spPr>
              <a:xfrm>
                <a:off x="6119126" y="1813095"/>
                <a:ext cx="51518" cy="36092"/>
              </a:xfrm>
              <a:custGeom>
                <a:avLst/>
                <a:gdLst>
                  <a:gd name="csX0" fmla="*/ 51518 w 51518"/>
                  <a:gd name="csY0" fmla="*/ 7304 h 36092"/>
                  <a:gd name="csX1" fmla="*/ 50033 w 51518"/>
                  <a:gd name="csY1" fmla="*/ 0 h 36092"/>
                  <a:gd name="csX2" fmla="*/ 0 w 51518"/>
                  <a:gd name="csY2" fmla="*/ 31614 h 36092"/>
                  <a:gd name="csX3" fmla="*/ 5969 w 51518"/>
                  <a:gd name="csY3" fmla="*/ 36093 h 36092"/>
                  <a:gd name="csX4" fmla="*/ 51518 w 51518"/>
                  <a:gd name="csY4" fmla="*/ 7304 h 36092"/>
                </a:gdLst>
                <a:ahLst/>
                <a:cxnLst>
                  <a:cxn ang="0">
                    <a:pos x="csX0" y="csY0"/>
                  </a:cxn>
                  <a:cxn ang="0">
                    <a:pos x="csX1" y="csY1"/>
                  </a:cxn>
                  <a:cxn ang="0">
                    <a:pos x="csX2" y="csY2"/>
                  </a:cxn>
                  <a:cxn ang="0">
                    <a:pos x="csX3" y="csY3"/>
                  </a:cxn>
                  <a:cxn ang="0">
                    <a:pos x="csX4" y="csY4"/>
                  </a:cxn>
                </a:cxnLst>
                <a:rect l="l" t="t" r="r" b="b"/>
                <a:pathLst>
                  <a:path w="51518" h="36092">
                    <a:moveTo>
                      <a:pt x="51518" y="7304"/>
                    </a:moveTo>
                    <a:lnTo>
                      <a:pt x="50033" y="0"/>
                    </a:lnTo>
                    <a:cubicBezTo>
                      <a:pt x="30070" y="4044"/>
                      <a:pt x="12302" y="15272"/>
                      <a:pt x="0" y="31614"/>
                    </a:cubicBezTo>
                    <a:lnTo>
                      <a:pt x="5969" y="36093"/>
                    </a:lnTo>
                    <a:cubicBezTo>
                      <a:pt x="17172" y="21210"/>
                      <a:pt x="33348" y="10986"/>
                      <a:pt x="51518" y="7304"/>
                    </a:cubicBezTo>
                    <a:close/>
                  </a:path>
                </a:pathLst>
              </a:custGeom>
              <a:grpFill/>
              <a:ln w="48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10" name="Freeform: Shape 109">
                <a:extLst>
                  <a:ext uri="{FF2B5EF4-FFF2-40B4-BE49-F238E27FC236}">
                    <a16:creationId xmlns:a16="http://schemas.microsoft.com/office/drawing/2014/main" id="{FCC8A460-7002-DFC6-E674-436EF43BCC0F}"/>
                  </a:ext>
                </a:extLst>
              </p:cNvPr>
              <p:cNvSpPr/>
              <p:nvPr/>
            </p:nvSpPr>
            <p:spPr>
              <a:xfrm>
                <a:off x="6201020" y="1940120"/>
                <a:ext cx="51519" cy="36090"/>
              </a:xfrm>
              <a:custGeom>
                <a:avLst/>
                <a:gdLst>
                  <a:gd name="csX0" fmla="*/ 0 w 51519"/>
                  <a:gd name="csY0" fmla="*/ 28789 h 36090"/>
                  <a:gd name="csX1" fmla="*/ 1485 w 51519"/>
                  <a:gd name="csY1" fmla="*/ 36091 h 36090"/>
                  <a:gd name="csX2" fmla="*/ 51520 w 51519"/>
                  <a:gd name="csY2" fmla="*/ 4476 h 36090"/>
                  <a:gd name="csX3" fmla="*/ 45549 w 51519"/>
                  <a:gd name="csY3" fmla="*/ 0 h 36090"/>
                  <a:gd name="csX4" fmla="*/ 0 w 51519"/>
                  <a:gd name="csY4" fmla="*/ 28789 h 36090"/>
                </a:gdLst>
                <a:ahLst/>
                <a:cxnLst>
                  <a:cxn ang="0">
                    <a:pos x="csX0" y="csY0"/>
                  </a:cxn>
                  <a:cxn ang="0">
                    <a:pos x="csX1" y="csY1"/>
                  </a:cxn>
                  <a:cxn ang="0">
                    <a:pos x="csX2" y="csY2"/>
                  </a:cxn>
                  <a:cxn ang="0">
                    <a:pos x="csX3" y="csY3"/>
                  </a:cxn>
                  <a:cxn ang="0">
                    <a:pos x="csX4" y="csY4"/>
                  </a:cxn>
                </a:cxnLst>
                <a:rect l="l" t="t" r="r" b="b"/>
                <a:pathLst>
                  <a:path w="51519" h="36090">
                    <a:moveTo>
                      <a:pt x="0" y="28789"/>
                    </a:moveTo>
                    <a:lnTo>
                      <a:pt x="1485" y="36091"/>
                    </a:lnTo>
                    <a:cubicBezTo>
                      <a:pt x="21448" y="32046"/>
                      <a:pt x="39216" y="20820"/>
                      <a:pt x="51520" y="4476"/>
                    </a:cubicBezTo>
                    <a:lnTo>
                      <a:pt x="45549" y="0"/>
                    </a:lnTo>
                    <a:cubicBezTo>
                      <a:pt x="34346" y="14883"/>
                      <a:pt x="18168" y="25107"/>
                      <a:pt x="0" y="28789"/>
                    </a:cubicBezTo>
                    <a:close/>
                  </a:path>
                </a:pathLst>
              </a:custGeom>
              <a:grpFill/>
              <a:ln w="48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spTree>
    <p:extLst>
      <p:ext uri="{BB962C8B-B14F-4D97-AF65-F5344CB8AC3E}">
        <p14:creationId xmlns:p14="http://schemas.microsoft.com/office/powerpoint/2010/main" val="32275046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74A36F-04D9-D371-B289-EA269D7C2838}"/>
              </a:ext>
            </a:extLst>
          </p:cNvPr>
          <p:cNvSpPr/>
          <p:nvPr/>
        </p:nvSpPr>
        <p:spPr>
          <a:xfrm>
            <a:off x="515938" y="123025"/>
            <a:ext cx="7494206" cy="597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b"/>
          <a:lstStyle/>
          <a:p>
            <a:r>
              <a:rPr lang="en-US" b="1" dirty="0">
                <a:solidFill>
                  <a:schemeClr val="tx1"/>
                </a:solidFill>
                <a:latin typeface="Moderat" pitchFamily="2" charset="77"/>
              </a:rPr>
              <a:t>Culture</a:t>
            </a:r>
          </a:p>
        </p:txBody>
      </p:sp>
      <p:sp>
        <p:nvSpPr>
          <p:cNvPr id="4" name="Text 1">
            <a:extLst>
              <a:ext uri="{FF2B5EF4-FFF2-40B4-BE49-F238E27FC236}">
                <a16:creationId xmlns:a16="http://schemas.microsoft.com/office/drawing/2014/main" id="{9928747D-A291-F562-30AF-004D6223FB71}"/>
              </a:ext>
            </a:extLst>
          </p:cNvPr>
          <p:cNvSpPr/>
          <p:nvPr/>
        </p:nvSpPr>
        <p:spPr>
          <a:xfrm>
            <a:off x="515938" y="1068714"/>
            <a:ext cx="11223390" cy="208006"/>
          </a:xfrm>
          <a:prstGeom prst="rect">
            <a:avLst/>
          </a:prstGeom>
          <a:noFill/>
          <a:ln/>
        </p:spPr>
        <p:txBody>
          <a:bodyPr wrap="square" lIns="0" tIns="0" rIns="0" bIns="0" rtlCol="0" anchor="t">
            <a:spAutoFit/>
          </a:bodyPr>
          <a:lstStyle/>
          <a:p>
            <a:pPr defTabSz="571500">
              <a:lnSpc>
                <a:spcPts val="1563"/>
              </a:lnSpc>
            </a:pPr>
            <a:r>
              <a:rPr lang="en-US" sz="1600" b="1" dirty="0">
                <a:solidFill>
                  <a:schemeClr val="accent1"/>
                </a:solidFill>
                <a:latin typeface="Moderat" pitchFamily="2" charset="77"/>
                <a:ea typeface="Source Serif 4" pitchFamily="34" charset="-122"/>
                <a:cs typeface="Source Serif 4" pitchFamily="34" charset="-120"/>
              </a:rPr>
              <a:t>Turning Values into Daily Behaviors</a:t>
            </a:r>
          </a:p>
        </p:txBody>
      </p:sp>
      <p:sp>
        <p:nvSpPr>
          <p:cNvPr id="9" name="Text 4">
            <a:extLst>
              <a:ext uri="{FF2B5EF4-FFF2-40B4-BE49-F238E27FC236}">
                <a16:creationId xmlns:a16="http://schemas.microsoft.com/office/drawing/2014/main" id="{9C276FA5-CE21-A4B1-086A-B2D61C41CB13}"/>
              </a:ext>
            </a:extLst>
          </p:cNvPr>
          <p:cNvSpPr/>
          <p:nvPr/>
        </p:nvSpPr>
        <p:spPr>
          <a:xfrm>
            <a:off x="530181" y="1399089"/>
            <a:ext cx="2965494" cy="207694"/>
          </a:xfrm>
          <a:prstGeom prst="rect">
            <a:avLst/>
          </a:prstGeom>
          <a:noFill/>
          <a:ln/>
        </p:spPr>
        <p:txBody>
          <a:bodyPr wrap="square" lIns="0" tIns="0" rIns="0" bIns="0" rtlCol="0" anchor="t">
            <a:spAutoFit/>
          </a:bodyPr>
          <a:lstStyle/>
          <a:p>
            <a:r>
              <a:rPr lang="en-US" sz="1600" b="1" dirty="0">
                <a:solidFill>
                  <a:schemeClr val="accent6"/>
                </a:solidFill>
                <a:latin typeface="Moderat" pitchFamily="2" charset="77"/>
                <a:ea typeface="Raleway" pitchFamily="34" charset="-122"/>
                <a:cs typeface="Raleway" pitchFamily="34" charset="-120"/>
              </a:rPr>
              <a:t>Business challenge</a:t>
            </a:r>
          </a:p>
        </p:txBody>
      </p:sp>
      <p:sp>
        <p:nvSpPr>
          <p:cNvPr id="10" name="Text 4">
            <a:extLst>
              <a:ext uri="{FF2B5EF4-FFF2-40B4-BE49-F238E27FC236}">
                <a16:creationId xmlns:a16="http://schemas.microsoft.com/office/drawing/2014/main" id="{8077DA28-EAEE-CABB-2BD6-6DE65FDD5549}"/>
              </a:ext>
            </a:extLst>
          </p:cNvPr>
          <p:cNvSpPr/>
          <p:nvPr/>
        </p:nvSpPr>
        <p:spPr>
          <a:xfrm>
            <a:off x="7852789" y="1399089"/>
            <a:ext cx="2965494" cy="207694"/>
          </a:xfrm>
          <a:prstGeom prst="rect">
            <a:avLst/>
          </a:prstGeom>
          <a:noFill/>
          <a:ln/>
        </p:spPr>
        <p:txBody>
          <a:bodyPr wrap="square" lIns="0" tIns="0" rIns="0" bIns="0" rtlCol="0" anchor="t">
            <a:spAutoFit/>
          </a:bodyPr>
          <a:lstStyle/>
          <a:p>
            <a:r>
              <a:rPr lang="en-US" sz="1600" b="1" dirty="0">
                <a:solidFill>
                  <a:schemeClr val="accent6"/>
                </a:solidFill>
                <a:latin typeface="Moderat" pitchFamily="2" charset="77"/>
                <a:ea typeface="Raleway" pitchFamily="34" charset="-122"/>
                <a:cs typeface="Raleway" pitchFamily="34" charset="-120"/>
              </a:rPr>
              <a:t>Business impact</a:t>
            </a:r>
          </a:p>
        </p:txBody>
      </p:sp>
      <p:sp>
        <p:nvSpPr>
          <p:cNvPr id="11" name="Rectangle 10">
            <a:extLst>
              <a:ext uri="{FF2B5EF4-FFF2-40B4-BE49-F238E27FC236}">
                <a16:creationId xmlns:a16="http://schemas.microsoft.com/office/drawing/2014/main" id="{4ED9A249-E882-C97C-A013-E28E7748F9C8}"/>
              </a:ext>
            </a:extLst>
          </p:cNvPr>
          <p:cNvSpPr/>
          <p:nvPr/>
        </p:nvSpPr>
        <p:spPr>
          <a:xfrm>
            <a:off x="533400" y="1654681"/>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Rectangle 11">
            <a:extLst>
              <a:ext uri="{FF2B5EF4-FFF2-40B4-BE49-F238E27FC236}">
                <a16:creationId xmlns:a16="http://schemas.microsoft.com/office/drawing/2014/main" id="{48931D28-3A95-2FAA-E220-9113DCBE82C9}"/>
              </a:ext>
            </a:extLst>
          </p:cNvPr>
          <p:cNvSpPr/>
          <p:nvPr/>
        </p:nvSpPr>
        <p:spPr>
          <a:xfrm>
            <a:off x="533400" y="2887299"/>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Rectangle 12">
            <a:extLst>
              <a:ext uri="{FF2B5EF4-FFF2-40B4-BE49-F238E27FC236}">
                <a16:creationId xmlns:a16="http://schemas.microsoft.com/office/drawing/2014/main" id="{9E4D82B8-B1A1-DE94-BFA2-3C4F0CA8F853}"/>
              </a:ext>
            </a:extLst>
          </p:cNvPr>
          <p:cNvSpPr/>
          <p:nvPr/>
        </p:nvSpPr>
        <p:spPr>
          <a:xfrm>
            <a:off x="533400" y="4119916"/>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Rectangle: Rounded Corners 13">
            <a:extLst>
              <a:ext uri="{FF2B5EF4-FFF2-40B4-BE49-F238E27FC236}">
                <a16:creationId xmlns:a16="http://schemas.microsoft.com/office/drawing/2014/main" id="{C29E4E51-A0CE-1E41-A457-1C7D5C41A9E8}"/>
              </a:ext>
            </a:extLst>
          </p:cNvPr>
          <p:cNvSpPr/>
          <p:nvPr/>
        </p:nvSpPr>
        <p:spPr>
          <a:xfrm>
            <a:off x="3920004" y="1536593"/>
            <a:ext cx="3823272" cy="3730732"/>
          </a:xfrm>
          <a:prstGeom prst="roundRect">
            <a:avLst>
              <a:gd name="adj" fmla="val 2478"/>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Text 8">
            <a:extLst>
              <a:ext uri="{FF2B5EF4-FFF2-40B4-BE49-F238E27FC236}">
                <a16:creationId xmlns:a16="http://schemas.microsoft.com/office/drawing/2014/main" id="{41EBC152-4AD0-20A9-D3E7-5BB5617608B8}"/>
              </a:ext>
            </a:extLst>
          </p:cNvPr>
          <p:cNvSpPr/>
          <p:nvPr/>
        </p:nvSpPr>
        <p:spPr>
          <a:xfrm>
            <a:off x="723900" y="2012940"/>
            <a:ext cx="2914650" cy="430887"/>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Values were well known but </a:t>
            </a:r>
            <a:r>
              <a:rPr lang="en-US" sz="1400" b="1" dirty="0">
                <a:solidFill>
                  <a:schemeClr val="bg2">
                    <a:lumMod val="25000"/>
                  </a:schemeClr>
                </a:solidFill>
                <a:latin typeface="Moderat" panose="020B0604020202020204"/>
                <a:ea typeface="Lato" pitchFamily="34" charset="-122"/>
                <a:cs typeface="Lato" pitchFamily="34" charset="-120"/>
              </a:rPr>
              <a:t>not consistently lived</a:t>
            </a:r>
          </a:p>
        </p:txBody>
      </p:sp>
      <p:sp>
        <p:nvSpPr>
          <p:cNvPr id="16" name="Text 8">
            <a:extLst>
              <a:ext uri="{FF2B5EF4-FFF2-40B4-BE49-F238E27FC236}">
                <a16:creationId xmlns:a16="http://schemas.microsoft.com/office/drawing/2014/main" id="{7B877B07-DD38-DFF9-8FB7-B85C3F365B69}"/>
              </a:ext>
            </a:extLst>
          </p:cNvPr>
          <p:cNvSpPr/>
          <p:nvPr/>
        </p:nvSpPr>
        <p:spPr>
          <a:xfrm>
            <a:off x="723900" y="3245560"/>
            <a:ext cx="2914650" cy="430887"/>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Teams interpreted “the same values” differently across functions</a:t>
            </a:r>
          </a:p>
        </p:txBody>
      </p:sp>
      <p:sp>
        <p:nvSpPr>
          <p:cNvPr id="17" name="Text 8">
            <a:extLst>
              <a:ext uri="{FF2B5EF4-FFF2-40B4-BE49-F238E27FC236}">
                <a16:creationId xmlns:a16="http://schemas.microsoft.com/office/drawing/2014/main" id="{CD462C2E-521D-8AFC-0C58-49C9AA1079BC}"/>
              </a:ext>
            </a:extLst>
          </p:cNvPr>
          <p:cNvSpPr/>
          <p:nvPr/>
        </p:nvSpPr>
        <p:spPr>
          <a:xfrm>
            <a:off x="723899" y="4478176"/>
            <a:ext cx="2949003" cy="430887"/>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Leaders hesitated to call out misaligned behaviors, slowing decisions</a:t>
            </a:r>
          </a:p>
        </p:txBody>
      </p:sp>
      <p:sp>
        <p:nvSpPr>
          <p:cNvPr id="18" name="Rectangle 17">
            <a:extLst>
              <a:ext uri="{FF2B5EF4-FFF2-40B4-BE49-F238E27FC236}">
                <a16:creationId xmlns:a16="http://schemas.microsoft.com/office/drawing/2014/main" id="{16D49224-FEA2-53B2-6920-320925971834}"/>
              </a:ext>
            </a:extLst>
          </p:cNvPr>
          <p:cNvSpPr/>
          <p:nvPr/>
        </p:nvSpPr>
        <p:spPr>
          <a:xfrm>
            <a:off x="533400" y="1654681"/>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19" name="Rectangle 18">
            <a:extLst>
              <a:ext uri="{FF2B5EF4-FFF2-40B4-BE49-F238E27FC236}">
                <a16:creationId xmlns:a16="http://schemas.microsoft.com/office/drawing/2014/main" id="{35BC6939-BF2B-4938-E217-639C21B21285}"/>
              </a:ext>
            </a:extLst>
          </p:cNvPr>
          <p:cNvSpPr/>
          <p:nvPr/>
        </p:nvSpPr>
        <p:spPr>
          <a:xfrm rot="10800000">
            <a:off x="533400" y="2887299"/>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73" name="Rectangle 72">
            <a:extLst>
              <a:ext uri="{FF2B5EF4-FFF2-40B4-BE49-F238E27FC236}">
                <a16:creationId xmlns:a16="http://schemas.microsoft.com/office/drawing/2014/main" id="{3F32495E-48F1-6C10-49FB-703DEFA10268}"/>
              </a:ext>
            </a:extLst>
          </p:cNvPr>
          <p:cNvSpPr/>
          <p:nvPr/>
        </p:nvSpPr>
        <p:spPr>
          <a:xfrm>
            <a:off x="533400" y="4119916"/>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74" name="Text 5">
            <a:extLst>
              <a:ext uri="{FF2B5EF4-FFF2-40B4-BE49-F238E27FC236}">
                <a16:creationId xmlns:a16="http://schemas.microsoft.com/office/drawing/2014/main" id="{FC06F802-EBC4-55B4-D052-92280B1A468E}"/>
              </a:ext>
            </a:extLst>
          </p:cNvPr>
          <p:cNvSpPr/>
          <p:nvPr/>
        </p:nvSpPr>
        <p:spPr>
          <a:xfrm>
            <a:off x="4083049" y="1766489"/>
            <a:ext cx="3413126" cy="2257917"/>
          </a:xfrm>
          <a:prstGeom prst="rect">
            <a:avLst/>
          </a:prstGeom>
          <a:noFill/>
          <a:ln/>
        </p:spPr>
        <p:txBody>
          <a:bodyPr wrap="square" lIns="0" tIns="36000" rIns="90000" bIns="36000" rtlCol="0" anchor="t">
            <a:spAutoFit/>
          </a:bodyPr>
          <a:lstStyle/>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Leadership Activation Labs translating values into </a:t>
            </a:r>
            <a:r>
              <a:rPr lang="en-US" sz="1400" b="1" dirty="0">
                <a:solidFill>
                  <a:srgbClr val="4A4A45"/>
                </a:solidFill>
                <a:latin typeface="Moderat" pitchFamily="2" charset="77"/>
              </a:rPr>
              <a:t>observable behaviors</a:t>
            </a:r>
          </a:p>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Values-in-process workshops to remove </a:t>
            </a:r>
            <a:r>
              <a:rPr lang="en-US" sz="1400" b="1" dirty="0">
                <a:solidFill>
                  <a:srgbClr val="4A4A45"/>
                </a:solidFill>
                <a:latin typeface="Moderat" pitchFamily="2" charset="77"/>
              </a:rPr>
              <a:t>process – culture misalignment</a:t>
            </a:r>
          </a:p>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Micro-behaviors, huddle guides, and role-specific playbooks</a:t>
            </a:r>
          </a:p>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Values embedded into promotion, performance, and vendor criteria</a:t>
            </a:r>
          </a:p>
        </p:txBody>
      </p:sp>
      <p:sp>
        <p:nvSpPr>
          <p:cNvPr id="75" name="Rectangle: Rounded Corners 74">
            <a:extLst>
              <a:ext uri="{FF2B5EF4-FFF2-40B4-BE49-F238E27FC236}">
                <a16:creationId xmlns:a16="http://schemas.microsoft.com/office/drawing/2014/main" id="{A35BE921-34BE-D6C8-9211-60286347E925}"/>
              </a:ext>
            </a:extLst>
          </p:cNvPr>
          <p:cNvSpPr/>
          <p:nvPr/>
        </p:nvSpPr>
        <p:spPr>
          <a:xfrm>
            <a:off x="4083049" y="1414467"/>
            <a:ext cx="1955801" cy="253358"/>
          </a:xfrm>
          <a:prstGeom prst="roundRect">
            <a:avLst>
              <a:gd name="adj" fmla="val 2618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36000" bIns="36000" rtlCol="0" anchor="ctr"/>
          <a:lstStyle/>
          <a:p>
            <a:r>
              <a:rPr lang="en-US" sz="1600" b="1" dirty="0">
                <a:latin typeface="Moderat" pitchFamily="2" charset="77"/>
              </a:rPr>
              <a:t>Intervention</a:t>
            </a:r>
          </a:p>
        </p:txBody>
      </p:sp>
      <p:sp>
        <p:nvSpPr>
          <p:cNvPr id="76" name="Rectangle: Rounded Corners 75">
            <a:extLst>
              <a:ext uri="{FF2B5EF4-FFF2-40B4-BE49-F238E27FC236}">
                <a16:creationId xmlns:a16="http://schemas.microsoft.com/office/drawing/2014/main" id="{D22D0709-AD1B-2725-2E22-BF8EA00E0BA9}"/>
              </a:ext>
            </a:extLst>
          </p:cNvPr>
          <p:cNvSpPr/>
          <p:nvPr/>
        </p:nvSpPr>
        <p:spPr>
          <a:xfrm>
            <a:off x="533400" y="5391150"/>
            <a:ext cx="11131831" cy="594362"/>
          </a:xfrm>
          <a:prstGeom prst="roundRect">
            <a:avLst>
              <a:gd name="adj" fmla="val 181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36000" bIns="36000" rtlCol="0" anchor="ctr"/>
          <a:lstStyle/>
          <a:p>
            <a:r>
              <a:rPr lang="en-US" sz="1400" b="1" dirty="0">
                <a:latin typeface="Moderat" pitchFamily="2" charset="77"/>
              </a:rPr>
              <a:t>Culture scales only when behaviors are defined, reinforced, and hard-wired into how work gets done.</a:t>
            </a:r>
          </a:p>
        </p:txBody>
      </p:sp>
      <p:sp>
        <p:nvSpPr>
          <p:cNvPr id="77" name="Rectangle: Rounded Corners 76">
            <a:extLst>
              <a:ext uri="{FF2B5EF4-FFF2-40B4-BE49-F238E27FC236}">
                <a16:creationId xmlns:a16="http://schemas.microsoft.com/office/drawing/2014/main" id="{4E59A909-B45B-6DC5-C403-DB1843BDC296}"/>
              </a:ext>
            </a:extLst>
          </p:cNvPr>
          <p:cNvSpPr/>
          <p:nvPr/>
        </p:nvSpPr>
        <p:spPr>
          <a:xfrm>
            <a:off x="7852789" y="1841960"/>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dirty="0">
                <a:solidFill>
                  <a:srgbClr val="4A4A45"/>
                </a:solidFill>
                <a:latin typeface="Moderat" panose="020B0604020202020204"/>
              </a:rPr>
              <a:t>Leaders consistently role-model </a:t>
            </a:r>
            <a:br>
              <a:rPr lang="en-US" sz="1400" dirty="0">
                <a:solidFill>
                  <a:srgbClr val="4A4A45"/>
                </a:solidFill>
                <a:latin typeface="Moderat" panose="020B0604020202020204"/>
              </a:rPr>
            </a:br>
            <a:r>
              <a:rPr lang="en-US" sz="1400" dirty="0">
                <a:solidFill>
                  <a:srgbClr val="4A4A45"/>
                </a:solidFill>
                <a:latin typeface="Moderat" panose="020B0604020202020204"/>
              </a:rPr>
              <a:t>expected behaviors</a:t>
            </a:r>
          </a:p>
        </p:txBody>
      </p:sp>
      <p:sp>
        <p:nvSpPr>
          <p:cNvPr id="78" name="Rectangle: Rounded Corners 77">
            <a:extLst>
              <a:ext uri="{FF2B5EF4-FFF2-40B4-BE49-F238E27FC236}">
                <a16:creationId xmlns:a16="http://schemas.microsoft.com/office/drawing/2014/main" id="{D13342C5-3B02-588A-3C90-E58437CD24DA}"/>
              </a:ext>
            </a:extLst>
          </p:cNvPr>
          <p:cNvSpPr/>
          <p:nvPr/>
        </p:nvSpPr>
        <p:spPr>
          <a:xfrm>
            <a:off x="7852789" y="2715755"/>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dirty="0">
                <a:solidFill>
                  <a:srgbClr val="4A4A45"/>
                </a:solidFill>
                <a:latin typeface="Moderat" panose="020B0604020202020204"/>
              </a:rPr>
              <a:t>Clear behavioral standards across teams and geographies</a:t>
            </a:r>
          </a:p>
        </p:txBody>
      </p:sp>
      <p:sp>
        <p:nvSpPr>
          <p:cNvPr id="79" name="Rectangle: Rounded Corners 78">
            <a:extLst>
              <a:ext uri="{FF2B5EF4-FFF2-40B4-BE49-F238E27FC236}">
                <a16:creationId xmlns:a16="http://schemas.microsoft.com/office/drawing/2014/main" id="{22823613-E615-71DA-54A5-32FE0758BB56}"/>
              </a:ext>
            </a:extLst>
          </p:cNvPr>
          <p:cNvSpPr/>
          <p:nvPr/>
        </p:nvSpPr>
        <p:spPr>
          <a:xfrm>
            <a:off x="7852789" y="3589551"/>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dirty="0">
                <a:solidFill>
                  <a:srgbClr val="4A4A45"/>
                </a:solidFill>
                <a:latin typeface="Moderat" panose="020B0604020202020204"/>
              </a:rPr>
              <a:t>Faster escalation, better cross-functional collaboration</a:t>
            </a:r>
          </a:p>
        </p:txBody>
      </p:sp>
      <p:sp>
        <p:nvSpPr>
          <p:cNvPr id="80" name="Rectangle: Rounded Corners 79">
            <a:extLst>
              <a:ext uri="{FF2B5EF4-FFF2-40B4-BE49-F238E27FC236}">
                <a16:creationId xmlns:a16="http://schemas.microsoft.com/office/drawing/2014/main" id="{DD30B014-F2A5-3FF2-DC49-3095595ECE21}"/>
              </a:ext>
            </a:extLst>
          </p:cNvPr>
          <p:cNvSpPr/>
          <p:nvPr/>
        </p:nvSpPr>
        <p:spPr>
          <a:xfrm>
            <a:off x="7852789" y="4463347"/>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dirty="0">
                <a:solidFill>
                  <a:srgbClr val="4A4A45"/>
                </a:solidFill>
                <a:latin typeface="Moderat" panose="020B0604020202020204"/>
              </a:rPr>
              <a:t>Values shift from “posters” to </a:t>
            </a:r>
            <a:br>
              <a:rPr lang="en-US" sz="1400" dirty="0">
                <a:solidFill>
                  <a:srgbClr val="4A4A45"/>
                </a:solidFill>
                <a:latin typeface="Moderat" panose="020B0604020202020204"/>
              </a:rPr>
            </a:br>
            <a:r>
              <a:rPr lang="en-US" sz="1400" b="1" dirty="0">
                <a:solidFill>
                  <a:srgbClr val="4A4A45"/>
                </a:solidFill>
                <a:latin typeface="Moderat" panose="020B0604020202020204"/>
              </a:rPr>
              <a:t>operating norms</a:t>
            </a:r>
          </a:p>
        </p:txBody>
      </p:sp>
      <p:grpSp>
        <p:nvGrpSpPr>
          <p:cNvPr id="108" name="Group 107">
            <a:extLst>
              <a:ext uri="{FF2B5EF4-FFF2-40B4-BE49-F238E27FC236}">
                <a16:creationId xmlns:a16="http://schemas.microsoft.com/office/drawing/2014/main" id="{E6EB03FC-9EB5-5576-7A3F-3275DA97048B}"/>
              </a:ext>
            </a:extLst>
          </p:cNvPr>
          <p:cNvGrpSpPr/>
          <p:nvPr/>
        </p:nvGrpSpPr>
        <p:grpSpPr>
          <a:xfrm>
            <a:off x="7936609" y="2015349"/>
            <a:ext cx="457200" cy="457200"/>
            <a:chOff x="7936609" y="2099558"/>
            <a:chExt cx="457200" cy="457200"/>
          </a:xfrm>
        </p:grpSpPr>
        <p:sp>
          <p:nvSpPr>
            <p:cNvPr id="109" name="Oval 108">
              <a:extLst>
                <a:ext uri="{FF2B5EF4-FFF2-40B4-BE49-F238E27FC236}">
                  <a16:creationId xmlns:a16="http://schemas.microsoft.com/office/drawing/2014/main" id="{FDC56447-C229-EC08-1C5D-D8EB71D3B564}"/>
                </a:ext>
              </a:extLst>
            </p:cNvPr>
            <p:cNvSpPr>
              <a:spLocks noChangeAspect="1"/>
            </p:cNvSpPr>
            <p:nvPr/>
          </p:nvSpPr>
          <p:spPr>
            <a:xfrm>
              <a:off x="7936609" y="2099558"/>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grpSp>
          <p:nvGrpSpPr>
            <p:cNvPr id="110" name="Pic">
              <a:extLst>
                <a:ext uri="{FF2B5EF4-FFF2-40B4-BE49-F238E27FC236}">
                  <a16:creationId xmlns:a16="http://schemas.microsoft.com/office/drawing/2014/main" id="{C55E3B90-9D6B-BD96-E55D-7D47950DBC80}"/>
                </a:ext>
              </a:extLst>
            </p:cNvPr>
            <p:cNvGrpSpPr>
              <a:grpSpLocks noChangeAspect="1"/>
            </p:cNvGrpSpPr>
            <p:nvPr/>
          </p:nvGrpSpPr>
          <p:grpSpPr>
            <a:xfrm>
              <a:off x="8050910" y="2226183"/>
              <a:ext cx="228599" cy="203949"/>
              <a:chOff x="7469188" y="582238"/>
              <a:chExt cx="228599" cy="203949"/>
            </a:xfrm>
            <a:solidFill>
              <a:schemeClr val="bg1"/>
            </a:solidFill>
          </p:grpSpPr>
          <p:sp>
            <p:nvSpPr>
              <p:cNvPr id="111" name="Freeform: Shape 110">
                <a:extLst>
                  <a:ext uri="{FF2B5EF4-FFF2-40B4-BE49-F238E27FC236}">
                    <a16:creationId xmlns:a16="http://schemas.microsoft.com/office/drawing/2014/main" id="{6A07610E-F0FE-CFFD-0DC0-C263233103FD}"/>
                  </a:ext>
                </a:extLst>
              </p:cNvPr>
              <p:cNvSpPr/>
              <p:nvPr/>
            </p:nvSpPr>
            <p:spPr>
              <a:xfrm>
                <a:off x="7626333" y="714733"/>
                <a:ext cx="71454" cy="71454"/>
              </a:xfrm>
              <a:custGeom>
                <a:avLst/>
                <a:gdLst>
                  <a:gd name="csX0" fmla="*/ 35727 w 71454"/>
                  <a:gd name="csY0" fmla="*/ 71455 h 71454"/>
                  <a:gd name="csX1" fmla="*/ 0 w 71454"/>
                  <a:gd name="csY1" fmla="*/ 35729 h 71454"/>
                  <a:gd name="csX2" fmla="*/ 35727 w 71454"/>
                  <a:gd name="csY2" fmla="*/ 0 h 71454"/>
                  <a:gd name="csX3" fmla="*/ 71454 w 71454"/>
                  <a:gd name="csY3" fmla="*/ 35729 h 71454"/>
                  <a:gd name="csX4" fmla="*/ 35727 w 71454"/>
                  <a:gd name="csY4" fmla="*/ 71455 h 71454"/>
                  <a:gd name="csX5" fmla="*/ 35727 w 71454"/>
                  <a:gd name="csY5" fmla="*/ 7569 h 71454"/>
                  <a:gd name="csX6" fmla="*/ 7569 w 71454"/>
                  <a:gd name="csY6" fmla="*/ 35729 h 71454"/>
                  <a:gd name="csX7" fmla="*/ 35727 w 71454"/>
                  <a:gd name="csY7" fmla="*/ 63886 h 71454"/>
                  <a:gd name="csX8" fmla="*/ 63886 w 71454"/>
                  <a:gd name="csY8" fmla="*/ 35729 h 71454"/>
                  <a:gd name="csX9" fmla="*/ 35727 w 71454"/>
                  <a:gd name="csY9" fmla="*/ 7569 h 7145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71454" h="71454">
                    <a:moveTo>
                      <a:pt x="35727" y="71455"/>
                    </a:moveTo>
                    <a:cubicBezTo>
                      <a:pt x="16027" y="71455"/>
                      <a:pt x="0" y="55429"/>
                      <a:pt x="0" y="35729"/>
                    </a:cubicBezTo>
                    <a:cubicBezTo>
                      <a:pt x="0" y="16028"/>
                      <a:pt x="16027" y="0"/>
                      <a:pt x="35727" y="0"/>
                    </a:cubicBezTo>
                    <a:cubicBezTo>
                      <a:pt x="55428" y="0"/>
                      <a:pt x="71454" y="16028"/>
                      <a:pt x="71454" y="35729"/>
                    </a:cubicBezTo>
                    <a:cubicBezTo>
                      <a:pt x="71454" y="55429"/>
                      <a:pt x="55427" y="71455"/>
                      <a:pt x="35727" y="71455"/>
                    </a:cubicBezTo>
                    <a:close/>
                    <a:moveTo>
                      <a:pt x="35727" y="7569"/>
                    </a:moveTo>
                    <a:cubicBezTo>
                      <a:pt x="20200" y="7569"/>
                      <a:pt x="7569" y="20200"/>
                      <a:pt x="7569" y="35729"/>
                    </a:cubicBezTo>
                    <a:cubicBezTo>
                      <a:pt x="7569" y="51255"/>
                      <a:pt x="20200" y="63886"/>
                      <a:pt x="35727" y="63886"/>
                    </a:cubicBezTo>
                    <a:cubicBezTo>
                      <a:pt x="51255" y="63886"/>
                      <a:pt x="63886" y="51255"/>
                      <a:pt x="63886" y="35729"/>
                    </a:cubicBezTo>
                    <a:cubicBezTo>
                      <a:pt x="63885" y="20201"/>
                      <a:pt x="51254" y="7569"/>
                      <a:pt x="35727" y="7569"/>
                    </a:cubicBezTo>
                    <a:close/>
                  </a:path>
                </a:pathLst>
              </a:custGeom>
              <a:grpFill/>
              <a:ln w="49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12" name="Freeform: Shape 111">
                <a:extLst>
                  <a:ext uri="{FF2B5EF4-FFF2-40B4-BE49-F238E27FC236}">
                    <a16:creationId xmlns:a16="http://schemas.microsoft.com/office/drawing/2014/main" id="{46E6E3BA-2BC5-E3C2-A64C-F54319406C52}"/>
                  </a:ext>
                </a:extLst>
              </p:cNvPr>
              <p:cNvSpPr/>
              <p:nvPr/>
            </p:nvSpPr>
            <p:spPr>
              <a:xfrm>
                <a:off x="7630903" y="687351"/>
                <a:ext cx="34941" cy="34950"/>
              </a:xfrm>
              <a:custGeom>
                <a:avLst/>
                <a:gdLst>
                  <a:gd name="csX0" fmla="*/ 31157 w 34941"/>
                  <a:gd name="csY0" fmla="*/ 34951 h 34950"/>
                  <a:gd name="csX1" fmla="*/ 27373 w 34941"/>
                  <a:gd name="csY1" fmla="*/ 31166 h 34950"/>
                  <a:gd name="csX2" fmla="*/ 27373 w 34941"/>
                  <a:gd name="csY2" fmla="*/ 7569 h 34950"/>
                  <a:gd name="csX3" fmla="*/ 3785 w 34941"/>
                  <a:gd name="csY3" fmla="*/ 7569 h 34950"/>
                  <a:gd name="csX4" fmla="*/ 0 w 34941"/>
                  <a:gd name="csY4" fmla="*/ 3785 h 34950"/>
                  <a:gd name="csX5" fmla="*/ 3785 w 34941"/>
                  <a:gd name="csY5" fmla="*/ 0 h 34950"/>
                  <a:gd name="csX6" fmla="*/ 31157 w 34941"/>
                  <a:gd name="csY6" fmla="*/ 0 h 34950"/>
                  <a:gd name="csX7" fmla="*/ 34942 w 34941"/>
                  <a:gd name="csY7" fmla="*/ 3785 h 34950"/>
                  <a:gd name="csX8" fmla="*/ 34942 w 34941"/>
                  <a:gd name="csY8" fmla="*/ 31166 h 34950"/>
                  <a:gd name="csX9" fmla="*/ 31157 w 34941"/>
                  <a:gd name="csY9" fmla="*/ 34951 h 3495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34941" h="34950">
                    <a:moveTo>
                      <a:pt x="31157" y="34951"/>
                    </a:moveTo>
                    <a:cubicBezTo>
                      <a:pt x="29067" y="34951"/>
                      <a:pt x="27373" y="33257"/>
                      <a:pt x="27373" y="31166"/>
                    </a:cubicBezTo>
                    <a:lnTo>
                      <a:pt x="27373" y="7569"/>
                    </a:lnTo>
                    <a:lnTo>
                      <a:pt x="3785" y="7569"/>
                    </a:lnTo>
                    <a:cubicBezTo>
                      <a:pt x="1694" y="7569"/>
                      <a:pt x="0" y="5875"/>
                      <a:pt x="0" y="3785"/>
                    </a:cubicBezTo>
                    <a:cubicBezTo>
                      <a:pt x="0" y="1694"/>
                      <a:pt x="1694" y="0"/>
                      <a:pt x="3785" y="0"/>
                    </a:cubicBezTo>
                    <a:lnTo>
                      <a:pt x="31157" y="0"/>
                    </a:lnTo>
                    <a:cubicBezTo>
                      <a:pt x="33248" y="0"/>
                      <a:pt x="34942" y="1694"/>
                      <a:pt x="34942" y="3785"/>
                    </a:cubicBezTo>
                    <a:lnTo>
                      <a:pt x="34942" y="31166"/>
                    </a:lnTo>
                    <a:cubicBezTo>
                      <a:pt x="34942" y="33257"/>
                      <a:pt x="33248" y="34951"/>
                      <a:pt x="31157" y="34951"/>
                    </a:cubicBezTo>
                    <a:close/>
                  </a:path>
                </a:pathLst>
              </a:custGeom>
              <a:grpFill/>
              <a:ln w="49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13" name="Freeform: Shape 112">
                <a:extLst>
                  <a:ext uri="{FF2B5EF4-FFF2-40B4-BE49-F238E27FC236}">
                    <a16:creationId xmlns:a16="http://schemas.microsoft.com/office/drawing/2014/main" id="{3FC054B3-0DF7-A4D2-3D6D-6F4609A1A9AA}"/>
                  </a:ext>
                </a:extLst>
              </p:cNvPr>
              <p:cNvSpPr/>
              <p:nvPr/>
            </p:nvSpPr>
            <p:spPr>
              <a:xfrm>
                <a:off x="7469188" y="714733"/>
                <a:ext cx="71456" cy="71454"/>
              </a:xfrm>
              <a:custGeom>
                <a:avLst/>
                <a:gdLst>
                  <a:gd name="csX0" fmla="*/ 35729 w 71456"/>
                  <a:gd name="csY0" fmla="*/ 71455 h 71454"/>
                  <a:gd name="csX1" fmla="*/ 0 w 71456"/>
                  <a:gd name="csY1" fmla="*/ 35729 h 71454"/>
                  <a:gd name="csX2" fmla="*/ 35729 w 71456"/>
                  <a:gd name="csY2" fmla="*/ 0 h 71454"/>
                  <a:gd name="csX3" fmla="*/ 71456 w 71456"/>
                  <a:gd name="csY3" fmla="*/ 35729 h 71454"/>
                  <a:gd name="csX4" fmla="*/ 35729 w 71456"/>
                  <a:gd name="csY4" fmla="*/ 71455 h 71454"/>
                  <a:gd name="csX5" fmla="*/ 35729 w 71456"/>
                  <a:gd name="csY5" fmla="*/ 7569 h 71454"/>
                  <a:gd name="csX6" fmla="*/ 7569 w 71456"/>
                  <a:gd name="csY6" fmla="*/ 35729 h 71454"/>
                  <a:gd name="csX7" fmla="*/ 35729 w 71456"/>
                  <a:gd name="csY7" fmla="*/ 63886 h 71454"/>
                  <a:gd name="csX8" fmla="*/ 63887 w 71456"/>
                  <a:gd name="csY8" fmla="*/ 35729 h 71454"/>
                  <a:gd name="csX9" fmla="*/ 35729 w 71456"/>
                  <a:gd name="csY9" fmla="*/ 7569 h 7145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71456" h="71454">
                    <a:moveTo>
                      <a:pt x="35729" y="71455"/>
                    </a:moveTo>
                    <a:cubicBezTo>
                      <a:pt x="16028" y="71455"/>
                      <a:pt x="0" y="55429"/>
                      <a:pt x="0" y="35729"/>
                    </a:cubicBezTo>
                    <a:cubicBezTo>
                      <a:pt x="0" y="16028"/>
                      <a:pt x="16028" y="0"/>
                      <a:pt x="35729" y="0"/>
                    </a:cubicBezTo>
                    <a:cubicBezTo>
                      <a:pt x="55429" y="0"/>
                      <a:pt x="71456" y="16028"/>
                      <a:pt x="71456" y="35729"/>
                    </a:cubicBezTo>
                    <a:cubicBezTo>
                      <a:pt x="71456" y="55429"/>
                      <a:pt x="55429" y="71455"/>
                      <a:pt x="35729" y="71455"/>
                    </a:cubicBezTo>
                    <a:close/>
                    <a:moveTo>
                      <a:pt x="35729" y="7569"/>
                    </a:moveTo>
                    <a:cubicBezTo>
                      <a:pt x="20202" y="7569"/>
                      <a:pt x="7569" y="20200"/>
                      <a:pt x="7569" y="35729"/>
                    </a:cubicBezTo>
                    <a:cubicBezTo>
                      <a:pt x="7569" y="51255"/>
                      <a:pt x="20202" y="63886"/>
                      <a:pt x="35729" y="63886"/>
                    </a:cubicBezTo>
                    <a:cubicBezTo>
                      <a:pt x="51256" y="63886"/>
                      <a:pt x="63887" y="51255"/>
                      <a:pt x="63887" y="35729"/>
                    </a:cubicBezTo>
                    <a:cubicBezTo>
                      <a:pt x="63887" y="20201"/>
                      <a:pt x="51256" y="7569"/>
                      <a:pt x="35729" y="7569"/>
                    </a:cubicBezTo>
                    <a:close/>
                  </a:path>
                </a:pathLst>
              </a:custGeom>
              <a:grpFill/>
              <a:ln w="49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14" name="Freeform: Shape 113">
                <a:extLst>
                  <a:ext uri="{FF2B5EF4-FFF2-40B4-BE49-F238E27FC236}">
                    <a16:creationId xmlns:a16="http://schemas.microsoft.com/office/drawing/2014/main" id="{6E35DBD9-0D79-06A9-C837-6F8B864D37A6}"/>
                  </a:ext>
                </a:extLst>
              </p:cNvPr>
              <p:cNvSpPr/>
              <p:nvPr/>
            </p:nvSpPr>
            <p:spPr>
              <a:xfrm>
                <a:off x="7501132" y="687351"/>
                <a:ext cx="34940" cy="34950"/>
              </a:xfrm>
              <a:custGeom>
                <a:avLst/>
                <a:gdLst>
                  <a:gd name="csX0" fmla="*/ 3784 w 34940"/>
                  <a:gd name="csY0" fmla="*/ 34951 h 34950"/>
                  <a:gd name="csX1" fmla="*/ 0 w 34940"/>
                  <a:gd name="csY1" fmla="*/ 31166 h 34950"/>
                  <a:gd name="csX2" fmla="*/ 0 w 34940"/>
                  <a:gd name="csY2" fmla="*/ 3785 h 34950"/>
                  <a:gd name="csX3" fmla="*/ 3784 w 34940"/>
                  <a:gd name="csY3" fmla="*/ 0 h 34950"/>
                  <a:gd name="csX4" fmla="*/ 31156 w 34940"/>
                  <a:gd name="csY4" fmla="*/ 0 h 34950"/>
                  <a:gd name="csX5" fmla="*/ 34940 w 34940"/>
                  <a:gd name="csY5" fmla="*/ 3785 h 34950"/>
                  <a:gd name="csX6" fmla="*/ 31156 w 34940"/>
                  <a:gd name="csY6" fmla="*/ 7569 h 34950"/>
                  <a:gd name="csX7" fmla="*/ 7569 w 34940"/>
                  <a:gd name="csY7" fmla="*/ 7569 h 34950"/>
                  <a:gd name="csX8" fmla="*/ 7569 w 34940"/>
                  <a:gd name="csY8" fmla="*/ 31166 h 34950"/>
                  <a:gd name="csX9" fmla="*/ 3784 w 34940"/>
                  <a:gd name="csY9" fmla="*/ 34951 h 3495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34940" h="34950">
                    <a:moveTo>
                      <a:pt x="3784" y="34951"/>
                    </a:moveTo>
                    <a:cubicBezTo>
                      <a:pt x="1694" y="34951"/>
                      <a:pt x="0" y="33257"/>
                      <a:pt x="0" y="31166"/>
                    </a:cubicBezTo>
                    <a:lnTo>
                      <a:pt x="0" y="3785"/>
                    </a:lnTo>
                    <a:cubicBezTo>
                      <a:pt x="0" y="1694"/>
                      <a:pt x="1694" y="0"/>
                      <a:pt x="3784" y="0"/>
                    </a:cubicBezTo>
                    <a:lnTo>
                      <a:pt x="31156" y="0"/>
                    </a:lnTo>
                    <a:cubicBezTo>
                      <a:pt x="33246" y="0"/>
                      <a:pt x="34940" y="1694"/>
                      <a:pt x="34940" y="3785"/>
                    </a:cubicBezTo>
                    <a:cubicBezTo>
                      <a:pt x="34940" y="5875"/>
                      <a:pt x="33246" y="7569"/>
                      <a:pt x="31156" y="7569"/>
                    </a:cubicBezTo>
                    <a:lnTo>
                      <a:pt x="7569" y="7569"/>
                    </a:lnTo>
                    <a:lnTo>
                      <a:pt x="7569" y="31166"/>
                    </a:lnTo>
                    <a:cubicBezTo>
                      <a:pt x="7569" y="33257"/>
                      <a:pt x="5875" y="34951"/>
                      <a:pt x="3784" y="34951"/>
                    </a:cubicBezTo>
                    <a:close/>
                  </a:path>
                </a:pathLst>
              </a:custGeom>
              <a:grpFill/>
              <a:ln w="49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15" name="Freeform: Shape 114">
                <a:extLst>
                  <a:ext uri="{FF2B5EF4-FFF2-40B4-BE49-F238E27FC236}">
                    <a16:creationId xmlns:a16="http://schemas.microsoft.com/office/drawing/2014/main" id="{F12F4621-A544-1BC8-7CD7-DBBCE3B69203}"/>
                  </a:ext>
                </a:extLst>
              </p:cNvPr>
              <p:cNvSpPr/>
              <p:nvPr/>
            </p:nvSpPr>
            <p:spPr>
              <a:xfrm>
                <a:off x="7469188" y="778619"/>
                <a:ext cx="228599" cy="7568"/>
              </a:xfrm>
              <a:custGeom>
                <a:avLst/>
                <a:gdLst>
                  <a:gd name="csX0" fmla="*/ 224816 w 228599"/>
                  <a:gd name="csY0" fmla="*/ 7569 h 7568"/>
                  <a:gd name="csX1" fmla="*/ 3785 w 228599"/>
                  <a:gd name="csY1" fmla="*/ 7569 h 7568"/>
                  <a:gd name="csX2" fmla="*/ 0 w 228599"/>
                  <a:gd name="csY2" fmla="*/ 3784 h 7568"/>
                  <a:gd name="csX3" fmla="*/ 3785 w 228599"/>
                  <a:gd name="csY3" fmla="*/ 0 h 7568"/>
                  <a:gd name="csX4" fmla="*/ 224815 w 228599"/>
                  <a:gd name="csY4" fmla="*/ 0 h 7568"/>
                  <a:gd name="csX5" fmla="*/ 228599 w 228599"/>
                  <a:gd name="csY5" fmla="*/ 3784 h 7568"/>
                  <a:gd name="csX6" fmla="*/ 224816 w 228599"/>
                  <a:gd name="csY6" fmla="*/ 7569 h 7568"/>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28599" h="7568">
                    <a:moveTo>
                      <a:pt x="224816" y="7569"/>
                    </a:moveTo>
                    <a:lnTo>
                      <a:pt x="3785" y="7569"/>
                    </a:lnTo>
                    <a:cubicBezTo>
                      <a:pt x="1694" y="7569"/>
                      <a:pt x="0" y="5875"/>
                      <a:pt x="0" y="3784"/>
                    </a:cubicBezTo>
                    <a:cubicBezTo>
                      <a:pt x="0" y="1694"/>
                      <a:pt x="1694" y="0"/>
                      <a:pt x="3785" y="0"/>
                    </a:cubicBezTo>
                    <a:lnTo>
                      <a:pt x="224815" y="0"/>
                    </a:lnTo>
                    <a:cubicBezTo>
                      <a:pt x="226906" y="0"/>
                      <a:pt x="228599" y="1694"/>
                      <a:pt x="228599" y="3784"/>
                    </a:cubicBezTo>
                    <a:cubicBezTo>
                      <a:pt x="228600" y="5874"/>
                      <a:pt x="226906" y="7569"/>
                      <a:pt x="224816" y="7569"/>
                    </a:cubicBezTo>
                    <a:close/>
                  </a:path>
                </a:pathLst>
              </a:custGeom>
              <a:grpFill/>
              <a:ln w="49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16" name="Freeform: Shape 115">
                <a:extLst>
                  <a:ext uri="{FF2B5EF4-FFF2-40B4-BE49-F238E27FC236}">
                    <a16:creationId xmlns:a16="http://schemas.microsoft.com/office/drawing/2014/main" id="{5421E043-81DE-12FD-FBAD-3DE4EBEE3E9D}"/>
                  </a:ext>
                </a:extLst>
              </p:cNvPr>
              <p:cNvSpPr/>
              <p:nvPr/>
            </p:nvSpPr>
            <p:spPr>
              <a:xfrm>
                <a:off x="7544830" y="652709"/>
                <a:ext cx="77315" cy="133478"/>
              </a:xfrm>
              <a:custGeom>
                <a:avLst/>
                <a:gdLst>
                  <a:gd name="csX0" fmla="*/ 58847 w 77315"/>
                  <a:gd name="csY0" fmla="*/ 133479 h 133478"/>
                  <a:gd name="csX1" fmla="*/ 18468 w 77315"/>
                  <a:gd name="csY1" fmla="*/ 133479 h 133478"/>
                  <a:gd name="csX2" fmla="*/ 14683 w 77315"/>
                  <a:gd name="csY2" fmla="*/ 129694 h 133478"/>
                  <a:gd name="csX3" fmla="*/ 14683 w 77315"/>
                  <a:gd name="csY3" fmla="*/ 70708 h 133478"/>
                  <a:gd name="csX4" fmla="*/ 3785 w 77315"/>
                  <a:gd name="csY4" fmla="*/ 70708 h 133478"/>
                  <a:gd name="csX5" fmla="*/ 0 w 77315"/>
                  <a:gd name="csY5" fmla="*/ 66923 h 133478"/>
                  <a:gd name="csX6" fmla="*/ 0 w 77315"/>
                  <a:gd name="csY6" fmla="*/ 22688 h 133478"/>
                  <a:gd name="csX7" fmla="*/ 22690 w 77315"/>
                  <a:gd name="csY7" fmla="*/ 0 h 133478"/>
                  <a:gd name="csX8" fmla="*/ 54625 w 77315"/>
                  <a:gd name="csY8" fmla="*/ 0 h 133478"/>
                  <a:gd name="csX9" fmla="*/ 77315 w 77315"/>
                  <a:gd name="csY9" fmla="*/ 22688 h 133478"/>
                  <a:gd name="csX10" fmla="*/ 77315 w 77315"/>
                  <a:gd name="csY10" fmla="*/ 66923 h 133478"/>
                  <a:gd name="csX11" fmla="*/ 73530 w 77315"/>
                  <a:gd name="csY11" fmla="*/ 70708 h 133478"/>
                  <a:gd name="csX12" fmla="*/ 62632 w 77315"/>
                  <a:gd name="csY12" fmla="*/ 70708 h 133478"/>
                  <a:gd name="csX13" fmla="*/ 62632 w 77315"/>
                  <a:gd name="csY13" fmla="*/ 129694 h 133478"/>
                  <a:gd name="csX14" fmla="*/ 58847 w 77315"/>
                  <a:gd name="csY14" fmla="*/ 133479 h 133478"/>
                  <a:gd name="csX15" fmla="*/ 22252 w 77315"/>
                  <a:gd name="csY15" fmla="*/ 125909 h 133478"/>
                  <a:gd name="csX16" fmla="*/ 55063 w 77315"/>
                  <a:gd name="csY16" fmla="*/ 125909 h 133478"/>
                  <a:gd name="csX17" fmla="*/ 55063 w 77315"/>
                  <a:gd name="csY17" fmla="*/ 66923 h 133478"/>
                  <a:gd name="csX18" fmla="*/ 58848 w 77315"/>
                  <a:gd name="csY18" fmla="*/ 63139 h 133478"/>
                  <a:gd name="csX19" fmla="*/ 69746 w 77315"/>
                  <a:gd name="csY19" fmla="*/ 63139 h 133478"/>
                  <a:gd name="csX20" fmla="*/ 69746 w 77315"/>
                  <a:gd name="csY20" fmla="*/ 22689 h 133478"/>
                  <a:gd name="csX21" fmla="*/ 54626 w 77315"/>
                  <a:gd name="csY21" fmla="*/ 7570 h 133478"/>
                  <a:gd name="csX22" fmla="*/ 22690 w 77315"/>
                  <a:gd name="csY22" fmla="*/ 7570 h 133478"/>
                  <a:gd name="csX23" fmla="*/ 7570 w 77315"/>
                  <a:gd name="csY23" fmla="*/ 22689 h 133478"/>
                  <a:gd name="csX24" fmla="*/ 7570 w 77315"/>
                  <a:gd name="csY24" fmla="*/ 63139 h 133478"/>
                  <a:gd name="csX25" fmla="*/ 18468 w 77315"/>
                  <a:gd name="csY25" fmla="*/ 63139 h 133478"/>
                  <a:gd name="csX26" fmla="*/ 22252 w 77315"/>
                  <a:gd name="csY26" fmla="*/ 66923 h 1334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Lst>
                <a:rect l="l" t="t" r="r" b="b"/>
                <a:pathLst>
                  <a:path w="77315" h="133478">
                    <a:moveTo>
                      <a:pt x="58847" y="133479"/>
                    </a:moveTo>
                    <a:lnTo>
                      <a:pt x="18468" y="133479"/>
                    </a:lnTo>
                    <a:cubicBezTo>
                      <a:pt x="16377" y="133479"/>
                      <a:pt x="14683" y="131784"/>
                      <a:pt x="14683" y="129694"/>
                    </a:cubicBezTo>
                    <a:lnTo>
                      <a:pt x="14683" y="70708"/>
                    </a:lnTo>
                    <a:lnTo>
                      <a:pt x="3785" y="70708"/>
                    </a:lnTo>
                    <a:cubicBezTo>
                      <a:pt x="1694" y="70708"/>
                      <a:pt x="0" y="69014"/>
                      <a:pt x="0" y="66923"/>
                    </a:cubicBezTo>
                    <a:lnTo>
                      <a:pt x="0" y="22688"/>
                    </a:lnTo>
                    <a:cubicBezTo>
                      <a:pt x="0" y="10178"/>
                      <a:pt x="10178" y="0"/>
                      <a:pt x="22690" y="0"/>
                    </a:cubicBezTo>
                    <a:lnTo>
                      <a:pt x="54625" y="0"/>
                    </a:lnTo>
                    <a:cubicBezTo>
                      <a:pt x="67137" y="0"/>
                      <a:pt x="77315" y="10178"/>
                      <a:pt x="77315" y="22688"/>
                    </a:cubicBezTo>
                    <a:lnTo>
                      <a:pt x="77315" y="66923"/>
                    </a:lnTo>
                    <a:cubicBezTo>
                      <a:pt x="77315" y="69014"/>
                      <a:pt x="75621" y="70708"/>
                      <a:pt x="73530" y="70708"/>
                    </a:cubicBezTo>
                    <a:lnTo>
                      <a:pt x="62632" y="70708"/>
                    </a:lnTo>
                    <a:lnTo>
                      <a:pt x="62632" y="129694"/>
                    </a:lnTo>
                    <a:cubicBezTo>
                      <a:pt x="62632" y="131784"/>
                      <a:pt x="60938" y="133479"/>
                      <a:pt x="58847" y="133479"/>
                    </a:cubicBezTo>
                    <a:close/>
                    <a:moveTo>
                      <a:pt x="22252" y="125909"/>
                    </a:moveTo>
                    <a:lnTo>
                      <a:pt x="55063" y="125909"/>
                    </a:lnTo>
                    <a:lnTo>
                      <a:pt x="55063" y="66923"/>
                    </a:lnTo>
                    <a:cubicBezTo>
                      <a:pt x="55063" y="64833"/>
                      <a:pt x="56757" y="63139"/>
                      <a:pt x="58848" y="63139"/>
                    </a:cubicBezTo>
                    <a:lnTo>
                      <a:pt x="69746" y="63139"/>
                    </a:lnTo>
                    <a:lnTo>
                      <a:pt x="69746" y="22689"/>
                    </a:lnTo>
                    <a:cubicBezTo>
                      <a:pt x="69746" y="14353"/>
                      <a:pt x="62964" y="7570"/>
                      <a:pt x="54626" y="7570"/>
                    </a:cubicBezTo>
                    <a:lnTo>
                      <a:pt x="22690" y="7570"/>
                    </a:lnTo>
                    <a:cubicBezTo>
                      <a:pt x="14353" y="7570"/>
                      <a:pt x="7570" y="14353"/>
                      <a:pt x="7570" y="22689"/>
                    </a:cubicBezTo>
                    <a:lnTo>
                      <a:pt x="7570" y="63139"/>
                    </a:lnTo>
                    <a:lnTo>
                      <a:pt x="18468" y="63139"/>
                    </a:lnTo>
                    <a:cubicBezTo>
                      <a:pt x="20558" y="63139"/>
                      <a:pt x="22252" y="64833"/>
                      <a:pt x="22252" y="66923"/>
                    </a:cubicBezTo>
                    <a:close/>
                  </a:path>
                </a:pathLst>
              </a:custGeom>
              <a:grpFill/>
              <a:ln w="49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17" name="Freeform: Shape 116">
                <a:extLst>
                  <a:ext uri="{FF2B5EF4-FFF2-40B4-BE49-F238E27FC236}">
                    <a16:creationId xmlns:a16="http://schemas.microsoft.com/office/drawing/2014/main" id="{24B91A1D-EBDE-BCD3-EDF8-6DFC32F0EEF1}"/>
                  </a:ext>
                </a:extLst>
              </p:cNvPr>
              <p:cNvSpPr/>
              <p:nvPr/>
            </p:nvSpPr>
            <p:spPr>
              <a:xfrm>
                <a:off x="7579703" y="725767"/>
                <a:ext cx="7569" cy="60420"/>
              </a:xfrm>
              <a:custGeom>
                <a:avLst/>
                <a:gdLst>
                  <a:gd name="csX0" fmla="*/ 3785 w 7569"/>
                  <a:gd name="csY0" fmla="*/ 60420 h 60420"/>
                  <a:gd name="csX1" fmla="*/ 0 w 7569"/>
                  <a:gd name="csY1" fmla="*/ 56635 h 60420"/>
                  <a:gd name="csX2" fmla="*/ 0 w 7569"/>
                  <a:gd name="csY2" fmla="*/ 3785 h 60420"/>
                  <a:gd name="csX3" fmla="*/ 3785 w 7569"/>
                  <a:gd name="csY3" fmla="*/ 0 h 60420"/>
                  <a:gd name="csX4" fmla="*/ 7569 w 7569"/>
                  <a:gd name="csY4" fmla="*/ 3785 h 60420"/>
                  <a:gd name="csX5" fmla="*/ 7569 w 7569"/>
                  <a:gd name="csY5" fmla="*/ 56635 h 60420"/>
                  <a:gd name="csX6" fmla="*/ 3785 w 7569"/>
                  <a:gd name="csY6" fmla="*/ 60420 h 6042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7569" h="60420">
                    <a:moveTo>
                      <a:pt x="3785" y="60420"/>
                    </a:moveTo>
                    <a:cubicBezTo>
                      <a:pt x="1694" y="60420"/>
                      <a:pt x="0" y="58726"/>
                      <a:pt x="0" y="56635"/>
                    </a:cubicBezTo>
                    <a:lnTo>
                      <a:pt x="0" y="3785"/>
                    </a:lnTo>
                    <a:cubicBezTo>
                      <a:pt x="0" y="1694"/>
                      <a:pt x="1694" y="0"/>
                      <a:pt x="3785" y="0"/>
                    </a:cubicBezTo>
                    <a:cubicBezTo>
                      <a:pt x="5875" y="0"/>
                      <a:pt x="7569" y="1694"/>
                      <a:pt x="7569" y="3785"/>
                    </a:cubicBezTo>
                    <a:lnTo>
                      <a:pt x="7569" y="56635"/>
                    </a:lnTo>
                    <a:cubicBezTo>
                      <a:pt x="7569" y="58725"/>
                      <a:pt x="5875" y="60420"/>
                      <a:pt x="3785" y="60420"/>
                    </a:cubicBezTo>
                    <a:close/>
                  </a:path>
                </a:pathLst>
              </a:custGeom>
              <a:grpFill/>
              <a:ln w="49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18" name="Freeform: Shape 117">
                <a:extLst>
                  <a:ext uri="{FF2B5EF4-FFF2-40B4-BE49-F238E27FC236}">
                    <a16:creationId xmlns:a16="http://schemas.microsoft.com/office/drawing/2014/main" id="{075CA63C-2980-330E-0CBD-D446A77CDB88}"/>
                  </a:ext>
                </a:extLst>
              </p:cNvPr>
              <p:cNvSpPr/>
              <p:nvPr/>
            </p:nvSpPr>
            <p:spPr>
              <a:xfrm>
                <a:off x="7559513" y="676411"/>
                <a:ext cx="7569" cy="47005"/>
              </a:xfrm>
              <a:custGeom>
                <a:avLst/>
                <a:gdLst>
                  <a:gd name="csX0" fmla="*/ 3785 w 7569"/>
                  <a:gd name="csY0" fmla="*/ 47006 h 47005"/>
                  <a:gd name="csX1" fmla="*/ 0 w 7569"/>
                  <a:gd name="csY1" fmla="*/ 43221 h 47005"/>
                  <a:gd name="csX2" fmla="*/ 0 w 7569"/>
                  <a:gd name="csY2" fmla="*/ 3785 h 47005"/>
                  <a:gd name="csX3" fmla="*/ 3785 w 7569"/>
                  <a:gd name="csY3" fmla="*/ 0 h 47005"/>
                  <a:gd name="csX4" fmla="*/ 7569 w 7569"/>
                  <a:gd name="csY4" fmla="*/ 3785 h 47005"/>
                  <a:gd name="csX5" fmla="*/ 7569 w 7569"/>
                  <a:gd name="csY5" fmla="*/ 43221 h 47005"/>
                  <a:gd name="csX6" fmla="*/ 3785 w 7569"/>
                  <a:gd name="csY6" fmla="*/ 47006 h 47005"/>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7569" h="47005">
                    <a:moveTo>
                      <a:pt x="3785" y="47006"/>
                    </a:moveTo>
                    <a:cubicBezTo>
                      <a:pt x="1694" y="47006"/>
                      <a:pt x="0" y="45312"/>
                      <a:pt x="0" y="43221"/>
                    </a:cubicBezTo>
                    <a:lnTo>
                      <a:pt x="0" y="3785"/>
                    </a:lnTo>
                    <a:cubicBezTo>
                      <a:pt x="0" y="1694"/>
                      <a:pt x="1694" y="0"/>
                      <a:pt x="3785" y="0"/>
                    </a:cubicBezTo>
                    <a:cubicBezTo>
                      <a:pt x="5875" y="0"/>
                      <a:pt x="7569" y="1694"/>
                      <a:pt x="7569" y="3785"/>
                    </a:cubicBezTo>
                    <a:lnTo>
                      <a:pt x="7569" y="43221"/>
                    </a:lnTo>
                    <a:cubicBezTo>
                      <a:pt x="7569" y="45312"/>
                      <a:pt x="5875" y="47006"/>
                      <a:pt x="3785" y="47006"/>
                    </a:cubicBezTo>
                    <a:close/>
                  </a:path>
                </a:pathLst>
              </a:custGeom>
              <a:grpFill/>
              <a:ln w="49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19" name="Freeform: Shape 118">
                <a:extLst>
                  <a:ext uri="{FF2B5EF4-FFF2-40B4-BE49-F238E27FC236}">
                    <a16:creationId xmlns:a16="http://schemas.microsoft.com/office/drawing/2014/main" id="{D6F715E6-06B2-D73A-BE16-0B8B0F305FB7}"/>
                  </a:ext>
                </a:extLst>
              </p:cNvPr>
              <p:cNvSpPr/>
              <p:nvPr/>
            </p:nvSpPr>
            <p:spPr>
              <a:xfrm>
                <a:off x="7599893" y="676411"/>
                <a:ext cx="7569" cy="47005"/>
              </a:xfrm>
              <a:custGeom>
                <a:avLst/>
                <a:gdLst>
                  <a:gd name="csX0" fmla="*/ 3785 w 7569"/>
                  <a:gd name="csY0" fmla="*/ 47006 h 47005"/>
                  <a:gd name="csX1" fmla="*/ 0 w 7569"/>
                  <a:gd name="csY1" fmla="*/ 43221 h 47005"/>
                  <a:gd name="csX2" fmla="*/ 0 w 7569"/>
                  <a:gd name="csY2" fmla="*/ 3785 h 47005"/>
                  <a:gd name="csX3" fmla="*/ 3785 w 7569"/>
                  <a:gd name="csY3" fmla="*/ 0 h 47005"/>
                  <a:gd name="csX4" fmla="*/ 7569 w 7569"/>
                  <a:gd name="csY4" fmla="*/ 3785 h 47005"/>
                  <a:gd name="csX5" fmla="*/ 7569 w 7569"/>
                  <a:gd name="csY5" fmla="*/ 43221 h 47005"/>
                  <a:gd name="csX6" fmla="*/ 3785 w 7569"/>
                  <a:gd name="csY6" fmla="*/ 47006 h 47005"/>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7569" h="47005">
                    <a:moveTo>
                      <a:pt x="3785" y="47006"/>
                    </a:moveTo>
                    <a:cubicBezTo>
                      <a:pt x="1694" y="47006"/>
                      <a:pt x="0" y="45312"/>
                      <a:pt x="0" y="43221"/>
                    </a:cubicBezTo>
                    <a:lnTo>
                      <a:pt x="0" y="3785"/>
                    </a:lnTo>
                    <a:cubicBezTo>
                      <a:pt x="0" y="1694"/>
                      <a:pt x="1694" y="0"/>
                      <a:pt x="3785" y="0"/>
                    </a:cubicBezTo>
                    <a:cubicBezTo>
                      <a:pt x="5875" y="0"/>
                      <a:pt x="7569" y="1694"/>
                      <a:pt x="7569" y="3785"/>
                    </a:cubicBezTo>
                    <a:lnTo>
                      <a:pt x="7569" y="43221"/>
                    </a:lnTo>
                    <a:cubicBezTo>
                      <a:pt x="7569" y="45312"/>
                      <a:pt x="5875" y="47006"/>
                      <a:pt x="3785" y="47006"/>
                    </a:cubicBezTo>
                    <a:close/>
                  </a:path>
                </a:pathLst>
              </a:custGeom>
              <a:grpFill/>
              <a:ln w="49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0" name="Freeform: Shape 119">
                <a:extLst>
                  <a:ext uri="{FF2B5EF4-FFF2-40B4-BE49-F238E27FC236}">
                    <a16:creationId xmlns:a16="http://schemas.microsoft.com/office/drawing/2014/main" id="{0D3F7F5A-B1ED-963E-1C00-06F4023F39D2}"/>
                  </a:ext>
                </a:extLst>
              </p:cNvPr>
              <p:cNvSpPr/>
              <p:nvPr/>
            </p:nvSpPr>
            <p:spPr>
              <a:xfrm>
                <a:off x="7563719" y="610098"/>
                <a:ext cx="39536" cy="39536"/>
              </a:xfrm>
              <a:custGeom>
                <a:avLst/>
                <a:gdLst>
                  <a:gd name="csX0" fmla="*/ 19768 w 39536"/>
                  <a:gd name="csY0" fmla="*/ 39537 h 39536"/>
                  <a:gd name="csX1" fmla="*/ 0 w 39536"/>
                  <a:gd name="csY1" fmla="*/ 19768 h 39536"/>
                  <a:gd name="csX2" fmla="*/ 19768 w 39536"/>
                  <a:gd name="csY2" fmla="*/ 0 h 39536"/>
                  <a:gd name="csX3" fmla="*/ 39537 w 39536"/>
                  <a:gd name="csY3" fmla="*/ 19768 h 39536"/>
                  <a:gd name="csX4" fmla="*/ 19768 w 39536"/>
                  <a:gd name="csY4" fmla="*/ 39537 h 39536"/>
                  <a:gd name="csX5" fmla="*/ 19768 w 39536"/>
                  <a:gd name="csY5" fmla="*/ 7569 h 39536"/>
                  <a:gd name="csX6" fmla="*/ 7569 w 39536"/>
                  <a:gd name="csY6" fmla="*/ 19768 h 39536"/>
                  <a:gd name="csX7" fmla="*/ 19768 w 39536"/>
                  <a:gd name="csY7" fmla="*/ 31967 h 39536"/>
                  <a:gd name="csX8" fmla="*/ 31968 w 39536"/>
                  <a:gd name="csY8" fmla="*/ 19768 h 39536"/>
                  <a:gd name="csX9" fmla="*/ 19768 w 39536"/>
                  <a:gd name="csY9" fmla="*/ 7569 h 3953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39536" h="39536">
                    <a:moveTo>
                      <a:pt x="19768" y="39537"/>
                    </a:moveTo>
                    <a:cubicBezTo>
                      <a:pt x="8869" y="39537"/>
                      <a:pt x="0" y="30668"/>
                      <a:pt x="0" y="19768"/>
                    </a:cubicBezTo>
                    <a:cubicBezTo>
                      <a:pt x="0" y="8868"/>
                      <a:pt x="8869" y="0"/>
                      <a:pt x="19768" y="0"/>
                    </a:cubicBezTo>
                    <a:cubicBezTo>
                      <a:pt x="30668" y="0"/>
                      <a:pt x="39537" y="8869"/>
                      <a:pt x="39537" y="19768"/>
                    </a:cubicBezTo>
                    <a:cubicBezTo>
                      <a:pt x="39537" y="30668"/>
                      <a:pt x="30668" y="39537"/>
                      <a:pt x="19768" y="39537"/>
                    </a:cubicBezTo>
                    <a:close/>
                    <a:moveTo>
                      <a:pt x="19768" y="7569"/>
                    </a:moveTo>
                    <a:cubicBezTo>
                      <a:pt x="13042" y="7569"/>
                      <a:pt x="7569" y="13041"/>
                      <a:pt x="7569" y="19768"/>
                    </a:cubicBezTo>
                    <a:cubicBezTo>
                      <a:pt x="7569" y="26495"/>
                      <a:pt x="13042" y="31967"/>
                      <a:pt x="19768" y="31967"/>
                    </a:cubicBezTo>
                    <a:cubicBezTo>
                      <a:pt x="26495" y="31967"/>
                      <a:pt x="31968" y="26495"/>
                      <a:pt x="31968" y="19768"/>
                    </a:cubicBezTo>
                    <a:cubicBezTo>
                      <a:pt x="31968" y="13042"/>
                      <a:pt x="26495" y="7569"/>
                      <a:pt x="19768" y="7569"/>
                    </a:cubicBezTo>
                    <a:close/>
                  </a:path>
                </a:pathLst>
              </a:custGeom>
              <a:grpFill/>
              <a:ln w="49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1" name="Freeform: Shape 120">
                <a:extLst>
                  <a:ext uri="{FF2B5EF4-FFF2-40B4-BE49-F238E27FC236}">
                    <a16:creationId xmlns:a16="http://schemas.microsoft.com/office/drawing/2014/main" id="{A915C3EB-ED56-8E83-DD3E-6EE7D6A58794}"/>
                  </a:ext>
                </a:extLst>
              </p:cNvPr>
              <p:cNvSpPr/>
              <p:nvPr/>
            </p:nvSpPr>
            <p:spPr>
              <a:xfrm>
                <a:off x="7678512" y="674529"/>
                <a:ext cx="7751" cy="13620"/>
              </a:xfrm>
              <a:custGeom>
                <a:avLst/>
                <a:gdLst>
                  <a:gd name="csX0" fmla="*/ 3966 w 7751"/>
                  <a:gd name="csY0" fmla="*/ 13621 h 13620"/>
                  <a:gd name="csX1" fmla="*/ 182 w 7751"/>
                  <a:gd name="csY1" fmla="*/ 9836 h 13620"/>
                  <a:gd name="csX2" fmla="*/ 7 w 7751"/>
                  <a:gd name="csY2" fmla="*/ 4006 h 13620"/>
                  <a:gd name="csX3" fmla="*/ 3558 w 7751"/>
                  <a:gd name="csY3" fmla="*/ 2 h 13620"/>
                  <a:gd name="csX4" fmla="*/ 7562 w 7751"/>
                  <a:gd name="csY4" fmla="*/ 3556 h 13620"/>
                  <a:gd name="csX5" fmla="*/ 7751 w 7751"/>
                  <a:gd name="csY5" fmla="*/ 9836 h 13620"/>
                  <a:gd name="csX6" fmla="*/ 3966 w 7751"/>
                  <a:gd name="csY6" fmla="*/ 13621 h 13620"/>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7751" h="13620">
                    <a:moveTo>
                      <a:pt x="3966" y="13621"/>
                    </a:moveTo>
                    <a:cubicBezTo>
                      <a:pt x="1876" y="13621"/>
                      <a:pt x="182" y="11926"/>
                      <a:pt x="182" y="9836"/>
                    </a:cubicBezTo>
                    <a:cubicBezTo>
                      <a:pt x="182" y="7879"/>
                      <a:pt x="123" y="5936"/>
                      <a:pt x="7" y="4006"/>
                    </a:cubicBezTo>
                    <a:cubicBezTo>
                      <a:pt x="-119" y="1921"/>
                      <a:pt x="1472" y="126"/>
                      <a:pt x="3558" y="2"/>
                    </a:cubicBezTo>
                    <a:cubicBezTo>
                      <a:pt x="5693" y="-66"/>
                      <a:pt x="7439" y="1469"/>
                      <a:pt x="7562" y="3556"/>
                    </a:cubicBezTo>
                    <a:cubicBezTo>
                      <a:pt x="7686" y="5635"/>
                      <a:pt x="7751" y="7725"/>
                      <a:pt x="7751" y="9836"/>
                    </a:cubicBezTo>
                    <a:cubicBezTo>
                      <a:pt x="7751" y="11926"/>
                      <a:pt x="6057" y="13621"/>
                      <a:pt x="3966" y="13621"/>
                    </a:cubicBezTo>
                    <a:close/>
                  </a:path>
                </a:pathLst>
              </a:custGeom>
              <a:grpFill/>
              <a:ln w="49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2" name="Freeform: Shape 121">
                <a:extLst>
                  <a:ext uri="{FF2B5EF4-FFF2-40B4-BE49-F238E27FC236}">
                    <a16:creationId xmlns:a16="http://schemas.microsoft.com/office/drawing/2014/main" id="{2BE434F6-B21C-F730-F5AE-D64722C9E805}"/>
                  </a:ext>
                </a:extLst>
              </p:cNvPr>
              <p:cNvSpPr/>
              <p:nvPr/>
            </p:nvSpPr>
            <p:spPr>
              <a:xfrm>
                <a:off x="7484958" y="582238"/>
                <a:ext cx="197095" cy="77261"/>
              </a:xfrm>
              <a:custGeom>
                <a:avLst/>
                <a:gdLst>
                  <a:gd name="csX0" fmla="*/ 193308 w 197095"/>
                  <a:gd name="csY0" fmla="*/ 77261 h 77261"/>
                  <a:gd name="csX1" fmla="*/ 189686 w 197095"/>
                  <a:gd name="csY1" fmla="*/ 74569 h 77261"/>
                  <a:gd name="csX2" fmla="*/ 185880 w 197095"/>
                  <a:gd name="csY2" fmla="*/ 64198 h 77261"/>
                  <a:gd name="csX3" fmla="*/ 187841 w 197095"/>
                  <a:gd name="csY3" fmla="*/ 59218 h 77261"/>
                  <a:gd name="csX4" fmla="*/ 192822 w 197095"/>
                  <a:gd name="csY4" fmla="*/ 61180 h 77261"/>
                  <a:gd name="csX5" fmla="*/ 196933 w 197095"/>
                  <a:gd name="csY5" fmla="*/ 72381 h 77261"/>
                  <a:gd name="csX6" fmla="*/ 194403 w 197095"/>
                  <a:gd name="csY6" fmla="*/ 77099 h 77261"/>
                  <a:gd name="csX7" fmla="*/ 193308 w 197095"/>
                  <a:gd name="csY7" fmla="*/ 77261 h 77261"/>
                  <a:gd name="csX8" fmla="*/ 3787 w 197095"/>
                  <a:gd name="csY8" fmla="*/ 77150 h 77261"/>
                  <a:gd name="csX9" fmla="*/ 2689 w 197095"/>
                  <a:gd name="csY9" fmla="*/ 76986 h 77261"/>
                  <a:gd name="csX10" fmla="*/ 164 w 197095"/>
                  <a:gd name="csY10" fmla="*/ 72267 h 77261"/>
                  <a:gd name="csX11" fmla="*/ 4283 w 197095"/>
                  <a:gd name="csY11" fmla="*/ 61075 h 77261"/>
                  <a:gd name="csX12" fmla="*/ 9265 w 197095"/>
                  <a:gd name="csY12" fmla="*/ 59117 h 77261"/>
                  <a:gd name="csX13" fmla="*/ 11223 w 197095"/>
                  <a:gd name="csY13" fmla="*/ 64099 h 77261"/>
                  <a:gd name="csX14" fmla="*/ 7407 w 197095"/>
                  <a:gd name="csY14" fmla="*/ 74461 h 77261"/>
                  <a:gd name="csX15" fmla="*/ 3787 w 197095"/>
                  <a:gd name="csY15" fmla="*/ 77150 h 77261"/>
                  <a:gd name="csX16" fmla="*/ 177830 w 197095"/>
                  <a:gd name="csY16" fmla="*/ 46649 h 77261"/>
                  <a:gd name="csX17" fmla="*/ 174797 w 197095"/>
                  <a:gd name="csY17" fmla="*/ 45132 h 77261"/>
                  <a:gd name="csX18" fmla="*/ 167678 w 197095"/>
                  <a:gd name="csY18" fmla="*/ 36685 h 77261"/>
                  <a:gd name="csX19" fmla="*/ 167824 w 197095"/>
                  <a:gd name="csY19" fmla="*/ 31335 h 77261"/>
                  <a:gd name="csX20" fmla="*/ 173175 w 197095"/>
                  <a:gd name="csY20" fmla="*/ 31481 h 77261"/>
                  <a:gd name="csX21" fmla="*/ 180858 w 197095"/>
                  <a:gd name="csY21" fmla="*/ 40597 h 77261"/>
                  <a:gd name="csX22" fmla="*/ 180095 w 197095"/>
                  <a:gd name="csY22" fmla="*/ 45895 h 77261"/>
                  <a:gd name="csX23" fmla="*/ 177830 w 197095"/>
                  <a:gd name="csY23" fmla="*/ 46649 h 77261"/>
                  <a:gd name="csX24" fmla="*/ 19290 w 197095"/>
                  <a:gd name="csY24" fmla="*/ 46566 h 77261"/>
                  <a:gd name="csX25" fmla="*/ 17023 w 197095"/>
                  <a:gd name="csY25" fmla="*/ 45809 h 77261"/>
                  <a:gd name="csX26" fmla="*/ 16266 w 197095"/>
                  <a:gd name="csY26" fmla="*/ 40511 h 77261"/>
                  <a:gd name="csX27" fmla="*/ 23958 w 197095"/>
                  <a:gd name="csY27" fmla="*/ 31404 h 77261"/>
                  <a:gd name="csX28" fmla="*/ 29308 w 197095"/>
                  <a:gd name="csY28" fmla="*/ 31264 h 77261"/>
                  <a:gd name="csX29" fmla="*/ 29448 w 197095"/>
                  <a:gd name="csY29" fmla="*/ 36614 h 77261"/>
                  <a:gd name="csX30" fmla="*/ 22321 w 197095"/>
                  <a:gd name="csY30" fmla="*/ 45052 h 77261"/>
                  <a:gd name="csX31" fmla="*/ 19290 w 197095"/>
                  <a:gd name="csY31" fmla="*/ 46566 h 77261"/>
                  <a:gd name="csX32" fmla="*/ 152847 w 197095"/>
                  <a:gd name="csY32" fmla="*/ 23143 h 77261"/>
                  <a:gd name="csX33" fmla="*/ 150771 w 197095"/>
                  <a:gd name="csY33" fmla="*/ 22521 h 77261"/>
                  <a:gd name="csX34" fmla="*/ 141211 w 197095"/>
                  <a:gd name="csY34" fmla="*/ 17001 h 77261"/>
                  <a:gd name="csX35" fmla="*/ 139527 w 197095"/>
                  <a:gd name="csY35" fmla="*/ 11920 h 77261"/>
                  <a:gd name="csX36" fmla="*/ 144608 w 197095"/>
                  <a:gd name="csY36" fmla="*/ 10236 h 77261"/>
                  <a:gd name="csX37" fmla="*/ 154930 w 197095"/>
                  <a:gd name="csY37" fmla="*/ 16196 h 77261"/>
                  <a:gd name="csX38" fmla="*/ 156012 w 197095"/>
                  <a:gd name="csY38" fmla="*/ 21439 h 77261"/>
                  <a:gd name="csX39" fmla="*/ 152847 w 197095"/>
                  <a:gd name="csY39" fmla="*/ 23143 h 77261"/>
                  <a:gd name="csX40" fmla="*/ 44300 w 197095"/>
                  <a:gd name="csY40" fmla="*/ 23087 h 77261"/>
                  <a:gd name="csX41" fmla="*/ 41133 w 197095"/>
                  <a:gd name="csY41" fmla="*/ 21380 h 77261"/>
                  <a:gd name="csX42" fmla="*/ 42219 w 197095"/>
                  <a:gd name="csY42" fmla="*/ 16139 h 77261"/>
                  <a:gd name="csX43" fmla="*/ 52553 w 197095"/>
                  <a:gd name="csY43" fmla="*/ 10185 h 77261"/>
                  <a:gd name="csX44" fmla="*/ 57633 w 197095"/>
                  <a:gd name="csY44" fmla="*/ 11874 h 77261"/>
                  <a:gd name="csX45" fmla="*/ 55944 w 197095"/>
                  <a:gd name="csY45" fmla="*/ 16953 h 77261"/>
                  <a:gd name="csX46" fmla="*/ 46374 w 197095"/>
                  <a:gd name="csY46" fmla="*/ 22466 h 77261"/>
                  <a:gd name="csX47" fmla="*/ 44300 w 197095"/>
                  <a:gd name="csY47" fmla="*/ 23087 h 77261"/>
                  <a:gd name="csX48" fmla="*/ 121363 w 197095"/>
                  <a:gd name="csY48" fmla="*/ 9568 h 77261"/>
                  <a:gd name="csX49" fmla="*/ 120491 w 197095"/>
                  <a:gd name="csY49" fmla="*/ 9465 h 77261"/>
                  <a:gd name="csX50" fmla="*/ 109615 w 197095"/>
                  <a:gd name="csY50" fmla="*/ 7558 h 77261"/>
                  <a:gd name="csX51" fmla="*/ 106291 w 197095"/>
                  <a:gd name="csY51" fmla="*/ 3363 h 77261"/>
                  <a:gd name="csX52" fmla="*/ 110487 w 197095"/>
                  <a:gd name="csY52" fmla="*/ 40 h 77261"/>
                  <a:gd name="csX53" fmla="*/ 122230 w 197095"/>
                  <a:gd name="csY53" fmla="*/ 2099 h 77261"/>
                  <a:gd name="csX54" fmla="*/ 125043 w 197095"/>
                  <a:gd name="csY54" fmla="*/ 6651 h 77261"/>
                  <a:gd name="csX55" fmla="*/ 121363 w 197095"/>
                  <a:gd name="csY55" fmla="*/ 9568 h 77261"/>
                  <a:gd name="csX56" fmla="*/ 75809 w 197095"/>
                  <a:gd name="csY56" fmla="*/ 9542 h 77261"/>
                  <a:gd name="csX57" fmla="*/ 72128 w 197095"/>
                  <a:gd name="csY57" fmla="*/ 6622 h 77261"/>
                  <a:gd name="csX58" fmla="*/ 74946 w 197095"/>
                  <a:gd name="csY58" fmla="*/ 2072 h 77261"/>
                  <a:gd name="csX59" fmla="*/ 86691 w 197095"/>
                  <a:gd name="csY59" fmla="*/ 27 h 77261"/>
                  <a:gd name="csX60" fmla="*/ 90882 w 197095"/>
                  <a:gd name="csY60" fmla="*/ 3355 h 77261"/>
                  <a:gd name="csX61" fmla="*/ 87554 w 197095"/>
                  <a:gd name="csY61" fmla="*/ 7547 h 77261"/>
                  <a:gd name="csX62" fmla="*/ 76678 w 197095"/>
                  <a:gd name="csY62" fmla="*/ 9441 h 77261"/>
                  <a:gd name="csX63" fmla="*/ 75809 w 197095"/>
                  <a:gd name="csY63" fmla="*/ 9542 h 7726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Lst>
                <a:rect l="l" t="t" r="r" b="b"/>
                <a:pathLst>
                  <a:path w="197095" h="77261">
                    <a:moveTo>
                      <a:pt x="193308" y="77261"/>
                    </a:moveTo>
                    <a:cubicBezTo>
                      <a:pt x="191683" y="77261"/>
                      <a:pt x="190181" y="76206"/>
                      <a:pt x="189686" y="74569"/>
                    </a:cubicBezTo>
                    <a:cubicBezTo>
                      <a:pt x="188626" y="71058"/>
                      <a:pt x="187346" y="67569"/>
                      <a:pt x="185880" y="64198"/>
                    </a:cubicBezTo>
                    <a:cubicBezTo>
                      <a:pt x="185047" y="62281"/>
                      <a:pt x="185925" y="60052"/>
                      <a:pt x="187841" y="59218"/>
                    </a:cubicBezTo>
                    <a:cubicBezTo>
                      <a:pt x="189750" y="58387"/>
                      <a:pt x="191986" y="59261"/>
                      <a:pt x="192822" y="61180"/>
                    </a:cubicBezTo>
                    <a:cubicBezTo>
                      <a:pt x="194403" y="64820"/>
                      <a:pt x="195787" y="68589"/>
                      <a:pt x="196933" y="72381"/>
                    </a:cubicBezTo>
                    <a:cubicBezTo>
                      <a:pt x="197536" y="74381"/>
                      <a:pt x="196405" y="76494"/>
                      <a:pt x="194403" y="77099"/>
                    </a:cubicBezTo>
                    <a:cubicBezTo>
                      <a:pt x="194039" y="77208"/>
                      <a:pt x="193670" y="77261"/>
                      <a:pt x="193308" y="77261"/>
                    </a:cubicBezTo>
                    <a:close/>
                    <a:moveTo>
                      <a:pt x="3787" y="77150"/>
                    </a:moveTo>
                    <a:cubicBezTo>
                      <a:pt x="3423" y="77150"/>
                      <a:pt x="3054" y="77097"/>
                      <a:pt x="2689" y="76986"/>
                    </a:cubicBezTo>
                    <a:cubicBezTo>
                      <a:pt x="688" y="76380"/>
                      <a:pt x="-443" y="74268"/>
                      <a:pt x="164" y="72267"/>
                    </a:cubicBezTo>
                    <a:cubicBezTo>
                      <a:pt x="1312" y="68477"/>
                      <a:pt x="2698" y="64712"/>
                      <a:pt x="4283" y="61075"/>
                    </a:cubicBezTo>
                    <a:cubicBezTo>
                      <a:pt x="5119" y="59158"/>
                      <a:pt x="7353" y="58281"/>
                      <a:pt x="9265" y="59117"/>
                    </a:cubicBezTo>
                    <a:cubicBezTo>
                      <a:pt x="11181" y="59954"/>
                      <a:pt x="12058" y="62184"/>
                      <a:pt x="11223" y="64099"/>
                    </a:cubicBezTo>
                    <a:cubicBezTo>
                      <a:pt x="9753" y="67467"/>
                      <a:pt x="8470" y="70953"/>
                      <a:pt x="7407" y="74461"/>
                    </a:cubicBezTo>
                    <a:cubicBezTo>
                      <a:pt x="6912" y="76096"/>
                      <a:pt x="5410" y="77150"/>
                      <a:pt x="3787" y="77150"/>
                    </a:cubicBezTo>
                    <a:close/>
                    <a:moveTo>
                      <a:pt x="177830" y="46649"/>
                    </a:moveTo>
                    <a:cubicBezTo>
                      <a:pt x="176678" y="46649"/>
                      <a:pt x="175540" y="46125"/>
                      <a:pt x="174797" y="45132"/>
                    </a:cubicBezTo>
                    <a:cubicBezTo>
                      <a:pt x="172600" y="42196"/>
                      <a:pt x="170204" y="39353"/>
                      <a:pt x="167678" y="36685"/>
                    </a:cubicBezTo>
                    <a:cubicBezTo>
                      <a:pt x="166241" y="35167"/>
                      <a:pt x="166306" y="32772"/>
                      <a:pt x="167824" y="31335"/>
                    </a:cubicBezTo>
                    <a:cubicBezTo>
                      <a:pt x="169341" y="29896"/>
                      <a:pt x="171734" y="29958"/>
                      <a:pt x="173175" y="31481"/>
                    </a:cubicBezTo>
                    <a:cubicBezTo>
                      <a:pt x="175901" y="34361"/>
                      <a:pt x="178486" y="37429"/>
                      <a:pt x="180858" y="40597"/>
                    </a:cubicBezTo>
                    <a:cubicBezTo>
                      <a:pt x="182110" y="42270"/>
                      <a:pt x="181768" y="44643"/>
                      <a:pt x="180095" y="45895"/>
                    </a:cubicBezTo>
                    <a:cubicBezTo>
                      <a:pt x="179415" y="46403"/>
                      <a:pt x="178618" y="46649"/>
                      <a:pt x="177830" y="46649"/>
                    </a:cubicBezTo>
                    <a:close/>
                    <a:moveTo>
                      <a:pt x="19290" y="46566"/>
                    </a:moveTo>
                    <a:cubicBezTo>
                      <a:pt x="18501" y="46566"/>
                      <a:pt x="17704" y="46319"/>
                      <a:pt x="17023" y="45809"/>
                    </a:cubicBezTo>
                    <a:cubicBezTo>
                      <a:pt x="15351" y="44556"/>
                      <a:pt x="15012" y="42183"/>
                      <a:pt x="16266" y="40511"/>
                    </a:cubicBezTo>
                    <a:cubicBezTo>
                      <a:pt x="18640" y="37346"/>
                      <a:pt x="21227" y="34281"/>
                      <a:pt x="23958" y="31404"/>
                    </a:cubicBezTo>
                    <a:cubicBezTo>
                      <a:pt x="25394" y="29886"/>
                      <a:pt x="27791" y="29824"/>
                      <a:pt x="29308" y="31264"/>
                    </a:cubicBezTo>
                    <a:cubicBezTo>
                      <a:pt x="30825" y="32702"/>
                      <a:pt x="30887" y="35097"/>
                      <a:pt x="29448" y="36614"/>
                    </a:cubicBezTo>
                    <a:cubicBezTo>
                      <a:pt x="26919" y="39280"/>
                      <a:pt x="24521" y="42119"/>
                      <a:pt x="22321" y="45052"/>
                    </a:cubicBezTo>
                    <a:cubicBezTo>
                      <a:pt x="21577" y="46044"/>
                      <a:pt x="20440" y="46566"/>
                      <a:pt x="19290" y="46566"/>
                    </a:cubicBezTo>
                    <a:close/>
                    <a:moveTo>
                      <a:pt x="152847" y="23143"/>
                    </a:moveTo>
                    <a:cubicBezTo>
                      <a:pt x="152133" y="23143"/>
                      <a:pt x="151412" y="22942"/>
                      <a:pt x="150771" y="22521"/>
                    </a:cubicBezTo>
                    <a:cubicBezTo>
                      <a:pt x="147699" y="20501"/>
                      <a:pt x="144484" y="18645"/>
                      <a:pt x="141211" y="17001"/>
                    </a:cubicBezTo>
                    <a:cubicBezTo>
                      <a:pt x="139342" y="16062"/>
                      <a:pt x="138589" y="13787"/>
                      <a:pt x="139527" y="11920"/>
                    </a:cubicBezTo>
                    <a:cubicBezTo>
                      <a:pt x="140468" y="10054"/>
                      <a:pt x="142741" y="9303"/>
                      <a:pt x="144608" y="10236"/>
                    </a:cubicBezTo>
                    <a:cubicBezTo>
                      <a:pt x="148143" y="12011"/>
                      <a:pt x="151614" y="14018"/>
                      <a:pt x="154930" y="16196"/>
                    </a:cubicBezTo>
                    <a:cubicBezTo>
                      <a:pt x="156675" y="17346"/>
                      <a:pt x="157160" y="19691"/>
                      <a:pt x="156012" y="21439"/>
                    </a:cubicBezTo>
                    <a:cubicBezTo>
                      <a:pt x="155285" y="22543"/>
                      <a:pt x="154077" y="23143"/>
                      <a:pt x="152847" y="23143"/>
                    </a:cubicBezTo>
                    <a:close/>
                    <a:moveTo>
                      <a:pt x="44300" y="23087"/>
                    </a:moveTo>
                    <a:cubicBezTo>
                      <a:pt x="43068" y="23087"/>
                      <a:pt x="41859" y="22487"/>
                      <a:pt x="41133" y="21380"/>
                    </a:cubicBezTo>
                    <a:cubicBezTo>
                      <a:pt x="39986" y="19632"/>
                      <a:pt x="40472" y="17286"/>
                      <a:pt x="42219" y="16139"/>
                    </a:cubicBezTo>
                    <a:cubicBezTo>
                      <a:pt x="45531" y="13966"/>
                      <a:pt x="49008" y="11962"/>
                      <a:pt x="52553" y="10185"/>
                    </a:cubicBezTo>
                    <a:cubicBezTo>
                      <a:pt x="54423" y="9253"/>
                      <a:pt x="56697" y="10007"/>
                      <a:pt x="57633" y="11874"/>
                    </a:cubicBezTo>
                    <a:cubicBezTo>
                      <a:pt x="58568" y="13742"/>
                      <a:pt x="57813" y="16016"/>
                      <a:pt x="55944" y="16953"/>
                    </a:cubicBezTo>
                    <a:cubicBezTo>
                      <a:pt x="52661" y="18599"/>
                      <a:pt x="49440" y="20454"/>
                      <a:pt x="46374" y="22466"/>
                    </a:cubicBezTo>
                    <a:cubicBezTo>
                      <a:pt x="45734" y="22886"/>
                      <a:pt x="45012" y="23087"/>
                      <a:pt x="44300" y="23087"/>
                    </a:cubicBezTo>
                    <a:close/>
                    <a:moveTo>
                      <a:pt x="121363" y="9568"/>
                    </a:moveTo>
                    <a:cubicBezTo>
                      <a:pt x="121075" y="9568"/>
                      <a:pt x="120784" y="9534"/>
                      <a:pt x="120491" y="9465"/>
                    </a:cubicBezTo>
                    <a:cubicBezTo>
                      <a:pt x="116923" y="8623"/>
                      <a:pt x="113265" y="7982"/>
                      <a:pt x="109615" y="7558"/>
                    </a:cubicBezTo>
                    <a:cubicBezTo>
                      <a:pt x="107539" y="7317"/>
                      <a:pt x="106051" y="5440"/>
                      <a:pt x="106291" y="3363"/>
                    </a:cubicBezTo>
                    <a:cubicBezTo>
                      <a:pt x="106531" y="1287"/>
                      <a:pt x="108396" y="-211"/>
                      <a:pt x="110487" y="40"/>
                    </a:cubicBezTo>
                    <a:cubicBezTo>
                      <a:pt x="114426" y="497"/>
                      <a:pt x="118378" y="1189"/>
                      <a:pt x="122230" y="2099"/>
                    </a:cubicBezTo>
                    <a:cubicBezTo>
                      <a:pt x="124264" y="2578"/>
                      <a:pt x="125523" y="4617"/>
                      <a:pt x="125043" y="6651"/>
                    </a:cubicBezTo>
                    <a:cubicBezTo>
                      <a:pt x="124631" y="8392"/>
                      <a:pt x="123078" y="9568"/>
                      <a:pt x="121363" y="9568"/>
                    </a:cubicBezTo>
                    <a:close/>
                    <a:moveTo>
                      <a:pt x="75809" y="9542"/>
                    </a:moveTo>
                    <a:cubicBezTo>
                      <a:pt x="74092" y="9542"/>
                      <a:pt x="72537" y="8365"/>
                      <a:pt x="72128" y="6622"/>
                    </a:cubicBezTo>
                    <a:cubicBezTo>
                      <a:pt x="71649" y="4587"/>
                      <a:pt x="72911" y="2550"/>
                      <a:pt x="74946" y="2072"/>
                    </a:cubicBezTo>
                    <a:cubicBezTo>
                      <a:pt x="78797" y="1167"/>
                      <a:pt x="82749" y="480"/>
                      <a:pt x="86691" y="27"/>
                    </a:cubicBezTo>
                    <a:cubicBezTo>
                      <a:pt x="88779" y="-224"/>
                      <a:pt x="90646" y="1280"/>
                      <a:pt x="90882" y="3355"/>
                    </a:cubicBezTo>
                    <a:cubicBezTo>
                      <a:pt x="91120" y="5432"/>
                      <a:pt x="89630" y="7309"/>
                      <a:pt x="87554" y="7547"/>
                    </a:cubicBezTo>
                    <a:cubicBezTo>
                      <a:pt x="83901" y="7967"/>
                      <a:pt x="80243" y="8604"/>
                      <a:pt x="76678" y="9441"/>
                    </a:cubicBezTo>
                    <a:cubicBezTo>
                      <a:pt x="76387" y="9509"/>
                      <a:pt x="76096" y="9542"/>
                      <a:pt x="75809" y="9542"/>
                    </a:cubicBezTo>
                    <a:close/>
                  </a:path>
                </a:pathLst>
              </a:custGeom>
              <a:grpFill/>
              <a:ln w="49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3" name="Freeform: Shape 122">
                <a:extLst>
                  <a:ext uri="{FF2B5EF4-FFF2-40B4-BE49-F238E27FC236}">
                    <a16:creationId xmlns:a16="http://schemas.microsoft.com/office/drawing/2014/main" id="{CA7812C4-24C3-EBA0-7F11-6D5CCB44F8DB}"/>
                  </a:ext>
                </a:extLst>
              </p:cNvPr>
              <p:cNvSpPr/>
              <p:nvPr/>
            </p:nvSpPr>
            <p:spPr>
              <a:xfrm>
                <a:off x="7480715" y="674528"/>
                <a:ext cx="7751" cy="13621"/>
              </a:xfrm>
              <a:custGeom>
                <a:avLst/>
                <a:gdLst>
                  <a:gd name="csX0" fmla="*/ 3785 w 7751"/>
                  <a:gd name="csY0" fmla="*/ 13621 h 13621"/>
                  <a:gd name="csX1" fmla="*/ 0 w 7751"/>
                  <a:gd name="csY1" fmla="*/ 9837 h 13621"/>
                  <a:gd name="csX2" fmla="*/ 189 w 7751"/>
                  <a:gd name="csY2" fmla="*/ 3554 h 13621"/>
                  <a:gd name="csX3" fmla="*/ 4196 w 7751"/>
                  <a:gd name="csY3" fmla="*/ 3 h 13621"/>
                  <a:gd name="csX4" fmla="*/ 7744 w 7751"/>
                  <a:gd name="csY4" fmla="*/ 4009 h 13621"/>
                  <a:gd name="csX5" fmla="*/ 7570 w 7751"/>
                  <a:gd name="csY5" fmla="*/ 9837 h 13621"/>
                  <a:gd name="csX6" fmla="*/ 3785 w 7751"/>
                  <a:gd name="csY6" fmla="*/ 13621 h 13621"/>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7751" h="13621">
                    <a:moveTo>
                      <a:pt x="3785" y="13621"/>
                    </a:moveTo>
                    <a:cubicBezTo>
                      <a:pt x="1694" y="13621"/>
                      <a:pt x="0" y="11927"/>
                      <a:pt x="0" y="9837"/>
                    </a:cubicBezTo>
                    <a:cubicBezTo>
                      <a:pt x="0" y="7725"/>
                      <a:pt x="64" y="5632"/>
                      <a:pt x="189" y="3554"/>
                    </a:cubicBezTo>
                    <a:cubicBezTo>
                      <a:pt x="315" y="1467"/>
                      <a:pt x="2089" y="-74"/>
                      <a:pt x="4196" y="3"/>
                    </a:cubicBezTo>
                    <a:cubicBezTo>
                      <a:pt x="6282" y="130"/>
                      <a:pt x="7871" y="1925"/>
                      <a:pt x="7744" y="4009"/>
                    </a:cubicBezTo>
                    <a:cubicBezTo>
                      <a:pt x="7628" y="5939"/>
                      <a:pt x="7570" y="7879"/>
                      <a:pt x="7570" y="9837"/>
                    </a:cubicBezTo>
                    <a:cubicBezTo>
                      <a:pt x="7569" y="11927"/>
                      <a:pt x="5875" y="13621"/>
                      <a:pt x="3785" y="13621"/>
                    </a:cubicBezTo>
                    <a:close/>
                  </a:path>
                </a:pathLst>
              </a:custGeom>
              <a:grpFill/>
              <a:ln w="49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4" name="Freeform: Shape 123">
                <a:extLst>
                  <a:ext uri="{FF2B5EF4-FFF2-40B4-BE49-F238E27FC236}">
                    <a16:creationId xmlns:a16="http://schemas.microsoft.com/office/drawing/2014/main" id="{7A103E9F-F1B4-3394-1249-78EB681F17DA}"/>
                  </a:ext>
                </a:extLst>
              </p:cNvPr>
              <p:cNvSpPr/>
              <p:nvPr/>
            </p:nvSpPr>
            <p:spPr>
              <a:xfrm>
                <a:off x="7646008" y="734868"/>
                <a:ext cx="32105" cy="31175"/>
              </a:xfrm>
              <a:custGeom>
                <a:avLst/>
                <a:gdLst>
                  <a:gd name="csX0" fmla="*/ 10190 w 32105"/>
                  <a:gd name="csY0" fmla="*/ 31176 h 31175"/>
                  <a:gd name="csX1" fmla="*/ 6330 w 32105"/>
                  <a:gd name="csY1" fmla="*/ 29916 h 31175"/>
                  <a:gd name="csX2" fmla="*/ 3950 w 32105"/>
                  <a:gd name="csY2" fmla="*/ 22581 h 31175"/>
                  <a:gd name="csX3" fmla="*/ 4714 w 32105"/>
                  <a:gd name="csY3" fmla="*/ 20224 h 31175"/>
                  <a:gd name="csX4" fmla="*/ 2708 w 32105"/>
                  <a:gd name="csY4" fmla="*/ 18763 h 31175"/>
                  <a:gd name="csX5" fmla="*/ 324 w 32105"/>
                  <a:gd name="csY5" fmla="*/ 11428 h 31175"/>
                  <a:gd name="csX6" fmla="*/ 6565 w 32105"/>
                  <a:gd name="csY6" fmla="*/ 6895 h 31175"/>
                  <a:gd name="csX7" fmla="*/ 9046 w 32105"/>
                  <a:gd name="csY7" fmla="*/ 6895 h 31175"/>
                  <a:gd name="csX8" fmla="*/ 9812 w 32105"/>
                  <a:gd name="csY8" fmla="*/ 4535 h 31175"/>
                  <a:gd name="csX9" fmla="*/ 16053 w 32105"/>
                  <a:gd name="csY9" fmla="*/ 0 h 31175"/>
                  <a:gd name="csX10" fmla="*/ 22294 w 32105"/>
                  <a:gd name="csY10" fmla="*/ 4533 h 31175"/>
                  <a:gd name="csX11" fmla="*/ 23061 w 32105"/>
                  <a:gd name="csY11" fmla="*/ 6896 h 31175"/>
                  <a:gd name="csX12" fmla="*/ 25541 w 32105"/>
                  <a:gd name="csY12" fmla="*/ 6896 h 31175"/>
                  <a:gd name="csX13" fmla="*/ 31782 w 32105"/>
                  <a:gd name="csY13" fmla="*/ 11428 h 31175"/>
                  <a:gd name="csX14" fmla="*/ 29398 w 32105"/>
                  <a:gd name="csY14" fmla="*/ 18764 h 31175"/>
                  <a:gd name="csX15" fmla="*/ 27390 w 32105"/>
                  <a:gd name="csY15" fmla="*/ 20225 h 31175"/>
                  <a:gd name="csX16" fmla="*/ 28156 w 32105"/>
                  <a:gd name="csY16" fmla="*/ 22581 h 31175"/>
                  <a:gd name="csX17" fmla="*/ 25771 w 32105"/>
                  <a:gd name="csY17" fmla="*/ 29920 h 31175"/>
                  <a:gd name="csX18" fmla="*/ 18059 w 32105"/>
                  <a:gd name="csY18" fmla="*/ 29917 h 31175"/>
                  <a:gd name="csX19" fmla="*/ 16053 w 32105"/>
                  <a:gd name="csY19" fmla="*/ 28462 h 31175"/>
                  <a:gd name="csX20" fmla="*/ 14046 w 32105"/>
                  <a:gd name="csY20" fmla="*/ 29920 h 31175"/>
                  <a:gd name="csX21" fmla="*/ 10190 w 32105"/>
                  <a:gd name="csY21" fmla="*/ 31176 h 31175"/>
                  <a:gd name="csX22" fmla="*/ 9665 w 32105"/>
                  <a:gd name="csY22" fmla="*/ 14464 h 31175"/>
                  <a:gd name="csX23" fmla="*/ 12138 w 32105"/>
                  <a:gd name="csY23" fmla="*/ 21868 h 31175"/>
                  <a:gd name="csX24" fmla="*/ 19915 w 32105"/>
                  <a:gd name="csY24" fmla="*/ 21913 h 31175"/>
                  <a:gd name="csX25" fmla="*/ 22352 w 32105"/>
                  <a:gd name="csY25" fmla="*/ 14529 h 31175"/>
                  <a:gd name="csX26" fmla="*/ 16088 w 32105"/>
                  <a:gd name="csY26" fmla="*/ 9931 h 31175"/>
                  <a:gd name="csX27" fmla="*/ 9776 w 32105"/>
                  <a:gd name="csY27" fmla="*/ 14464 h 3117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Lst>
                <a:rect l="l" t="t" r="r" b="b"/>
                <a:pathLst>
                  <a:path w="32105" h="31175">
                    <a:moveTo>
                      <a:pt x="10190" y="31176"/>
                    </a:moveTo>
                    <a:cubicBezTo>
                      <a:pt x="8837" y="31176"/>
                      <a:pt x="7484" y="30756"/>
                      <a:pt x="6330" y="29916"/>
                    </a:cubicBezTo>
                    <a:cubicBezTo>
                      <a:pt x="4024" y="28240"/>
                      <a:pt x="3067" y="25292"/>
                      <a:pt x="3950" y="22581"/>
                    </a:cubicBezTo>
                    <a:lnTo>
                      <a:pt x="4714" y="20224"/>
                    </a:lnTo>
                    <a:lnTo>
                      <a:pt x="2708" y="18763"/>
                    </a:lnTo>
                    <a:cubicBezTo>
                      <a:pt x="402" y="17090"/>
                      <a:pt x="-558" y="14142"/>
                      <a:pt x="324" y="11428"/>
                    </a:cubicBezTo>
                    <a:cubicBezTo>
                      <a:pt x="1204" y="8717"/>
                      <a:pt x="3713" y="6895"/>
                      <a:pt x="6565" y="6895"/>
                    </a:cubicBezTo>
                    <a:lnTo>
                      <a:pt x="9046" y="6895"/>
                    </a:lnTo>
                    <a:lnTo>
                      <a:pt x="9812" y="4535"/>
                    </a:lnTo>
                    <a:cubicBezTo>
                      <a:pt x="10694" y="1821"/>
                      <a:pt x="13203" y="0"/>
                      <a:pt x="16053" y="0"/>
                    </a:cubicBezTo>
                    <a:cubicBezTo>
                      <a:pt x="18904" y="0"/>
                      <a:pt x="21413" y="1821"/>
                      <a:pt x="22294" y="4533"/>
                    </a:cubicBezTo>
                    <a:lnTo>
                      <a:pt x="23061" y="6896"/>
                    </a:lnTo>
                    <a:lnTo>
                      <a:pt x="25541" y="6896"/>
                    </a:lnTo>
                    <a:cubicBezTo>
                      <a:pt x="28393" y="6896"/>
                      <a:pt x="30901" y="8717"/>
                      <a:pt x="31782" y="11428"/>
                    </a:cubicBezTo>
                    <a:cubicBezTo>
                      <a:pt x="32662" y="14140"/>
                      <a:pt x="31704" y="17087"/>
                      <a:pt x="29398" y="18764"/>
                    </a:cubicBezTo>
                    <a:lnTo>
                      <a:pt x="27390" y="20225"/>
                    </a:lnTo>
                    <a:lnTo>
                      <a:pt x="28156" y="22581"/>
                    </a:lnTo>
                    <a:cubicBezTo>
                      <a:pt x="29039" y="25295"/>
                      <a:pt x="28079" y="28243"/>
                      <a:pt x="25771" y="29920"/>
                    </a:cubicBezTo>
                    <a:cubicBezTo>
                      <a:pt x="23462" y="31593"/>
                      <a:pt x="20362" y="31593"/>
                      <a:pt x="18059" y="29917"/>
                    </a:cubicBezTo>
                    <a:lnTo>
                      <a:pt x="16053" y="28462"/>
                    </a:lnTo>
                    <a:lnTo>
                      <a:pt x="14046" y="29920"/>
                    </a:lnTo>
                    <a:cubicBezTo>
                      <a:pt x="12892" y="30756"/>
                      <a:pt x="11541" y="31176"/>
                      <a:pt x="10190" y="31176"/>
                    </a:cubicBezTo>
                    <a:close/>
                    <a:moveTo>
                      <a:pt x="9665" y="14464"/>
                    </a:moveTo>
                    <a:cubicBezTo>
                      <a:pt x="12064" y="16209"/>
                      <a:pt x="13022" y="19157"/>
                      <a:pt x="12138" y="21868"/>
                    </a:cubicBezTo>
                    <a:cubicBezTo>
                      <a:pt x="14500" y="20224"/>
                      <a:pt x="17606" y="20230"/>
                      <a:pt x="19915" y="21913"/>
                    </a:cubicBezTo>
                    <a:cubicBezTo>
                      <a:pt x="19085" y="19151"/>
                      <a:pt x="20044" y="16203"/>
                      <a:pt x="22352" y="14529"/>
                    </a:cubicBezTo>
                    <a:cubicBezTo>
                      <a:pt x="19478" y="14464"/>
                      <a:pt x="16970" y="12643"/>
                      <a:pt x="16088" y="9931"/>
                    </a:cubicBezTo>
                    <a:cubicBezTo>
                      <a:pt x="15134" y="12643"/>
                      <a:pt x="12627" y="14464"/>
                      <a:pt x="9776" y="14464"/>
                    </a:cubicBezTo>
                    <a:close/>
                  </a:path>
                </a:pathLst>
              </a:custGeom>
              <a:grpFill/>
              <a:ln w="49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5" name="Freeform: Shape 124">
                <a:extLst>
                  <a:ext uri="{FF2B5EF4-FFF2-40B4-BE49-F238E27FC236}">
                    <a16:creationId xmlns:a16="http://schemas.microsoft.com/office/drawing/2014/main" id="{378A2737-CB0E-BB34-02D6-A6B1C26D4F8A}"/>
                  </a:ext>
                </a:extLst>
              </p:cNvPr>
              <p:cNvSpPr/>
              <p:nvPr/>
            </p:nvSpPr>
            <p:spPr>
              <a:xfrm>
                <a:off x="7488863" y="734867"/>
                <a:ext cx="32105" cy="31176"/>
              </a:xfrm>
              <a:custGeom>
                <a:avLst/>
                <a:gdLst>
                  <a:gd name="csX0" fmla="*/ 10189 w 32105"/>
                  <a:gd name="csY0" fmla="*/ 31176 h 31176"/>
                  <a:gd name="csX1" fmla="*/ 6333 w 32105"/>
                  <a:gd name="csY1" fmla="*/ 29920 h 31176"/>
                  <a:gd name="csX2" fmla="*/ 3947 w 32105"/>
                  <a:gd name="csY2" fmla="*/ 22584 h 31176"/>
                  <a:gd name="csX3" fmla="*/ 4714 w 32105"/>
                  <a:gd name="csY3" fmla="*/ 20225 h 31176"/>
                  <a:gd name="csX4" fmla="*/ 2707 w 32105"/>
                  <a:gd name="csY4" fmla="*/ 18764 h 31176"/>
                  <a:gd name="csX5" fmla="*/ 324 w 32105"/>
                  <a:gd name="csY5" fmla="*/ 11428 h 31176"/>
                  <a:gd name="csX6" fmla="*/ 6565 w 32105"/>
                  <a:gd name="csY6" fmla="*/ 6896 h 31176"/>
                  <a:gd name="csX7" fmla="*/ 9044 w 32105"/>
                  <a:gd name="csY7" fmla="*/ 6896 h 31176"/>
                  <a:gd name="csX8" fmla="*/ 9812 w 32105"/>
                  <a:gd name="csY8" fmla="*/ 4533 h 31176"/>
                  <a:gd name="csX9" fmla="*/ 16052 w 32105"/>
                  <a:gd name="csY9" fmla="*/ 0 h 31176"/>
                  <a:gd name="csX10" fmla="*/ 22294 w 32105"/>
                  <a:gd name="csY10" fmla="*/ 4535 h 31176"/>
                  <a:gd name="csX11" fmla="*/ 23061 w 32105"/>
                  <a:gd name="csY11" fmla="*/ 6895 h 31176"/>
                  <a:gd name="csX12" fmla="*/ 25540 w 32105"/>
                  <a:gd name="csY12" fmla="*/ 6895 h 31176"/>
                  <a:gd name="csX13" fmla="*/ 31781 w 32105"/>
                  <a:gd name="csY13" fmla="*/ 11428 h 31176"/>
                  <a:gd name="csX14" fmla="*/ 29398 w 32105"/>
                  <a:gd name="csY14" fmla="*/ 18763 h 31176"/>
                  <a:gd name="csX15" fmla="*/ 27391 w 32105"/>
                  <a:gd name="csY15" fmla="*/ 20224 h 31176"/>
                  <a:gd name="csX16" fmla="*/ 28156 w 32105"/>
                  <a:gd name="csY16" fmla="*/ 22581 h 31176"/>
                  <a:gd name="csX17" fmla="*/ 25772 w 32105"/>
                  <a:gd name="csY17" fmla="*/ 29919 h 31176"/>
                  <a:gd name="csX18" fmla="*/ 18059 w 32105"/>
                  <a:gd name="csY18" fmla="*/ 29916 h 31176"/>
                  <a:gd name="csX19" fmla="*/ 16052 w 32105"/>
                  <a:gd name="csY19" fmla="*/ 28462 h 31176"/>
                  <a:gd name="csX20" fmla="*/ 14044 w 32105"/>
                  <a:gd name="csY20" fmla="*/ 29919 h 31176"/>
                  <a:gd name="csX21" fmla="*/ 10189 w 32105"/>
                  <a:gd name="csY21" fmla="*/ 31176 h 31176"/>
                  <a:gd name="csX22" fmla="*/ 16050 w 32105"/>
                  <a:gd name="csY22" fmla="*/ 20651 h 31176"/>
                  <a:gd name="csX23" fmla="*/ 19914 w 32105"/>
                  <a:gd name="csY23" fmla="*/ 21910 h 31176"/>
                  <a:gd name="csX24" fmla="*/ 22352 w 32105"/>
                  <a:gd name="csY24" fmla="*/ 14530 h 31176"/>
                  <a:gd name="csX25" fmla="*/ 16087 w 32105"/>
                  <a:gd name="csY25" fmla="*/ 9930 h 31176"/>
                  <a:gd name="csX26" fmla="*/ 9777 w 32105"/>
                  <a:gd name="csY26" fmla="*/ 14465 h 31176"/>
                  <a:gd name="csX27" fmla="*/ 12140 w 32105"/>
                  <a:gd name="csY27" fmla="*/ 21866 h 31176"/>
                  <a:gd name="csX28" fmla="*/ 16050 w 32105"/>
                  <a:gd name="csY28" fmla="*/ 20651 h 311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Lst>
                <a:rect l="l" t="t" r="r" b="b"/>
                <a:pathLst>
                  <a:path w="32105" h="31176">
                    <a:moveTo>
                      <a:pt x="10189" y="31176"/>
                    </a:moveTo>
                    <a:cubicBezTo>
                      <a:pt x="8838" y="31176"/>
                      <a:pt x="7486" y="30756"/>
                      <a:pt x="6333" y="29920"/>
                    </a:cubicBezTo>
                    <a:cubicBezTo>
                      <a:pt x="4025" y="28243"/>
                      <a:pt x="3066" y="25296"/>
                      <a:pt x="3947" y="22584"/>
                    </a:cubicBezTo>
                    <a:lnTo>
                      <a:pt x="4714" y="20225"/>
                    </a:lnTo>
                    <a:lnTo>
                      <a:pt x="2707" y="18764"/>
                    </a:lnTo>
                    <a:cubicBezTo>
                      <a:pt x="401" y="17087"/>
                      <a:pt x="-557" y="14140"/>
                      <a:pt x="324" y="11428"/>
                    </a:cubicBezTo>
                    <a:cubicBezTo>
                      <a:pt x="1206" y="8717"/>
                      <a:pt x="3713" y="6896"/>
                      <a:pt x="6565" y="6896"/>
                    </a:cubicBezTo>
                    <a:lnTo>
                      <a:pt x="9044" y="6896"/>
                    </a:lnTo>
                    <a:lnTo>
                      <a:pt x="9812" y="4533"/>
                    </a:lnTo>
                    <a:cubicBezTo>
                      <a:pt x="10693" y="1822"/>
                      <a:pt x="13201" y="0"/>
                      <a:pt x="16052" y="0"/>
                    </a:cubicBezTo>
                    <a:cubicBezTo>
                      <a:pt x="18905" y="0"/>
                      <a:pt x="21412" y="1821"/>
                      <a:pt x="22294" y="4535"/>
                    </a:cubicBezTo>
                    <a:lnTo>
                      <a:pt x="23061" y="6895"/>
                    </a:lnTo>
                    <a:lnTo>
                      <a:pt x="25540" y="6895"/>
                    </a:lnTo>
                    <a:cubicBezTo>
                      <a:pt x="28392" y="6895"/>
                      <a:pt x="30899" y="8716"/>
                      <a:pt x="31781" y="11428"/>
                    </a:cubicBezTo>
                    <a:cubicBezTo>
                      <a:pt x="32662" y="14139"/>
                      <a:pt x="31705" y="17087"/>
                      <a:pt x="29398" y="18763"/>
                    </a:cubicBezTo>
                    <a:lnTo>
                      <a:pt x="27391" y="20224"/>
                    </a:lnTo>
                    <a:lnTo>
                      <a:pt x="28156" y="22581"/>
                    </a:lnTo>
                    <a:cubicBezTo>
                      <a:pt x="29039" y="25295"/>
                      <a:pt x="28080" y="28243"/>
                      <a:pt x="25772" y="29919"/>
                    </a:cubicBezTo>
                    <a:cubicBezTo>
                      <a:pt x="23464" y="31593"/>
                      <a:pt x="20364" y="31593"/>
                      <a:pt x="18059" y="29916"/>
                    </a:cubicBezTo>
                    <a:lnTo>
                      <a:pt x="16052" y="28462"/>
                    </a:lnTo>
                    <a:lnTo>
                      <a:pt x="14044" y="29919"/>
                    </a:lnTo>
                    <a:cubicBezTo>
                      <a:pt x="12891" y="30756"/>
                      <a:pt x="11542" y="31176"/>
                      <a:pt x="10189" y="31176"/>
                    </a:cubicBezTo>
                    <a:close/>
                    <a:moveTo>
                      <a:pt x="16050" y="20651"/>
                    </a:moveTo>
                    <a:cubicBezTo>
                      <a:pt x="17405" y="20651"/>
                      <a:pt x="18759" y="21071"/>
                      <a:pt x="19914" y="21910"/>
                    </a:cubicBezTo>
                    <a:cubicBezTo>
                      <a:pt x="19086" y="19152"/>
                      <a:pt x="20045" y="16204"/>
                      <a:pt x="22352" y="14530"/>
                    </a:cubicBezTo>
                    <a:cubicBezTo>
                      <a:pt x="19474" y="14465"/>
                      <a:pt x="16967" y="12641"/>
                      <a:pt x="16087" y="9930"/>
                    </a:cubicBezTo>
                    <a:cubicBezTo>
                      <a:pt x="15138" y="12641"/>
                      <a:pt x="12631" y="14465"/>
                      <a:pt x="9777" y="14465"/>
                    </a:cubicBezTo>
                    <a:cubicBezTo>
                      <a:pt x="12060" y="16204"/>
                      <a:pt x="13019" y="19152"/>
                      <a:pt x="12140" y="21866"/>
                    </a:cubicBezTo>
                    <a:cubicBezTo>
                      <a:pt x="13348" y="21067"/>
                      <a:pt x="14699" y="20651"/>
                      <a:pt x="16050" y="20651"/>
                    </a:cubicBezTo>
                    <a:close/>
                  </a:path>
                </a:pathLst>
              </a:custGeom>
              <a:grpFill/>
              <a:ln w="49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26" name="Group 125">
            <a:extLst>
              <a:ext uri="{FF2B5EF4-FFF2-40B4-BE49-F238E27FC236}">
                <a16:creationId xmlns:a16="http://schemas.microsoft.com/office/drawing/2014/main" id="{8410D3B5-7666-DDAB-934F-A474F1F2426A}"/>
              </a:ext>
            </a:extLst>
          </p:cNvPr>
          <p:cNvGrpSpPr/>
          <p:nvPr/>
        </p:nvGrpSpPr>
        <p:grpSpPr>
          <a:xfrm>
            <a:off x="7936609" y="2889144"/>
            <a:ext cx="457200" cy="457200"/>
            <a:chOff x="7936609" y="3156397"/>
            <a:chExt cx="457200" cy="457200"/>
          </a:xfrm>
        </p:grpSpPr>
        <p:sp>
          <p:nvSpPr>
            <p:cNvPr id="127" name="Oval 126">
              <a:extLst>
                <a:ext uri="{FF2B5EF4-FFF2-40B4-BE49-F238E27FC236}">
                  <a16:creationId xmlns:a16="http://schemas.microsoft.com/office/drawing/2014/main" id="{5A54F618-8EA3-55C8-1DED-BD5CAB3D0018}"/>
                </a:ext>
              </a:extLst>
            </p:cNvPr>
            <p:cNvSpPr>
              <a:spLocks noChangeAspect="1"/>
            </p:cNvSpPr>
            <p:nvPr/>
          </p:nvSpPr>
          <p:spPr>
            <a:xfrm>
              <a:off x="7936609" y="3156397"/>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sp>
          <p:nvSpPr>
            <p:cNvPr id="128" name="Pic">
              <a:extLst>
                <a:ext uri="{FF2B5EF4-FFF2-40B4-BE49-F238E27FC236}">
                  <a16:creationId xmlns:a16="http://schemas.microsoft.com/office/drawing/2014/main" id="{F47D883E-C376-7F9D-0CE4-18055226C1CC}"/>
                </a:ext>
              </a:extLst>
            </p:cNvPr>
            <p:cNvSpPr>
              <a:spLocks noChangeAspect="1"/>
            </p:cNvSpPr>
            <p:nvPr/>
          </p:nvSpPr>
          <p:spPr>
            <a:xfrm>
              <a:off x="8042274" y="3262061"/>
              <a:ext cx="245871" cy="245872"/>
            </a:xfrm>
            <a:custGeom>
              <a:avLst/>
              <a:gdLst>
                <a:gd name="csX0" fmla="*/ 152588 w 203199"/>
                <a:gd name="csY0" fmla="*/ 50989 h 203200"/>
                <a:gd name="csX1" fmla="*/ 101600 w 203199"/>
                <a:gd name="csY1" fmla="*/ 0 h 203200"/>
                <a:gd name="csX2" fmla="*/ 50611 w 203199"/>
                <a:gd name="csY2" fmla="*/ 50989 h 203200"/>
                <a:gd name="csX3" fmla="*/ 99060 w 203199"/>
                <a:gd name="csY3" fmla="*/ 101847 h 203200"/>
                <a:gd name="csX4" fmla="*/ 99060 w 203199"/>
                <a:gd name="csY4" fmla="*/ 111443 h 203200"/>
                <a:gd name="csX5" fmla="*/ 32422 w 203199"/>
                <a:gd name="csY5" fmla="*/ 111443 h 203200"/>
                <a:gd name="csX6" fmla="*/ 29882 w 203199"/>
                <a:gd name="csY6" fmla="*/ 113983 h 203200"/>
                <a:gd name="csX7" fmla="*/ 29882 w 203199"/>
                <a:gd name="csY7" fmla="*/ 143074 h 203200"/>
                <a:gd name="csX8" fmla="*/ 20084 w 203199"/>
                <a:gd name="csY8" fmla="*/ 158258 h 203200"/>
                <a:gd name="csX9" fmla="*/ 1890 w 203199"/>
                <a:gd name="csY9" fmla="*/ 163075 h 203200"/>
                <a:gd name="csX10" fmla="*/ 124 w 203199"/>
                <a:gd name="csY10" fmla="*/ 164745 h 203200"/>
                <a:gd name="csX11" fmla="*/ 570 w 203199"/>
                <a:gd name="csY11" fmla="*/ 167134 h 203200"/>
                <a:gd name="csX12" fmla="*/ 12459 w 203199"/>
                <a:gd name="csY12" fmla="*/ 181728 h 203200"/>
                <a:gd name="csX13" fmla="*/ 11420 w 203199"/>
                <a:gd name="csY13" fmla="*/ 200520 h 203200"/>
                <a:gd name="csX14" fmla="*/ 12462 w 203199"/>
                <a:gd name="csY14" fmla="*/ 202715 h 203200"/>
                <a:gd name="csX15" fmla="*/ 13955 w 203199"/>
                <a:gd name="csY15" fmla="*/ 203200 h 203200"/>
                <a:gd name="csX16" fmla="*/ 14873 w 203199"/>
                <a:gd name="csY16" fmla="*/ 203029 h 203200"/>
                <a:gd name="csX17" fmla="*/ 32422 w 203199"/>
                <a:gd name="csY17" fmla="*/ 196231 h 203200"/>
                <a:gd name="csX18" fmla="*/ 49974 w 203199"/>
                <a:gd name="csY18" fmla="*/ 203029 h 203200"/>
                <a:gd name="csX19" fmla="*/ 52385 w 203199"/>
                <a:gd name="csY19" fmla="*/ 202715 h 203200"/>
                <a:gd name="csX20" fmla="*/ 53427 w 203199"/>
                <a:gd name="csY20" fmla="*/ 200520 h 203200"/>
                <a:gd name="csX21" fmla="*/ 52385 w 203199"/>
                <a:gd name="csY21" fmla="*/ 181728 h 203200"/>
                <a:gd name="csX22" fmla="*/ 64274 w 203199"/>
                <a:gd name="csY22" fmla="*/ 167134 h 203200"/>
                <a:gd name="csX23" fmla="*/ 64720 w 203199"/>
                <a:gd name="csY23" fmla="*/ 164745 h 203200"/>
                <a:gd name="csX24" fmla="*/ 62954 w 203199"/>
                <a:gd name="csY24" fmla="*/ 163075 h 203200"/>
                <a:gd name="csX25" fmla="*/ 44760 w 203199"/>
                <a:gd name="csY25" fmla="*/ 158258 h 203200"/>
                <a:gd name="csX26" fmla="*/ 34962 w 203199"/>
                <a:gd name="csY26" fmla="*/ 143074 h 203200"/>
                <a:gd name="csX27" fmla="*/ 34962 w 203199"/>
                <a:gd name="csY27" fmla="*/ 116523 h 203200"/>
                <a:gd name="csX28" fmla="*/ 99060 w 203199"/>
                <a:gd name="csY28" fmla="*/ 116523 h 203200"/>
                <a:gd name="csX29" fmla="*/ 99060 w 203199"/>
                <a:gd name="csY29" fmla="*/ 143074 h 203200"/>
                <a:gd name="csX30" fmla="*/ 89262 w 203199"/>
                <a:gd name="csY30" fmla="*/ 158258 h 203200"/>
                <a:gd name="csX31" fmla="*/ 71068 w 203199"/>
                <a:gd name="csY31" fmla="*/ 163075 h 203200"/>
                <a:gd name="csX32" fmla="*/ 69302 w 203199"/>
                <a:gd name="csY32" fmla="*/ 164745 h 203200"/>
                <a:gd name="csX33" fmla="*/ 69748 w 203199"/>
                <a:gd name="csY33" fmla="*/ 167134 h 203200"/>
                <a:gd name="csX34" fmla="*/ 81637 w 203199"/>
                <a:gd name="csY34" fmla="*/ 181728 h 203200"/>
                <a:gd name="csX35" fmla="*/ 80595 w 203199"/>
                <a:gd name="csY35" fmla="*/ 200520 h 203200"/>
                <a:gd name="csX36" fmla="*/ 81637 w 203199"/>
                <a:gd name="csY36" fmla="*/ 202715 h 203200"/>
                <a:gd name="csX37" fmla="*/ 84048 w 203199"/>
                <a:gd name="csY37" fmla="*/ 203029 h 203200"/>
                <a:gd name="csX38" fmla="*/ 101600 w 203199"/>
                <a:gd name="csY38" fmla="*/ 196231 h 203200"/>
                <a:gd name="csX39" fmla="*/ 119152 w 203199"/>
                <a:gd name="csY39" fmla="*/ 203029 h 203200"/>
                <a:gd name="csX40" fmla="*/ 120070 w 203199"/>
                <a:gd name="csY40" fmla="*/ 203200 h 203200"/>
                <a:gd name="csX41" fmla="*/ 121563 w 203199"/>
                <a:gd name="csY41" fmla="*/ 202715 h 203200"/>
                <a:gd name="csX42" fmla="*/ 122605 w 203199"/>
                <a:gd name="csY42" fmla="*/ 200520 h 203200"/>
                <a:gd name="csX43" fmla="*/ 121563 w 203199"/>
                <a:gd name="csY43" fmla="*/ 181728 h 203200"/>
                <a:gd name="csX44" fmla="*/ 133452 w 203199"/>
                <a:gd name="csY44" fmla="*/ 167134 h 203200"/>
                <a:gd name="csX45" fmla="*/ 133898 w 203199"/>
                <a:gd name="csY45" fmla="*/ 164745 h 203200"/>
                <a:gd name="csX46" fmla="*/ 132132 w 203199"/>
                <a:gd name="csY46" fmla="*/ 163075 h 203200"/>
                <a:gd name="csX47" fmla="*/ 113938 w 203199"/>
                <a:gd name="csY47" fmla="*/ 158258 h 203200"/>
                <a:gd name="csX48" fmla="*/ 104140 w 203199"/>
                <a:gd name="csY48" fmla="*/ 143074 h 203200"/>
                <a:gd name="csX49" fmla="*/ 104140 w 203199"/>
                <a:gd name="csY49" fmla="*/ 116523 h 203200"/>
                <a:gd name="csX50" fmla="*/ 168238 w 203199"/>
                <a:gd name="csY50" fmla="*/ 116523 h 203200"/>
                <a:gd name="csX51" fmla="*/ 168238 w 203199"/>
                <a:gd name="csY51" fmla="*/ 143074 h 203200"/>
                <a:gd name="csX52" fmla="*/ 158440 w 203199"/>
                <a:gd name="csY52" fmla="*/ 158258 h 203200"/>
                <a:gd name="csX53" fmla="*/ 140246 w 203199"/>
                <a:gd name="csY53" fmla="*/ 163075 h 203200"/>
                <a:gd name="csX54" fmla="*/ 138480 w 203199"/>
                <a:gd name="csY54" fmla="*/ 164745 h 203200"/>
                <a:gd name="csX55" fmla="*/ 138926 w 203199"/>
                <a:gd name="csY55" fmla="*/ 167134 h 203200"/>
                <a:gd name="csX56" fmla="*/ 150815 w 203199"/>
                <a:gd name="csY56" fmla="*/ 181728 h 203200"/>
                <a:gd name="csX57" fmla="*/ 149773 w 203199"/>
                <a:gd name="csY57" fmla="*/ 200520 h 203200"/>
                <a:gd name="csX58" fmla="*/ 150815 w 203199"/>
                <a:gd name="csY58" fmla="*/ 202715 h 203200"/>
                <a:gd name="csX59" fmla="*/ 153226 w 203199"/>
                <a:gd name="csY59" fmla="*/ 203029 h 203200"/>
                <a:gd name="csX60" fmla="*/ 170778 w 203199"/>
                <a:gd name="csY60" fmla="*/ 196231 h 203200"/>
                <a:gd name="csX61" fmla="*/ 188327 w 203199"/>
                <a:gd name="csY61" fmla="*/ 203029 h 203200"/>
                <a:gd name="csX62" fmla="*/ 189245 w 203199"/>
                <a:gd name="csY62" fmla="*/ 203200 h 203200"/>
                <a:gd name="csX63" fmla="*/ 190738 w 203199"/>
                <a:gd name="csY63" fmla="*/ 202715 h 203200"/>
                <a:gd name="csX64" fmla="*/ 191780 w 203199"/>
                <a:gd name="csY64" fmla="*/ 200520 h 203200"/>
                <a:gd name="csX65" fmla="*/ 190741 w 203199"/>
                <a:gd name="csY65" fmla="*/ 181728 h 203200"/>
                <a:gd name="csX66" fmla="*/ 202629 w 203199"/>
                <a:gd name="csY66" fmla="*/ 167134 h 203200"/>
                <a:gd name="csX67" fmla="*/ 203076 w 203199"/>
                <a:gd name="csY67" fmla="*/ 164745 h 203200"/>
                <a:gd name="csX68" fmla="*/ 201310 w 203199"/>
                <a:gd name="csY68" fmla="*/ 163075 h 203200"/>
                <a:gd name="csX69" fmla="*/ 183116 w 203199"/>
                <a:gd name="csY69" fmla="*/ 158258 h 203200"/>
                <a:gd name="csX70" fmla="*/ 173318 w 203199"/>
                <a:gd name="csY70" fmla="*/ 143074 h 203200"/>
                <a:gd name="csX71" fmla="*/ 173318 w 203199"/>
                <a:gd name="csY71" fmla="*/ 113983 h 203200"/>
                <a:gd name="csX72" fmla="*/ 170778 w 203199"/>
                <a:gd name="csY72" fmla="*/ 111443 h 203200"/>
                <a:gd name="csX73" fmla="*/ 104140 w 203199"/>
                <a:gd name="csY73" fmla="*/ 111443 h 203200"/>
                <a:gd name="csX74" fmla="*/ 104140 w 203199"/>
                <a:gd name="csY74" fmla="*/ 101847 h 203200"/>
                <a:gd name="csX75" fmla="*/ 152588 w 203199"/>
                <a:gd name="csY75" fmla="*/ 50989 h 203200"/>
                <a:gd name="csX76" fmla="*/ 42510 w 203199"/>
                <a:gd name="csY76" fmla="*/ 162917 h 203200"/>
                <a:gd name="csX77" fmla="*/ 57849 w 203199"/>
                <a:gd name="csY77" fmla="*/ 166978 h 203200"/>
                <a:gd name="csX78" fmla="*/ 47826 w 203199"/>
                <a:gd name="csY78" fmla="*/ 179282 h 203200"/>
                <a:gd name="csX79" fmla="*/ 47260 w 203199"/>
                <a:gd name="csY79" fmla="*/ 181026 h 203200"/>
                <a:gd name="csX80" fmla="*/ 48138 w 203199"/>
                <a:gd name="csY80" fmla="*/ 196870 h 203200"/>
                <a:gd name="csX81" fmla="*/ 33340 w 203199"/>
                <a:gd name="csY81" fmla="*/ 191139 h 203200"/>
                <a:gd name="csX82" fmla="*/ 32422 w 203199"/>
                <a:gd name="csY82" fmla="*/ 190968 h 203200"/>
                <a:gd name="csX83" fmla="*/ 31504 w 203199"/>
                <a:gd name="csY83" fmla="*/ 191139 h 203200"/>
                <a:gd name="csX84" fmla="*/ 16708 w 203199"/>
                <a:gd name="csY84" fmla="*/ 196870 h 203200"/>
                <a:gd name="csX85" fmla="*/ 17584 w 203199"/>
                <a:gd name="csY85" fmla="*/ 181026 h 203200"/>
                <a:gd name="csX86" fmla="*/ 17018 w 203199"/>
                <a:gd name="csY86" fmla="*/ 179282 h 203200"/>
                <a:gd name="csX87" fmla="*/ 6995 w 203199"/>
                <a:gd name="csY87" fmla="*/ 166978 h 203200"/>
                <a:gd name="csX88" fmla="*/ 22334 w 203199"/>
                <a:gd name="csY88" fmla="*/ 162917 h 203200"/>
                <a:gd name="csX89" fmla="*/ 23817 w 203199"/>
                <a:gd name="csY89" fmla="*/ 161838 h 203200"/>
                <a:gd name="csX90" fmla="*/ 32422 w 203199"/>
                <a:gd name="csY90" fmla="*/ 148504 h 203200"/>
                <a:gd name="csX91" fmla="*/ 41027 w 203199"/>
                <a:gd name="csY91" fmla="*/ 161838 h 203200"/>
                <a:gd name="csX92" fmla="*/ 42510 w 203199"/>
                <a:gd name="csY92" fmla="*/ 162917 h 203200"/>
                <a:gd name="csX93" fmla="*/ 111688 w 203199"/>
                <a:gd name="csY93" fmla="*/ 162917 h 203200"/>
                <a:gd name="csX94" fmla="*/ 127027 w 203199"/>
                <a:gd name="csY94" fmla="*/ 166978 h 203200"/>
                <a:gd name="csX95" fmla="*/ 117004 w 203199"/>
                <a:gd name="csY95" fmla="*/ 179282 h 203200"/>
                <a:gd name="csX96" fmla="*/ 116438 w 203199"/>
                <a:gd name="csY96" fmla="*/ 181026 h 203200"/>
                <a:gd name="csX97" fmla="*/ 117316 w 203199"/>
                <a:gd name="csY97" fmla="*/ 196870 h 203200"/>
                <a:gd name="csX98" fmla="*/ 102518 w 203199"/>
                <a:gd name="csY98" fmla="*/ 191139 h 203200"/>
                <a:gd name="csX99" fmla="*/ 101600 w 203199"/>
                <a:gd name="csY99" fmla="*/ 190968 h 203200"/>
                <a:gd name="csX100" fmla="*/ 100682 w 203199"/>
                <a:gd name="csY100" fmla="*/ 191139 h 203200"/>
                <a:gd name="csX101" fmla="*/ 85884 w 203199"/>
                <a:gd name="csY101" fmla="*/ 196870 h 203200"/>
                <a:gd name="csX102" fmla="*/ 86762 w 203199"/>
                <a:gd name="csY102" fmla="*/ 181026 h 203200"/>
                <a:gd name="csX103" fmla="*/ 86196 w 203199"/>
                <a:gd name="csY103" fmla="*/ 179282 h 203200"/>
                <a:gd name="csX104" fmla="*/ 76173 w 203199"/>
                <a:gd name="csY104" fmla="*/ 166978 h 203200"/>
                <a:gd name="csX105" fmla="*/ 91512 w 203199"/>
                <a:gd name="csY105" fmla="*/ 162917 h 203200"/>
                <a:gd name="csX106" fmla="*/ 92995 w 203199"/>
                <a:gd name="csY106" fmla="*/ 161838 h 203200"/>
                <a:gd name="csX107" fmla="*/ 101600 w 203199"/>
                <a:gd name="csY107" fmla="*/ 148504 h 203200"/>
                <a:gd name="csX108" fmla="*/ 110205 w 203199"/>
                <a:gd name="csY108" fmla="*/ 161838 h 203200"/>
                <a:gd name="csX109" fmla="*/ 111688 w 203199"/>
                <a:gd name="csY109" fmla="*/ 162917 h 203200"/>
                <a:gd name="csX110" fmla="*/ 180866 w 203199"/>
                <a:gd name="csY110" fmla="*/ 162917 h 203200"/>
                <a:gd name="csX111" fmla="*/ 196205 w 203199"/>
                <a:gd name="csY111" fmla="*/ 166978 h 203200"/>
                <a:gd name="csX112" fmla="*/ 186181 w 203199"/>
                <a:gd name="csY112" fmla="*/ 179282 h 203200"/>
                <a:gd name="csX113" fmla="*/ 185616 w 203199"/>
                <a:gd name="csY113" fmla="*/ 181026 h 203200"/>
                <a:gd name="csX114" fmla="*/ 186492 w 203199"/>
                <a:gd name="csY114" fmla="*/ 196870 h 203200"/>
                <a:gd name="csX115" fmla="*/ 171696 w 203199"/>
                <a:gd name="csY115" fmla="*/ 191139 h 203200"/>
                <a:gd name="csX116" fmla="*/ 169860 w 203199"/>
                <a:gd name="csY116" fmla="*/ 191139 h 203200"/>
                <a:gd name="csX117" fmla="*/ 155061 w 203199"/>
                <a:gd name="csY117" fmla="*/ 196870 h 203200"/>
                <a:gd name="csX118" fmla="*/ 155940 w 203199"/>
                <a:gd name="csY118" fmla="*/ 181026 h 203200"/>
                <a:gd name="csX119" fmla="*/ 155374 w 203199"/>
                <a:gd name="csY119" fmla="*/ 179282 h 203200"/>
                <a:gd name="csX120" fmla="*/ 145350 w 203199"/>
                <a:gd name="csY120" fmla="*/ 166978 h 203200"/>
                <a:gd name="csX121" fmla="*/ 160690 w 203199"/>
                <a:gd name="csY121" fmla="*/ 162917 h 203200"/>
                <a:gd name="csX122" fmla="*/ 162173 w 203199"/>
                <a:gd name="csY122" fmla="*/ 161838 h 203200"/>
                <a:gd name="csX123" fmla="*/ 170778 w 203199"/>
                <a:gd name="csY123" fmla="*/ 148504 h 203200"/>
                <a:gd name="csX124" fmla="*/ 179382 w 203199"/>
                <a:gd name="csY124" fmla="*/ 161838 h 203200"/>
                <a:gd name="csX125" fmla="*/ 180866 w 203199"/>
                <a:gd name="csY125" fmla="*/ 162917 h 203200"/>
                <a:gd name="csX126" fmla="*/ 107223 w 203199"/>
                <a:gd name="csY126" fmla="*/ 96515 h 203200"/>
                <a:gd name="csX127" fmla="*/ 104574 w 203199"/>
                <a:gd name="csY127" fmla="*/ 84605 h 203200"/>
                <a:gd name="csX128" fmla="*/ 102815 w 203199"/>
                <a:gd name="csY128" fmla="*/ 78823 h 203200"/>
                <a:gd name="csX129" fmla="*/ 105204 w 203199"/>
                <a:gd name="csY129" fmla="*/ 61693 h 203200"/>
                <a:gd name="csX130" fmla="*/ 118819 w 203199"/>
                <a:gd name="csY130" fmla="*/ 56350 h 203200"/>
                <a:gd name="csX131" fmla="*/ 119273 w 203199"/>
                <a:gd name="csY131" fmla="*/ 56451 h 203200"/>
                <a:gd name="csX132" fmla="*/ 140628 w 203199"/>
                <a:gd name="csY132" fmla="*/ 75042 h 203200"/>
                <a:gd name="csX133" fmla="*/ 107223 w 203199"/>
                <a:gd name="csY133" fmla="*/ 96515 h 203200"/>
                <a:gd name="csX134" fmla="*/ 146225 w 203199"/>
                <a:gd name="csY134" fmla="*/ 40394 h 203200"/>
                <a:gd name="csX135" fmla="*/ 127814 w 203199"/>
                <a:gd name="csY135" fmla="*/ 29505 h 203200"/>
                <a:gd name="csX136" fmla="*/ 116297 w 203199"/>
                <a:gd name="csY136" fmla="*/ 22999 h 203200"/>
                <a:gd name="csX137" fmla="*/ 116314 w 203199"/>
                <a:gd name="csY137" fmla="*/ 7543 h 203200"/>
                <a:gd name="csX138" fmla="*/ 146225 w 203199"/>
                <a:gd name="csY138" fmla="*/ 40394 h 203200"/>
                <a:gd name="csX139" fmla="*/ 86843 w 203199"/>
                <a:gd name="csY139" fmla="*/ 7558 h 203200"/>
                <a:gd name="csX140" fmla="*/ 94072 w 203199"/>
                <a:gd name="csY140" fmla="*/ 17919 h 203200"/>
                <a:gd name="csX141" fmla="*/ 92831 w 203199"/>
                <a:gd name="csY141" fmla="*/ 22716 h 203200"/>
                <a:gd name="csX142" fmla="*/ 83934 w 203199"/>
                <a:gd name="csY142" fmla="*/ 44353 h 203200"/>
                <a:gd name="csX143" fmla="*/ 58950 w 203199"/>
                <a:gd name="csY143" fmla="*/ 67872 h 203200"/>
                <a:gd name="csX144" fmla="*/ 55691 w 203199"/>
                <a:gd name="csY144" fmla="*/ 50989 h 203200"/>
                <a:gd name="csX145" fmla="*/ 86843 w 203199"/>
                <a:gd name="csY145" fmla="*/ 7558 h 203200"/>
                <a:gd name="csX146" fmla="*/ 61328 w 203199"/>
                <a:gd name="csY146" fmla="*/ 72996 h 203200"/>
                <a:gd name="csX147" fmla="*/ 89009 w 203199"/>
                <a:gd name="csY147" fmla="*/ 44591 h 203200"/>
                <a:gd name="csX148" fmla="*/ 96909 w 203199"/>
                <a:gd name="csY148" fmla="*/ 25745 h 203200"/>
                <a:gd name="csX149" fmla="*/ 99092 w 203199"/>
                <a:gd name="csY149" fmla="*/ 17145 h 203200"/>
                <a:gd name="csX150" fmla="*/ 92609 w 203199"/>
                <a:gd name="csY150" fmla="*/ 5976 h 203200"/>
                <a:gd name="csX151" fmla="*/ 101600 w 203199"/>
                <a:gd name="csY151" fmla="*/ 5080 h 203200"/>
                <a:gd name="csX152" fmla="*/ 111250 w 203199"/>
                <a:gd name="csY152" fmla="*/ 6120 h 203200"/>
                <a:gd name="csX153" fmla="*/ 112234 w 203199"/>
                <a:gd name="csY153" fmla="*/ 26047 h 203200"/>
                <a:gd name="csX154" fmla="*/ 126065 w 203199"/>
                <a:gd name="csY154" fmla="*/ 34275 h 203200"/>
                <a:gd name="csX155" fmla="*/ 147473 w 203199"/>
                <a:gd name="csY155" fmla="*/ 51680 h 203200"/>
                <a:gd name="csX156" fmla="*/ 143520 w 203199"/>
                <a:gd name="csY156" fmla="*/ 69618 h 203200"/>
                <a:gd name="csX157" fmla="*/ 120122 w 203199"/>
                <a:gd name="csY157" fmla="*/ 51440 h 203200"/>
                <a:gd name="csX158" fmla="*/ 101206 w 203199"/>
                <a:gd name="csY158" fmla="*/ 58560 h 203200"/>
                <a:gd name="csX159" fmla="*/ 97835 w 203199"/>
                <a:gd name="csY159" fmla="*/ 79826 h 203200"/>
                <a:gd name="csX160" fmla="*/ 99851 w 203199"/>
                <a:gd name="csY160" fmla="*/ 86472 h 203200"/>
                <a:gd name="csX161" fmla="*/ 102117 w 203199"/>
                <a:gd name="csY161" fmla="*/ 96870 h 203200"/>
                <a:gd name="csX162" fmla="*/ 101600 w 203199"/>
                <a:gd name="csY162" fmla="*/ 96896 h 203200"/>
                <a:gd name="csX163" fmla="*/ 61328 w 203199"/>
                <a:gd name="csY163" fmla="*/ 72996 h 20320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Lst>
              <a:rect l="l" t="t" r="r" b="b"/>
              <a:pathLst>
                <a:path w="203199" h="203200">
                  <a:moveTo>
                    <a:pt x="152588" y="50989"/>
                  </a:moveTo>
                  <a:cubicBezTo>
                    <a:pt x="152588" y="22874"/>
                    <a:pt x="129716" y="0"/>
                    <a:pt x="101600" y="0"/>
                  </a:cubicBezTo>
                  <a:cubicBezTo>
                    <a:pt x="73484" y="0"/>
                    <a:pt x="50611" y="22874"/>
                    <a:pt x="50611" y="50989"/>
                  </a:cubicBezTo>
                  <a:cubicBezTo>
                    <a:pt x="50611" y="78246"/>
                    <a:pt x="72127" y="100511"/>
                    <a:pt x="99060" y="101847"/>
                  </a:cubicBezTo>
                  <a:lnTo>
                    <a:pt x="99060" y="111443"/>
                  </a:lnTo>
                  <a:lnTo>
                    <a:pt x="32422" y="111443"/>
                  </a:lnTo>
                  <a:cubicBezTo>
                    <a:pt x="31018" y="111443"/>
                    <a:pt x="29882" y="112580"/>
                    <a:pt x="29882" y="113983"/>
                  </a:cubicBezTo>
                  <a:lnTo>
                    <a:pt x="29882" y="143074"/>
                  </a:lnTo>
                  <a:lnTo>
                    <a:pt x="20084" y="158258"/>
                  </a:lnTo>
                  <a:lnTo>
                    <a:pt x="1890" y="163075"/>
                  </a:lnTo>
                  <a:cubicBezTo>
                    <a:pt x="1057" y="163295"/>
                    <a:pt x="392" y="163926"/>
                    <a:pt x="124" y="164745"/>
                  </a:cubicBezTo>
                  <a:cubicBezTo>
                    <a:pt x="-141" y="165566"/>
                    <a:pt x="25" y="166466"/>
                    <a:pt x="570" y="167134"/>
                  </a:cubicBezTo>
                  <a:lnTo>
                    <a:pt x="12459" y="181728"/>
                  </a:lnTo>
                  <a:lnTo>
                    <a:pt x="11420" y="200520"/>
                  </a:lnTo>
                  <a:cubicBezTo>
                    <a:pt x="11370" y="201381"/>
                    <a:pt x="11765" y="202208"/>
                    <a:pt x="12462" y="202715"/>
                  </a:cubicBezTo>
                  <a:cubicBezTo>
                    <a:pt x="12903" y="203035"/>
                    <a:pt x="13427" y="203200"/>
                    <a:pt x="13955" y="203200"/>
                  </a:cubicBezTo>
                  <a:cubicBezTo>
                    <a:pt x="14265" y="203200"/>
                    <a:pt x="14575" y="203143"/>
                    <a:pt x="14873" y="203029"/>
                  </a:cubicBezTo>
                  <a:lnTo>
                    <a:pt x="32422" y="196231"/>
                  </a:lnTo>
                  <a:lnTo>
                    <a:pt x="49974" y="203029"/>
                  </a:lnTo>
                  <a:cubicBezTo>
                    <a:pt x="50780" y="203338"/>
                    <a:pt x="51683" y="203222"/>
                    <a:pt x="52385" y="202715"/>
                  </a:cubicBezTo>
                  <a:cubicBezTo>
                    <a:pt x="53082" y="202208"/>
                    <a:pt x="53476" y="201381"/>
                    <a:pt x="53427" y="200520"/>
                  </a:cubicBezTo>
                  <a:lnTo>
                    <a:pt x="52385" y="181728"/>
                  </a:lnTo>
                  <a:lnTo>
                    <a:pt x="64274" y="167134"/>
                  </a:lnTo>
                  <a:cubicBezTo>
                    <a:pt x="64820" y="166466"/>
                    <a:pt x="64986" y="165566"/>
                    <a:pt x="64720" y="164745"/>
                  </a:cubicBezTo>
                  <a:cubicBezTo>
                    <a:pt x="64452" y="163926"/>
                    <a:pt x="63788" y="163295"/>
                    <a:pt x="62954" y="163075"/>
                  </a:cubicBezTo>
                  <a:lnTo>
                    <a:pt x="44760" y="158258"/>
                  </a:lnTo>
                  <a:lnTo>
                    <a:pt x="34962" y="143074"/>
                  </a:lnTo>
                  <a:lnTo>
                    <a:pt x="34962" y="116523"/>
                  </a:lnTo>
                  <a:lnTo>
                    <a:pt x="99060" y="116523"/>
                  </a:lnTo>
                  <a:lnTo>
                    <a:pt x="99060" y="143074"/>
                  </a:lnTo>
                  <a:lnTo>
                    <a:pt x="89262" y="158258"/>
                  </a:lnTo>
                  <a:lnTo>
                    <a:pt x="71068" y="163075"/>
                  </a:lnTo>
                  <a:cubicBezTo>
                    <a:pt x="70234" y="163295"/>
                    <a:pt x="69570" y="163926"/>
                    <a:pt x="69302" y="164745"/>
                  </a:cubicBezTo>
                  <a:cubicBezTo>
                    <a:pt x="69036" y="165566"/>
                    <a:pt x="69203" y="166466"/>
                    <a:pt x="69748" y="167134"/>
                  </a:cubicBezTo>
                  <a:lnTo>
                    <a:pt x="81637" y="181728"/>
                  </a:lnTo>
                  <a:lnTo>
                    <a:pt x="80595" y="200520"/>
                  </a:lnTo>
                  <a:cubicBezTo>
                    <a:pt x="80546" y="201381"/>
                    <a:pt x="80940" y="202208"/>
                    <a:pt x="81637" y="202715"/>
                  </a:cubicBezTo>
                  <a:cubicBezTo>
                    <a:pt x="82339" y="203224"/>
                    <a:pt x="83244" y="203339"/>
                    <a:pt x="84048" y="203029"/>
                  </a:cubicBezTo>
                  <a:lnTo>
                    <a:pt x="101600" y="196231"/>
                  </a:lnTo>
                  <a:lnTo>
                    <a:pt x="119152" y="203029"/>
                  </a:lnTo>
                  <a:cubicBezTo>
                    <a:pt x="119449" y="203143"/>
                    <a:pt x="119759" y="203200"/>
                    <a:pt x="120070" y="203200"/>
                  </a:cubicBezTo>
                  <a:cubicBezTo>
                    <a:pt x="120598" y="203200"/>
                    <a:pt x="121121" y="203035"/>
                    <a:pt x="121563" y="202715"/>
                  </a:cubicBezTo>
                  <a:cubicBezTo>
                    <a:pt x="122260" y="202208"/>
                    <a:pt x="122654" y="201381"/>
                    <a:pt x="122605" y="200520"/>
                  </a:cubicBezTo>
                  <a:lnTo>
                    <a:pt x="121563" y="181728"/>
                  </a:lnTo>
                  <a:lnTo>
                    <a:pt x="133452" y="167134"/>
                  </a:lnTo>
                  <a:cubicBezTo>
                    <a:pt x="133997" y="166466"/>
                    <a:pt x="134164" y="165566"/>
                    <a:pt x="133898" y="164745"/>
                  </a:cubicBezTo>
                  <a:cubicBezTo>
                    <a:pt x="133630" y="163926"/>
                    <a:pt x="132965" y="163295"/>
                    <a:pt x="132132" y="163075"/>
                  </a:cubicBezTo>
                  <a:lnTo>
                    <a:pt x="113938" y="158258"/>
                  </a:lnTo>
                  <a:lnTo>
                    <a:pt x="104140" y="143074"/>
                  </a:lnTo>
                  <a:lnTo>
                    <a:pt x="104140" y="116523"/>
                  </a:lnTo>
                  <a:lnTo>
                    <a:pt x="168238" y="116523"/>
                  </a:lnTo>
                  <a:lnTo>
                    <a:pt x="168238" y="143074"/>
                  </a:lnTo>
                  <a:lnTo>
                    <a:pt x="158440" y="158258"/>
                  </a:lnTo>
                  <a:lnTo>
                    <a:pt x="140246" y="163075"/>
                  </a:lnTo>
                  <a:cubicBezTo>
                    <a:pt x="139412" y="163295"/>
                    <a:pt x="138747" y="163926"/>
                    <a:pt x="138480" y="164745"/>
                  </a:cubicBezTo>
                  <a:cubicBezTo>
                    <a:pt x="138214" y="165566"/>
                    <a:pt x="138380" y="166466"/>
                    <a:pt x="138926" y="167134"/>
                  </a:cubicBezTo>
                  <a:lnTo>
                    <a:pt x="150815" y="181728"/>
                  </a:lnTo>
                  <a:lnTo>
                    <a:pt x="149773" y="200520"/>
                  </a:lnTo>
                  <a:cubicBezTo>
                    <a:pt x="149724" y="201381"/>
                    <a:pt x="150118" y="202208"/>
                    <a:pt x="150815" y="202715"/>
                  </a:cubicBezTo>
                  <a:cubicBezTo>
                    <a:pt x="151517" y="203224"/>
                    <a:pt x="152422" y="203339"/>
                    <a:pt x="153226" y="203029"/>
                  </a:cubicBezTo>
                  <a:lnTo>
                    <a:pt x="170778" y="196231"/>
                  </a:lnTo>
                  <a:lnTo>
                    <a:pt x="188327" y="203029"/>
                  </a:lnTo>
                  <a:cubicBezTo>
                    <a:pt x="188625" y="203143"/>
                    <a:pt x="188935" y="203200"/>
                    <a:pt x="189245" y="203200"/>
                  </a:cubicBezTo>
                  <a:cubicBezTo>
                    <a:pt x="189773" y="203200"/>
                    <a:pt x="190297" y="203035"/>
                    <a:pt x="190738" y="202715"/>
                  </a:cubicBezTo>
                  <a:cubicBezTo>
                    <a:pt x="191435" y="202208"/>
                    <a:pt x="191829" y="201381"/>
                    <a:pt x="191780" y="200520"/>
                  </a:cubicBezTo>
                  <a:lnTo>
                    <a:pt x="190741" y="181728"/>
                  </a:lnTo>
                  <a:lnTo>
                    <a:pt x="202629" y="167134"/>
                  </a:lnTo>
                  <a:cubicBezTo>
                    <a:pt x="203175" y="166466"/>
                    <a:pt x="203341" y="165566"/>
                    <a:pt x="203076" y="164745"/>
                  </a:cubicBezTo>
                  <a:cubicBezTo>
                    <a:pt x="202808" y="163926"/>
                    <a:pt x="202143" y="163295"/>
                    <a:pt x="201310" y="163075"/>
                  </a:cubicBezTo>
                  <a:lnTo>
                    <a:pt x="183116" y="158258"/>
                  </a:lnTo>
                  <a:lnTo>
                    <a:pt x="173318" y="143074"/>
                  </a:lnTo>
                  <a:lnTo>
                    <a:pt x="173318" y="113983"/>
                  </a:lnTo>
                  <a:cubicBezTo>
                    <a:pt x="173318" y="112580"/>
                    <a:pt x="172182" y="111443"/>
                    <a:pt x="170778" y="111443"/>
                  </a:cubicBezTo>
                  <a:lnTo>
                    <a:pt x="104140" y="111443"/>
                  </a:lnTo>
                  <a:lnTo>
                    <a:pt x="104140" y="101847"/>
                  </a:lnTo>
                  <a:cubicBezTo>
                    <a:pt x="131073" y="100511"/>
                    <a:pt x="152588" y="78246"/>
                    <a:pt x="152588" y="50989"/>
                  </a:cubicBezTo>
                  <a:close/>
                  <a:moveTo>
                    <a:pt x="42510" y="162917"/>
                  </a:moveTo>
                  <a:lnTo>
                    <a:pt x="57849" y="166978"/>
                  </a:lnTo>
                  <a:lnTo>
                    <a:pt x="47826" y="179282"/>
                  </a:lnTo>
                  <a:cubicBezTo>
                    <a:pt x="47427" y="179772"/>
                    <a:pt x="47223" y="180395"/>
                    <a:pt x="47260" y="181026"/>
                  </a:cubicBezTo>
                  <a:lnTo>
                    <a:pt x="48138" y="196870"/>
                  </a:lnTo>
                  <a:lnTo>
                    <a:pt x="33340" y="191139"/>
                  </a:lnTo>
                  <a:cubicBezTo>
                    <a:pt x="33045" y="191025"/>
                    <a:pt x="32732" y="190968"/>
                    <a:pt x="32422" y="190968"/>
                  </a:cubicBezTo>
                  <a:cubicBezTo>
                    <a:pt x="32112" y="190968"/>
                    <a:pt x="31800" y="191025"/>
                    <a:pt x="31504" y="191139"/>
                  </a:cubicBezTo>
                  <a:lnTo>
                    <a:pt x="16708" y="196870"/>
                  </a:lnTo>
                  <a:lnTo>
                    <a:pt x="17584" y="181026"/>
                  </a:lnTo>
                  <a:cubicBezTo>
                    <a:pt x="17621" y="180395"/>
                    <a:pt x="17418" y="179772"/>
                    <a:pt x="17018" y="179282"/>
                  </a:cubicBezTo>
                  <a:lnTo>
                    <a:pt x="6995" y="166978"/>
                  </a:lnTo>
                  <a:lnTo>
                    <a:pt x="22334" y="162917"/>
                  </a:lnTo>
                  <a:cubicBezTo>
                    <a:pt x="22947" y="162755"/>
                    <a:pt x="23475" y="162370"/>
                    <a:pt x="23817" y="161838"/>
                  </a:cubicBezTo>
                  <a:lnTo>
                    <a:pt x="32422" y="148504"/>
                  </a:lnTo>
                  <a:lnTo>
                    <a:pt x="41027" y="161838"/>
                  </a:lnTo>
                  <a:cubicBezTo>
                    <a:pt x="41369" y="162370"/>
                    <a:pt x="41898" y="162755"/>
                    <a:pt x="42510" y="162917"/>
                  </a:cubicBezTo>
                  <a:close/>
                  <a:moveTo>
                    <a:pt x="111688" y="162917"/>
                  </a:moveTo>
                  <a:lnTo>
                    <a:pt x="127027" y="166978"/>
                  </a:lnTo>
                  <a:lnTo>
                    <a:pt x="117004" y="179282"/>
                  </a:lnTo>
                  <a:cubicBezTo>
                    <a:pt x="116604" y="179772"/>
                    <a:pt x="116401" y="180395"/>
                    <a:pt x="116438" y="181026"/>
                  </a:cubicBezTo>
                  <a:lnTo>
                    <a:pt x="117316" y="196870"/>
                  </a:lnTo>
                  <a:lnTo>
                    <a:pt x="102518" y="191139"/>
                  </a:lnTo>
                  <a:cubicBezTo>
                    <a:pt x="102223" y="191025"/>
                    <a:pt x="101910" y="190968"/>
                    <a:pt x="101600" y="190968"/>
                  </a:cubicBezTo>
                  <a:cubicBezTo>
                    <a:pt x="101290" y="190968"/>
                    <a:pt x="100977" y="191025"/>
                    <a:pt x="100682" y="191139"/>
                  </a:cubicBezTo>
                  <a:lnTo>
                    <a:pt x="85884" y="196870"/>
                  </a:lnTo>
                  <a:lnTo>
                    <a:pt x="86762" y="181026"/>
                  </a:lnTo>
                  <a:cubicBezTo>
                    <a:pt x="86799" y="180395"/>
                    <a:pt x="86596" y="179772"/>
                    <a:pt x="86196" y="179282"/>
                  </a:cubicBezTo>
                  <a:lnTo>
                    <a:pt x="76173" y="166978"/>
                  </a:lnTo>
                  <a:lnTo>
                    <a:pt x="91512" y="162917"/>
                  </a:lnTo>
                  <a:cubicBezTo>
                    <a:pt x="92125" y="162755"/>
                    <a:pt x="92653" y="162370"/>
                    <a:pt x="92995" y="161838"/>
                  </a:cubicBezTo>
                  <a:lnTo>
                    <a:pt x="101600" y="148504"/>
                  </a:lnTo>
                  <a:lnTo>
                    <a:pt x="110205" y="161838"/>
                  </a:lnTo>
                  <a:cubicBezTo>
                    <a:pt x="110547" y="162370"/>
                    <a:pt x="111075" y="162755"/>
                    <a:pt x="111688" y="162917"/>
                  </a:cubicBezTo>
                  <a:close/>
                  <a:moveTo>
                    <a:pt x="180866" y="162917"/>
                  </a:moveTo>
                  <a:lnTo>
                    <a:pt x="196205" y="166978"/>
                  </a:lnTo>
                  <a:lnTo>
                    <a:pt x="186181" y="179282"/>
                  </a:lnTo>
                  <a:cubicBezTo>
                    <a:pt x="185782" y="179772"/>
                    <a:pt x="185579" y="180395"/>
                    <a:pt x="185616" y="181026"/>
                  </a:cubicBezTo>
                  <a:lnTo>
                    <a:pt x="186492" y="196870"/>
                  </a:lnTo>
                  <a:lnTo>
                    <a:pt x="171696" y="191139"/>
                  </a:lnTo>
                  <a:cubicBezTo>
                    <a:pt x="171105" y="190911"/>
                    <a:pt x="170450" y="190911"/>
                    <a:pt x="169860" y="191139"/>
                  </a:cubicBezTo>
                  <a:lnTo>
                    <a:pt x="155061" y="196870"/>
                  </a:lnTo>
                  <a:lnTo>
                    <a:pt x="155940" y="181026"/>
                  </a:lnTo>
                  <a:cubicBezTo>
                    <a:pt x="155977" y="180395"/>
                    <a:pt x="155773" y="179772"/>
                    <a:pt x="155374" y="179282"/>
                  </a:cubicBezTo>
                  <a:lnTo>
                    <a:pt x="145350" y="166978"/>
                  </a:lnTo>
                  <a:lnTo>
                    <a:pt x="160690" y="162917"/>
                  </a:lnTo>
                  <a:cubicBezTo>
                    <a:pt x="161302" y="162755"/>
                    <a:pt x="161831" y="162370"/>
                    <a:pt x="162173" y="161838"/>
                  </a:cubicBezTo>
                  <a:lnTo>
                    <a:pt x="170778" y="148504"/>
                  </a:lnTo>
                  <a:lnTo>
                    <a:pt x="179382" y="161838"/>
                  </a:lnTo>
                  <a:cubicBezTo>
                    <a:pt x="179725" y="162370"/>
                    <a:pt x="180253" y="162755"/>
                    <a:pt x="180866" y="162917"/>
                  </a:cubicBezTo>
                  <a:close/>
                  <a:moveTo>
                    <a:pt x="107223" y="96515"/>
                  </a:moveTo>
                  <a:cubicBezTo>
                    <a:pt x="107205" y="92306"/>
                    <a:pt x="105867" y="87874"/>
                    <a:pt x="104574" y="84605"/>
                  </a:cubicBezTo>
                  <a:cubicBezTo>
                    <a:pt x="103753" y="82525"/>
                    <a:pt x="103178" y="80635"/>
                    <a:pt x="102815" y="78823"/>
                  </a:cubicBezTo>
                  <a:cubicBezTo>
                    <a:pt x="101970" y="74642"/>
                    <a:pt x="101158" y="66859"/>
                    <a:pt x="105204" y="61693"/>
                  </a:cubicBezTo>
                  <a:cubicBezTo>
                    <a:pt x="111125" y="54135"/>
                    <a:pt x="118522" y="56262"/>
                    <a:pt x="118819" y="56350"/>
                  </a:cubicBezTo>
                  <a:cubicBezTo>
                    <a:pt x="118963" y="56396"/>
                    <a:pt x="119124" y="56431"/>
                    <a:pt x="119273" y="56451"/>
                  </a:cubicBezTo>
                  <a:cubicBezTo>
                    <a:pt x="119827" y="56523"/>
                    <a:pt x="132655" y="58428"/>
                    <a:pt x="140628" y="75042"/>
                  </a:cubicBezTo>
                  <a:cubicBezTo>
                    <a:pt x="133467" y="86615"/>
                    <a:pt x="121342" y="94779"/>
                    <a:pt x="107223" y="96515"/>
                  </a:cubicBezTo>
                  <a:close/>
                  <a:moveTo>
                    <a:pt x="146225" y="40394"/>
                  </a:moveTo>
                  <a:cubicBezTo>
                    <a:pt x="140619" y="34219"/>
                    <a:pt x="133709" y="31665"/>
                    <a:pt x="127814" y="29505"/>
                  </a:cubicBezTo>
                  <a:cubicBezTo>
                    <a:pt x="122902" y="27706"/>
                    <a:pt x="118661" y="26152"/>
                    <a:pt x="116297" y="22999"/>
                  </a:cubicBezTo>
                  <a:cubicBezTo>
                    <a:pt x="111559" y="16680"/>
                    <a:pt x="114692" y="10137"/>
                    <a:pt x="116314" y="7543"/>
                  </a:cubicBezTo>
                  <a:cubicBezTo>
                    <a:pt x="131144" y="12580"/>
                    <a:pt x="142565" y="24986"/>
                    <a:pt x="146225" y="40394"/>
                  </a:cubicBezTo>
                  <a:close/>
                  <a:moveTo>
                    <a:pt x="86843" y="7558"/>
                  </a:moveTo>
                  <a:cubicBezTo>
                    <a:pt x="89244" y="9553"/>
                    <a:pt x="93451" y="13801"/>
                    <a:pt x="94072" y="17919"/>
                  </a:cubicBezTo>
                  <a:cubicBezTo>
                    <a:pt x="94337" y="19666"/>
                    <a:pt x="93930" y="21237"/>
                    <a:pt x="92831" y="22716"/>
                  </a:cubicBezTo>
                  <a:cubicBezTo>
                    <a:pt x="85901" y="32050"/>
                    <a:pt x="84373" y="34940"/>
                    <a:pt x="83934" y="44353"/>
                  </a:cubicBezTo>
                  <a:cubicBezTo>
                    <a:pt x="83412" y="55456"/>
                    <a:pt x="80098" y="68077"/>
                    <a:pt x="58950" y="67872"/>
                  </a:cubicBezTo>
                  <a:cubicBezTo>
                    <a:pt x="56870" y="62639"/>
                    <a:pt x="55691" y="56953"/>
                    <a:pt x="55691" y="50989"/>
                  </a:cubicBezTo>
                  <a:cubicBezTo>
                    <a:pt x="55691" y="30841"/>
                    <a:pt x="68756" y="13723"/>
                    <a:pt x="86843" y="7558"/>
                  </a:cubicBezTo>
                  <a:close/>
                  <a:moveTo>
                    <a:pt x="61328" y="72996"/>
                  </a:moveTo>
                  <a:cubicBezTo>
                    <a:pt x="70790" y="72829"/>
                    <a:pt x="87820" y="69909"/>
                    <a:pt x="89009" y="44591"/>
                  </a:cubicBezTo>
                  <a:cubicBezTo>
                    <a:pt x="89394" y="36377"/>
                    <a:pt x="90358" y="34569"/>
                    <a:pt x="96909" y="25745"/>
                  </a:cubicBezTo>
                  <a:cubicBezTo>
                    <a:pt x="98832" y="23154"/>
                    <a:pt x="99566" y="20262"/>
                    <a:pt x="99092" y="17145"/>
                  </a:cubicBezTo>
                  <a:cubicBezTo>
                    <a:pt x="98408" y="12642"/>
                    <a:pt x="95234" y="8621"/>
                    <a:pt x="92609" y="5976"/>
                  </a:cubicBezTo>
                  <a:cubicBezTo>
                    <a:pt x="95519" y="5396"/>
                    <a:pt x="98523" y="5080"/>
                    <a:pt x="101600" y="5080"/>
                  </a:cubicBezTo>
                  <a:cubicBezTo>
                    <a:pt x="104912" y="5080"/>
                    <a:pt x="108135" y="5451"/>
                    <a:pt x="111250" y="6120"/>
                  </a:cubicBezTo>
                  <a:cubicBezTo>
                    <a:pt x="108646" y="10990"/>
                    <a:pt x="106836" y="18850"/>
                    <a:pt x="112234" y="26047"/>
                  </a:cubicBezTo>
                  <a:cubicBezTo>
                    <a:pt x="115500" y="30403"/>
                    <a:pt x="120633" y="32285"/>
                    <a:pt x="126065" y="34275"/>
                  </a:cubicBezTo>
                  <a:cubicBezTo>
                    <a:pt x="134139" y="37233"/>
                    <a:pt x="142478" y="40305"/>
                    <a:pt x="147473" y="51680"/>
                  </a:cubicBezTo>
                  <a:cubicBezTo>
                    <a:pt x="147378" y="58059"/>
                    <a:pt x="145974" y="64118"/>
                    <a:pt x="143520" y="69618"/>
                  </a:cubicBezTo>
                  <a:cubicBezTo>
                    <a:pt x="134736" y="54281"/>
                    <a:pt x="122052" y="51737"/>
                    <a:pt x="120122" y="51440"/>
                  </a:cubicBezTo>
                  <a:cubicBezTo>
                    <a:pt x="118450" y="50986"/>
                    <a:pt x="108788" y="48883"/>
                    <a:pt x="101206" y="58560"/>
                  </a:cubicBezTo>
                  <a:cubicBezTo>
                    <a:pt x="96168" y="64990"/>
                    <a:pt x="96592" y="73675"/>
                    <a:pt x="97835" y="79826"/>
                  </a:cubicBezTo>
                  <a:cubicBezTo>
                    <a:pt x="98256" y="81934"/>
                    <a:pt x="98916" y="84106"/>
                    <a:pt x="99851" y="86472"/>
                  </a:cubicBezTo>
                  <a:cubicBezTo>
                    <a:pt x="101430" y="90468"/>
                    <a:pt x="102180" y="94048"/>
                    <a:pt x="102117" y="96870"/>
                  </a:cubicBezTo>
                  <a:cubicBezTo>
                    <a:pt x="101943" y="96872"/>
                    <a:pt x="101775" y="96896"/>
                    <a:pt x="101600" y="96896"/>
                  </a:cubicBezTo>
                  <a:cubicBezTo>
                    <a:pt x="84257" y="96896"/>
                    <a:pt x="69135" y="87225"/>
                    <a:pt x="61328" y="72996"/>
                  </a:cubicBezTo>
                  <a:close/>
                </a:path>
              </a:pathLst>
            </a:custGeom>
            <a:solidFill>
              <a:schemeClr val="bg1"/>
            </a:solidFill>
            <a:ln w="2477"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129" name="Group 128">
            <a:extLst>
              <a:ext uri="{FF2B5EF4-FFF2-40B4-BE49-F238E27FC236}">
                <a16:creationId xmlns:a16="http://schemas.microsoft.com/office/drawing/2014/main" id="{D019F39D-BFCE-9623-24A8-80917F8D7E67}"/>
              </a:ext>
            </a:extLst>
          </p:cNvPr>
          <p:cNvGrpSpPr/>
          <p:nvPr/>
        </p:nvGrpSpPr>
        <p:grpSpPr>
          <a:xfrm>
            <a:off x="7936609" y="3762940"/>
            <a:ext cx="457200" cy="457200"/>
            <a:chOff x="7936609" y="4213236"/>
            <a:chExt cx="457200" cy="457200"/>
          </a:xfrm>
        </p:grpSpPr>
        <p:sp>
          <p:nvSpPr>
            <p:cNvPr id="130" name="Oval 129">
              <a:extLst>
                <a:ext uri="{FF2B5EF4-FFF2-40B4-BE49-F238E27FC236}">
                  <a16:creationId xmlns:a16="http://schemas.microsoft.com/office/drawing/2014/main" id="{0E4DD098-D729-F581-6C5F-C1E4083968BC}"/>
                </a:ext>
              </a:extLst>
            </p:cNvPr>
            <p:cNvSpPr>
              <a:spLocks noChangeAspect="1"/>
            </p:cNvSpPr>
            <p:nvPr/>
          </p:nvSpPr>
          <p:spPr>
            <a:xfrm>
              <a:off x="7936609" y="4213236"/>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sp>
          <p:nvSpPr>
            <p:cNvPr id="131" name="Pic">
              <a:extLst>
                <a:ext uri="{FF2B5EF4-FFF2-40B4-BE49-F238E27FC236}">
                  <a16:creationId xmlns:a16="http://schemas.microsoft.com/office/drawing/2014/main" id="{58E3BED0-B74F-EB96-006B-488E074295AE}"/>
                </a:ext>
              </a:extLst>
            </p:cNvPr>
            <p:cNvSpPr>
              <a:spLocks noChangeAspect="1"/>
            </p:cNvSpPr>
            <p:nvPr/>
          </p:nvSpPr>
          <p:spPr>
            <a:xfrm>
              <a:off x="8045651" y="4339695"/>
              <a:ext cx="239117" cy="204281"/>
            </a:xfrm>
            <a:custGeom>
              <a:avLst/>
              <a:gdLst>
                <a:gd name="csX0" fmla="*/ 75654 w 239117"/>
                <a:gd name="csY0" fmla="*/ 169272 h 204281"/>
                <a:gd name="csX1" fmla="*/ 75590 w 239117"/>
                <a:gd name="csY1" fmla="*/ 169237 h 204281"/>
                <a:gd name="csX2" fmla="*/ 55964 w 239117"/>
                <a:gd name="csY2" fmla="*/ 159410 h 204281"/>
                <a:gd name="csX3" fmla="*/ 54923 w 239117"/>
                <a:gd name="csY3" fmla="*/ 156210 h 204281"/>
                <a:gd name="csX4" fmla="*/ 55200 w 239117"/>
                <a:gd name="csY4" fmla="*/ 155922 h 204281"/>
                <a:gd name="csX5" fmla="*/ 59874 w 239117"/>
                <a:gd name="csY5" fmla="*/ 148521 h 204281"/>
                <a:gd name="csX6" fmla="*/ 62304 w 239117"/>
                <a:gd name="csY6" fmla="*/ 146139 h 204281"/>
                <a:gd name="csX7" fmla="*/ 64378 w 239117"/>
                <a:gd name="csY7" fmla="*/ 141218 h 204281"/>
                <a:gd name="csX8" fmla="*/ 63867 w 239117"/>
                <a:gd name="csY8" fmla="*/ 135741 h 204281"/>
                <a:gd name="csX9" fmla="*/ 63445 w 239117"/>
                <a:gd name="csY9" fmla="*/ 135186 h 204281"/>
                <a:gd name="csX10" fmla="*/ 66407 w 239117"/>
                <a:gd name="csY10" fmla="*/ 122729 h 204281"/>
                <a:gd name="csX11" fmla="*/ 53459 w 239117"/>
                <a:gd name="csY11" fmla="*/ 106819 h 204281"/>
                <a:gd name="csX12" fmla="*/ 38512 w 239117"/>
                <a:gd name="csY12" fmla="*/ 100682 h 204281"/>
                <a:gd name="csX13" fmla="*/ 16555 w 239117"/>
                <a:gd name="csY13" fmla="*/ 116349 h 204281"/>
                <a:gd name="csX14" fmla="*/ 15850 w 239117"/>
                <a:gd name="csY14" fmla="*/ 118522 h 204281"/>
                <a:gd name="csX15" fmla="*/ 16892 w 239117"/>
                <a:gd name="csY15" fmla="*/ 120556 h 204281"/>
                <a:gd name="csX16" fmla="*/ 22706 w 239117"/>
                <a:gd name="csY16" fmla="*/ 134322 h 204281"/>
                <a:gd name="csX17" fmla="*/ 21382 w 239117"/>
                <a:gd name="csY17" fmla="*/ 135741 h 204281"/>
                <a:gd name="csX18" fmla="*/ 20871 w 239117"/>
                <a:gd name="csY18" fmla="*/ 141218 h 204281"/>
                <a:gd name="csX19" fmla="*/ 22944 w 239117"/>
                <a:gd name="csY19" fmla="*/ 146139 h 204281"/>
                <a:gd name="csX20" fmla="*/ 25375 w 239117"/>
                <a:gd name="csY20" fmla="*/ 148516 h 204281"/>
                <a:gd name="csX21" fmla="*/ 30048 w 239117"/>
                <a:gd name="csY21" fmla="*/ 155917 h 204281"/>
                <a:gd name="csX22" fmla="*/ 30554 w 239117"/>
                <a:gd name="csY22" fmla="*/ 156448 h 204281"/>
                <a:gd name="csX23" fmla="*/ 29592 w 239117"/>
                <a:gd name="csY23" fmla="*/ 159405 h 204281"/>
                <a:gd name="csX24" fmla="*/ 9967 w 239117"/>
                <a:gd name="csY24" fmla="*/ 169232 h 204281"/>
                <a:gd name="csX25" fmla="*/ 9902 w 239117"/>
                <a:gd name="csY25" fmla="*/ 169267 h 204281"/>
                <a:gd name="csX26" fmla="*/ 0 w 239117"/>
                <a:gd name="csY26" fmla="*/ 185693 h 204281"/>
                <a:gd name="csX27" fmla="*/ 0 w 239117"/>
                <a:gd name="csY27" fmla="*/ 201305 h 204281"/>
                <a:gd name="csX28" fmla="*/ 2977 w 239117"/>
                <a:gd name="csY28" fmla="*/ 204281 h 204281"/>
                <a:gd name="csX29" fmla="*/ 82580 w 239117"/>
                <a:gd name="csY29" fmla="*/ 204281 h 204281"/>
                <a:gd name="csX30" fmla="*/ 85556 w 239117"/>
                <a:gd name="csY30" fmla="*/ 201305 h 204281"/>
                <a:gd name="csX31" fmla="*/ 85556 w 239117"/>
                <a:gd name="csY31" fmla="*/ 185693 h 204281"/>
                <a:gd name="csX32" fmla="*/ 75654 w 239117"/>
                <a:gd name="csY32" fmla="*/ 169272 h 204281"/>
                <a:gd name="csX33" fmla="*/ 35525 w 239117"/>
                <a:gd name="csY33" fmla="*/ 160407 h 204281"/>
                <a:gd name="csX34" fmla="*/ 42590 w 239117"/>
                <a:gd name="csY34" fmla="*/ 162332 h 204281"/>
                <a:gd name="csX35" fmla="*/ 42624 w 239117"/>
                <a:gd name="csY35" fmla="*/ 162332 h 204281"/>
                <a:gd name="csX36" fmla="*/ 42659 w 239117"/>
                <a:gd name="csY36" fmla="*/ 162332 h 204281"/>
                <a:gd name="csX37" fmla="*/ 49986 w 239117"/>
                <a:gd name="csY37" fmla="*/ 160258 h 204281"/>
                <a:gd name="csX38" fmla="*/ 50527 w 239117"/>
                <a:gd name="csY38" fmla="*/ 161915 h 204281"/>
                <a:gd name="csX39" fmla="*/ 42788 w 239117"/>
                <a:gd name="csY39" fmla="*/ 169272 h 204281"/>
                <a:gd name="csX40" fmla="*/ 35049 w 239117"/>
                <a:gd name="csY40" fmla="*/ 161915 h 204281"/>
                <a:gd name="csX41" fmla="*/ 39152 w 239117"/>
                <a:gd name="csY41" fmla="*/ 106601 h 204281"/>
                <a:gd name="csX42" fmla="*/ 49609 w 239117"/>
                <a:gd name="csY42" fmla="*/ 111472 h 204281"/>
                <a:gd name="csX43" fmla="*/ 51564 w 239117"/>
                <a:gd name="csY43" fmla="*/ 112549 h 204281"/>
                <a:gd name="csX44" fmla="*/ 60494 w 239117"/>
                <a:gd name="csY44" fmla="*/ 123359 h 204281"/>
                <a:gd name="csX45" fmla="*/ 59705 w 239117"/>
                <a:gd name="csY45" fmla="*/ 129113 h 204281"/>
                <a:gd name="csX46" fmla="*/ 51371 w 239117"/>
                <a:gd name="csY46" fmla="*/ 118249 h 204281"/>
                <a:gd name="csX47" fmla="*/ 48379 w 239117"/>
                <a:gd name="csY47" fmla="*/ 118710 h 204281"/>
                <a:gd name="csX48" fmla="*/ 42704 w 239117"/>
                <a:gd name="csY48" fmla="*/ 121449 h 204281"/>
                <a:gd name="csX49" fmla="*/ 42669 w 239117"/>
                <a:gd name="csY49" fmla="*/ 121449 h 204281"/>
                <a:gd name="csX50" fmla="*/ 42381 w 239117"/>
                <a:gd name="csY50" fmla="*/ 121459 h 204281"/>
                <a:gd name="csX51" fmla="*/ 27742 w 239117"/>
                <a:gd name="csY51" fmla="*/ 127982 h 204281"/>
                <a:gd name="csX52" fmla="*/ 22924 w 239117"/>
                <a:gd name="csY52" fmla="*/ 118115 h 204281"/>
                <a:gd name="csX53" fmla="*/ 39152 w 239117"/>
                <a:gd name="csY53" fmla="*/ 106601 h 204281"/>
                <a:gd name="csX54" fmla="*/ 28029 w 239117"/>
                <a:gd name="csY54" fmla="*/ 142875 h 204281"/>
                <a:gd name="csX55" fmla="*/ 26437 w 239117"/>
                <a:gd name="csY55" fmla="*/ 139095 h 204281"/>
                <a:gd name="csX56" fmla="*/ 28724 w 239117"/>
                <a:gd name="csY56" fmla="*/ 139095 h 204281"/>
                <a:gd name="csX57" fmla="*/ 30867 w 239117"/>
                <a:gd name="csY57" fmla="*/ 138187 h 204281"/>
                <a:gd name="csX58" fmla="*/ 31700 w 239117"/>
                <a:gd name="csY58" fmla="*/ 136014 h 204281"/>
                <a:gd name="csX59" fmla="*/ 42753 w 239117"/>
                <a:gd name="csY59" fmla="*/ 127402 h 204281"/>
                <a:gd name="csX60" fmla="*/ 50587 w 239117"/>
                <a:gd name="csY60" fmla="*/ 124490 h 204281"/>
                <a:gd name="csX61" fmla="*/ 53598 w 239117"/>
                <a:gd name="csY61" fmla="*/ 135627 h 204281"/>
                <a:gd name="csX62" fmla="*/ 54263 w 239117"/>
                <a:gd name="csY62" fmla="*/ 138043 h 204281"/>
                <a:gd name="csX63" fmla="*/ 56535 w 239117"/>
                <a:gd name="csY63" fmla="*/ 139095 h 204281"/>
                <a:gd name="csX64" fmla="*/ 58822 w 239117"/>
                <a:gd name="csY64" fmla="*/ 139095 h 204281"/>
                <a:gd name="csX65" fmla="*/ 57224 w 239117"/>
                <a:gd name="csY65" fmla="*/ 142875 h 204281"/>
                <a:gd name="csX66" fmla="*/ 54407 w 239117"/>
                <a:gd name="csY66" fmla="*/ 145524 h 204281"/>
                <a:gd name="csX67" fmla="*/ 50874 w 239117"/>
                <a:gd name="csY67" fmla="*/ 151834 h 204281"/>
                <a:gd name="csX68" fmla="*/ 42629 w 239117"/>
                <a:gd name="csY68" fmla="*/ 156374 h 204281"/>
                <a:gd name="csX69" fmla="*/ 34389 w 239117"/>
                <a:gd name="csY69" fmla="*/ 151834 h 204281"/>
                <a:gd name="csX70" fmla="*/ 30857 w 239117"/>
                <a:gd name="csY70" fmla="*/ 145524 h 204281"/>
                <a:gd name="csX71" fmla="*/ 28029 w 239117"/>
                <a:gd name="csY71" fmla="*/ 142875 h 204281"/>
                <a:gd name="csX72" fmla="*/ 79603 w 239117"/>
                <a:gd name="csY72" fmla="*/ 198328 h 204281"/>
                <a:gd name="csX73" fmla="*/ 70009 w 239117"/>
                <a:gd name="csY73" fmla="*/ 198328 h 204281"/>
                <a:gd name="csX74" fmla="*/ 70009 w 239117"/>
                <a:gd name="csY74" fmla="*/ 189225 h 204281"/>
                <a:gd name="csX75" fmla="*/ 67032 w 239117"/>
                <a:gd name="csY75" fmla="*/ 186248 h 204281"/>
                <a:gd name="csX76" fmla="*/ 64056 w 239117"/>
                <a:gd name="csY76" fmla="*/ 189225 h 204281"/>
                <a:gd name="csX77" fmla="*/ 64056 w 239117"/>
                <a:gd name="csY77" fmla="*/ 198328 h 204281"/>
                <a:gd name="csX78" fmla="*/ 21501 w 239117"/>
                <a:gd name="csY78" fmla="*/ 198328 h 204281"/>
                <a:gd name="csX79" fmla="*/ 21501 w 239117"/>
                <a:gd name="csY79" fmla="*/ 189225 h 204281"/>
                <a:gd name="csX80" fmla="*/ 18524 w 239117"/>
                <a:gd name="csY80" fmla="*/ 186248 h 204281"/>
                <a:gd name="csX81" fmla="*/ 15548 w 239117"/>
                <a:gd name="csY81" fmla="*/ 189225 h 204281"/>
                <a:gd name="csX82" fmla="*/ 15548 w 239117"/>
                <a:gd name="csY82" fmla="*/ 198328 h 204281"/>
                <a:gd name="csX83" fmla="*/ 5953 w 239117"/>
                <a:gd name="csY83" fmla="*/ 198328 h 204281"/>
                <a:gd name="csX84" fmla="*/ 5953 w 239117"/>
                <a:gd name="csY84" fmla="*/ 185693 h 204281"/>
                <a:gd name="csX85" fmla="*/ 12670 w 239117"/>
                <a:gd name="csY85" fmla="*/ 174541 h 204281"/>
                <a:gd name="csX86" fmla="*/ 29810 w 239117"/>
                <a:gd name="csY86" fmla="*/ 165958 h 204281"/>
                <a:gd name="csX87" fmla="*/ 42783 w 239117"/>
                <a:gd name="csY87" fmla="*/ 175225 h 204281"/>
                <a:gd name="csX88" fmla="*/ 55756 w 239117"/>
                <a:gd name="csY88" fmla="*/ 165958 h 204281"/>
                <a:gd name="csX89" fmla="*/ 72896 w 239117"/>
                <a:gd name="csY89" fmla="*/ 174541 h 204281"/>
                <a:gd name="csX90" fmla="*/ 79613 w 239117"/>
                <a:gd name="csY90" fmla="*/ 185693 h 204281"/>
                <a:gd name="csX91" fmla="*/ 79613 w 239117"/>
                <a:gd name="csY91" fmla="*/ 198328 h 204281"/>
                <a:gd name="csX92" fmla="*/ 229215 w 239117"/>
                <a:gd name="csY92" fmla="*/ 169272 h 204281"/>
                <a:gd name="csX93" fmla="*/ 229151 w 239117"/>
                <a:gd name="csY93" fmla="*/ 169237 h 204281"/>
                <a:gd name="csX94" fmla="*/ 209525 w 239117"/>
                <a:gd name="csY94" fmla="*/ 159410 h 204281"/>
                <a:gd name="csX95" fmla="*/ 208488 w 239117"/>
                <a:gd name="csY95" fmla="*/ 156215 h 204281"/>
                <a:gd name="csX96" fmla="*/ 208766 w 239117"/>
                <a:gd name="csY96" fmla="*/ 155922 h 204281"/>
                <a:gd name="csX97" fmla="*/ 213439 w 239117"/>
                <a:gd name="csY97" fmla="*/ 148521 h 204281"/>
                <a:gd name="csX98" fmla="*/ 215870 w 239117"/>
                <a:gd name="csY98" fmla="*/ 146139 h 204281"/>
                <a:gd name="csX99" fmla="*/ 217944 w 239117"/>
                <a:gd name="csY99" fmla="*/ 141218 h 204281"/>
                <a:gd name="csX100" fmla="*/ 217433 w 239117"/>
                <a:gd name="csY100" fmla="*/ 135741 h 204281"/>
                <a:gd name="csX101" fmla="*/ 217011 w 239117"/>
                <a:gd name="csY101" fmla="*/ 135186 h 204281"/>
                <a:gd name="csX102" fmla="*/ 219973 w 239117"/>
                <a:gd name="csY102" fmla="*/ 122729 h 204281"/>
                <a:gd name="csX103" fmla="*/ 207025 w 239117"/>
                <a:gd name="csY103" fmla="*/ 106819 h 204281"/>
                <a:gd name="csX104" fmla="*/ 192078 w 239117"/>
                <a:gd name="csY104" fmla="*/ 100682 h 204281"/>
                <a:gd name="csX105" fmla="*/ 170120 w 239117"/>
                <a:gd name="csY105" fmla="*/ 116349 h 204281"/>
                <a:gd name="csX106" fmla="*/ 169416 w 239117"/>
                <a:gd name="csY106" fmla="*/ 118522 h 204281"/>
                <a:gd name="csX107" fmla="*/ 170458 w 239117"/>
                <a:gd name="csY107" fmla="*/ 120556 h 204281"/>
                <a:gd name="csX108" fmla="*/ 176272 w 239117"/>
                <a:gd name="csY108" fmla="*/ 134322 h 204281"/>
                <a:gd name="csX109" fmla="*/ 174947 w 239117"/>
                <a:gd name="csY109" fmla="*/ 135741 h 204281"/>
                <a:gd name="csX110" fmla="*/ 174436 w 239117"/>
                <a:gd name="csY110" fmla="*/ 141218 h 204281"/>
                <a:gd name="csX111" fmla="*/ 176510 w 239117"/>
                <a:gd name="csY111" fmla="*/ 146139 h 204281"/>
                <a:gd name="csX112" fmla="*/ 178941 w 239117"/>
                <a:gd name="csY112" fmla="*/ 148516 h 204281"/>
                <a:gd name="csX113" fmla="*/ 183614 w 239117"/>
                <a:gd name="csY113" fmla="*/ 155917 h 204281"/>
                <a:gd name="csX114" fmla="*/ 184120 w 239117"/>
                <a:gd name="csY114" fmla="*/ 156448 h 204281"/>
                <a:gd name="csX115" fmla="*/ 183158 w 239117"/>
                <a:gd name="csY115" fmla="*/ 159405 h 204281"/>
                <a:gd name="csX116" fmla="*/ 163532 w 239117"/>
                <a:gd name="csY116" fmla="*/ 169232 h 204281"/>
                <a:gd name="csX117" fmla="*/ 163468 w 239117"/>
                <a:gd name="csY117" fmla="*/ 169267 h 204281"/>
                <a:gd name="csX118" fmla="*/ 153566 w 239117"/>
                <a:gd name="csY118" fmla="*/ 185688 h 204281"/>
                <a:gd name="csX119" fmla="*/ 153566 w 239117"/>
                <a:gd name="csY119" fmla="*/ 201300 h 204281"/>
                <a:gd name="csX120" fmla="*/ 156542 w 239117"/>
                <a:gd name="csY120" fmla="*/ 204277 h 204281"/>
                <a:gd name="csX121" fmla="*/ 236141 w 239117"/>
                <a:gd name="csY121" fmla="*/ 204277 h 204281"/>
                <a:gd name="csX122" fmla="*/ 239117 w 239117"/>
                <a:gd name="csY122" fmla="*/ 201300 h 204281"/>
                <a:gd name="csX123" fmla="*/ 239117 w 239117"/>
                <a:gd name="csY123" fmla="*/ 185688 h 204281"/>
                <a:gd name="csX124" fmla="*/ 229215 w 239117"/>
                <a:gd name="csY124" fmla="*/ 169272 h 204281"/>
                <a:gd name="csX125" fmla="*/ 189091 w 239117"/>
                <a:gd name="csY125" fmla="*/ 160407 h 204281"/>
                <a:gd name="csX126" fmla="*/ 196155 w 239117"/>
                <a:gd name="csY126" fmla="*/ 162332 h 204281"/>
                <a:gd name="csX127" fmla="*/ 196190 w 239117"/>
                <a:gd name="csY127" fmla="*/ 162332 h 204281"/>
                <a:gd name="csX128" fmla="*/ 196225 w 239117"/>
                <a:gd name="csY128" fmla="*/ 162332 h 204281"/>
                <a:gd name="csX129" fmla="*/ 203552 w 239117"/>
                <a:gd name="csY129" fmla="*/ 160263 h 204281"/>
                <a:gd name="csX130" fmla="*/ 204088 w 239117"/>
                <a:gd name="csY130" fmla="*/ 161915 h 204281"/>
                <a:gd name="csX131" fmla="*/ 196349 w 239117"/>
                <a:gd name="csY131" fmla="*/ 169272 h 204281"/>
                <a:gd name="csX132" fmla="*/ 188610 w 239117"/>
                <a:gd name="csY132" fmla="*/ 161915 h 204281"/>
                <a:gd name="csX133" fmla="*/ 192713 w 239117"/>
                <a:gd name="csY133" fmla="*/ 106601 h 204281"/>
                <a:gd name="csX134" fmla="*/ 203170 w 239117"/>
                <a:gd name="csY134" fmla="*/ 111472 h 204281"/>
                <a:gd name="csX135" fmla="*/ 205125 w 239117"/>
                <a:gd name="csY135" fmla="*/ 112549 h 204281"/>
                <a:gd name="csX136" fmla="*/ 214055 w 239117"/>
                <a:gd name="csY136" fmla="*/ 123359 h 204281"/>
                <a:gd name="csX137" fmla="*/ 213266 w 239117"/>
                <a:gd name="csY137" fmla="*/ 129113 h 204281"/>
                <a:gd name="csX138" fmla="*/ 204931 w 239117"/>
                <a:gd name="csY138" fmla="*/ 118254 h 204281"/>
                <a:gd name="csX139" fmla="*/ 201940 w 239117"/>
                <a:gd name="csY139" fmla="*/ 118715 h 204281"/>
                <a:gd name="csX140" fmla="*/ 196265 w 239117"/>
                <a:gd name="csY140" fmla="*/ 121454 h 204281"/>
                <a:gd name="csX141" fmla="*/ 196230 w 239117"/>
                <a:gd name="csY141" fmla="*/ 121454 h 204281"/>
                <a:gd name="csX142" fmla="*/ 195942 w 239117"/>
                <a:gd name="csY142" fmla="*/ 121464 h 204281"/>
                <a:gd name="csX143" fmla="*/ 181302 w 239117"/>
                <a:gd name="csY143" fmla="*/ 127987 h 204281"/>
                <a:gd name="csX144" fmla="*/ 176485 w 239117"/>
                <a:gd name="csY144" fmla="*/ 118120 h 204281"/>
                <a:gd name="csX145" fmla="*/ 192713 w 239117"/>
                <a:gd name="csY145" fmla="*/ 106601 h 204281"/>
                <a:gd name="csX146" fmla="*/ 181590 w 239117"/>
                <a:gd name="csY146" fmla="*/ 142875 h 204281"/>
                <a:gd name="csX147" fmla="*/ 179998 w 239117"/>
                <a:gd name="csY147" fmla="*/ 139095 h 204281"/>
                <a:gd name="csX148" fmla="*/ 182285 w 239117"/>
                <a:gd name="csY148" fmla="*/ 139095 h 204281"/>
                <a:gd name="csX149" fmla="*/ 184428 w 239117"/>
                <a:gd name="csY149" fmla="*/ 138187 h 204281"/>
                <a:gd name="csX150" fmla="*/ 185261 w 239117"/>
                <a:gd name="csY150" fmla="*/ 136014 h 204281"/>
                <a:gd name="csX151" fmla="*/ 196314 w 239117"/>
                <a:gd name="csY151" fmla="*/ 127402 h 204281"/>
                <a:gd name="csX152" fmla="*/ 204148 w 239117"/>
                <a:gd name="csY152" fmla="*/ 124490 h 204281"/>
                <a:gd name="csX153" fmla="*/ 207159 w 239117"/>
                <a:gd name="csY153" fmla="*/ 135627 h 204281"/>
                <a:gd name="csX154" fmla="*/ 207824 w 239117"/>
                <a:gd name="csY154" fmla="*/ 138043 h 204281"/>
                <a:gd name="csX155" fmla="*/ 210096 w 239117"/>
                <a:gd name="csY155" fmla="*/ 139095 h 204281"/>
                <a:gd name="csX156" fmla="*/ 212383 w 239117"/>
                <a:gd name="csY156" fmla="*/ 139095 h 204281"/>
                <a:gd name="csX157" fmla="*/ 210785 w 239117"/>
                <a:gd name="csY157" fmla="*/ 142875 h 204281"/>
                <a:gd name="csX158" fmla="*/ 207967 w 239117"/>
                <a:gd name="csY158" fmla="*/ 145524 h 204281"/>
                <a:gd name="csX159" fmla="*/ 204435 w 239117"/>
                <a:gd name="csY159" fmla="*/ 151834 h 204281"/>
                <a:gd name="csX160" fmla="*/ 196190 w 239117"/>
                <a:gd name="csY160" fmla="*/ 156374 h 204281"/>
                <a:gd name="csX161" fmla="*/ 187945 w 239117"/>
                <a:gd name="csY161" fmla="*/ 151834 h 204281"/>
                <a:gd name="csX162" fmla="*/ 184413 w 239117"/>
                <a:gd name="csY162" fmla="*/ 145524 h 204281"/>
                <a:gd name="csX163" fmla="*/ 181590 w 239117"/>
                <a:gd name="csY163" fmla="*/ 142875 h 204281"/>
                <a:gd name="csX164" fmla="*/ 233164 w 239117"/>
                <a:gd name="csY164" fmla="*/ 198328 h 204281"/>
                <a:gd name="csX165" fmla="*/ 223570 w 239117"/>
                <a:gd name="csY165" fmla="*/ 198328 h 204281"/>
                <a:gd name="csX166" fmla="*/ 223570 w 239117"/>
                <a:gd name="csY166" fmla="*/ 189225 h 204281"/>
                <a:gd name="csX167" fmla="*/ 220593 w 239117"/>
                <a:gd name="csY167" fmla="*/ 186248 h 204281"/>
                <a:gd name="csX168" fmla="*/ 217616 w 239117"/>
                <a:gd name="csY168" fmla="*/ 189225 h 204281"/>
                <a:gd name="csX169" fmla="*/ 217616 w 239117"/>
                <a:gd name="csY169" fmla="*/ 198328 h 204281"/>
                <a:gd name="csX170" fmla="*/ 175067 w 239117"/>
                <a:gd name="csY170" fmla="*/ 198328 h 204281"/>
                <a:gd name="csX171" fmla="*/ 175067 w 239117"/>
                <a:gd name="csY171" fmla="*/ 189225 h 204281"/>
                <a:gd name="csX172" fmla="*/ 172090 w 239117"/>
                <a:gd name="csY172" fmla="*/ 186248 h 204281"/>
                <a:gd name="csX173" fmla="*/ 169113 w 239117"/>
                <a:gd name="csY173" fmla="*/ 189225 h 204281"/>
                <a:gd name="csX174" fmla="*/ 169113 w 239117"/>
                <a:gd name="csY174" fmla="*/ 198328 h 204281"/>
                <a:gd name="csX175" fmla="*/ 159519 w 239117"/>
                <a:gd name="csY175" fmla="*/ 198328 h 204281"/>
                <a:gd name="csX176" fmla="*/ 159519 w 239117"/>
                <a:gd name="csY176" fmla="*/ 185693 h 204281"/>
                <a:gd name="csX177" fmla="*/ 166236 w 239117"/>
                <a:gd name="csY177" fmla="*/ 174541 h 204281"/>
                <a:gd name="csX178" fmla="*/ 183376 w 239117"/>
                <a:gd name="csY178" fmla="*/ 165958 h 204281"/>
                <a:gd name="csX179" fmla="*/ 196349 w 239117"/>
                <a:gd name="csY179" fmla="*/ 175225 h 204281"/>
                <a:gd name="csX180" fmla="*/ 209322 w 239117"/>
                <a:gd name="csY180" fmla="*/ 165958 h 204281"/>
                <a:gd name="csX181" fmla="*/ 226462 w 239117"/>
                <a:gd name="csY181" fmla="*/ 174541 h 204281"/>
                <a:gd name="csX182" fmla="*/ 233179 w 239117"/>
                <a:gd name="csY182" fmla="*/ 185693 h 204281"/>
                <a:gd name="csX183" fmla="*/ 233179 w 239117"/>
                <a:gd name="csY183" fmla="*/ 198328 h 204281"/>
                <a:gd name="csX184" fmla="*/ 101724 w 239117"/>
                <a:gd name="csY184" fmla="*/ 33109 h 204281"/>
                <a:gd name="csX185" fmla="*/ 107409 w 239117"/>
                <a:gd name="csY185" fmla="*/ 33109 h 204281"/>
                <a:gd name="csX186" fmla="*/ 107409 w 239117"/>
                <a:gd name="csY186" fmla="*/ 55731 h 204281"/>
                <a:gd name="csX187" fmla="*/ 110386 w 239117"/>
                <a:gd name="csY187" fmla="*/ 58708 h 204281"/>
                <a:gd name="csX188" fmla="*/ 128731 w 239117"/>
                <a:gd name="csY188" fmla="*/ 58708 h 204281"/>
                <a:gd name="csX189" fmla="*/ 131708 w 239117"/>
                <a:gd name="csY189" fmla="*/ 55731 h 204281"/>
                <a:gd name="csX190" fmla="*/ 131708 w 239117"/>
                <a:gd name="csY190" fmla="*/ 33109 h 204281"/>
                <a:gd name="csX191" fmla="*/ 137393 w 239117"/>
                <a:gd name="csY191" fmla="*/ 33109 h 204281"/>
                <a:gd name="csX192" fmla="*/ 140013 w 239117"/>
                <a:gd name="csY192" fmla="*/ 31547 h 204281"/>
                <a:gd name="csX193" fmla="*/ 139879 w 239117"/>
                <a:gd name="csY193" fmla="*/ 28501 h 204281"/>
                <a:gd name="csX194" fmla="*/ 122044 w 239117"/>
                <a:gd name="csY194" fmla="*/ 1344 h 204281"/>
                <a:gd name="csX195" fmla="*/ 119559 w 239117"/>
                <a:gd name="csY195" fmla="*/ 0 h 204281"/>
                <a:gd name="csX196" fmla="*/ 117073 w 239117"/>
                <a:gd name="csY196" fmla="*/ 1344 h 204281"/>
                <a:gd name="csX197" fmla="*/ 99239 w 239117"/>
                <a:gd name="csY197" fmla="*/ 28501 h 204281"/>
                <a:gd name="csX198" fmla="*/ 99105 w 239117"/>
                <a:gd name="csY198" fmla="*/ 31547 h 204281"/>
                <a:gd name="csX199" fmla="*/ 101724 w 239117"/>
                <a:gd name="csY199" fmla="*/ 33109 h 204281"/>
                <a:gd name="csX200" fmla="*/ 119559 w 239117"/>
                <a:gd name="csY200" fmla="*/ 8399 h 204281"/>
                <a:gd name="csX201" fmla="*/ 131877 w 239117"/>
                <a:gd name="csY201" fmla="*/ 27156 h 204281"/>
                <a:gd name="csX202" fmla="*/ 128731 w 239117"/>
                <a:gd name="csY202" fmla="*/ 27156 h 204281"/>
                <a:gd name="csX203" fmla="*/ 125755 w 239117"/>
                <a:gd name="csY203" fmla="*/ 30133 h 204281"/>
                <a:gd name="csX204" fmla="*/ 125755 w 239117"/>
                <a:gd name="csY204" fmla="*/ 52755 h 204281"/>
                <a:gd name="csX205" fmla="*/ 113362 w 239117"/>
                <a:gd name="csY205" fmla="*/ 52755 h 204281"/>
                <a:gd name="csX206" fmla="*/ 113362 w 239117"/>
                <a:gd name="csY206" fmla="*/ 30133 h 204281"/>
                <a:gd name="csX207" fmla="*/ 110386 w 239117"/>
                <a:gd name="csY207" fmla="*/ 27156 h 204281"/>
                <a:gd name="csX208" fmla="*/ 107241 w 239117"/>
                <a:gd name="csY208" fmla="*/ 27156 h 204281"/>
                <a:gd name="csX209" fmla="*/ 154216 w 239117"/>
                <a:gd name="csY209" fmla="*/ 129763 h 204281"/>
                <a:gd name="csX210" fmla="*/ 150659 w 239117"/>
                <a:gd name="csY210" fmla="*/ 125859 h 204281"/>
                <a:gd name="csX211" fmla="*/ 153303 w 239117"/>
                <a:gd name="csY211" fmla="*/ 119484 h 204281"/>
                <a:gd name="csX212" fmla="*/ 158576 w 239117"/>
                <a:gd name="csY212" fmla="*/ 119241 h 204281"/>
                <a:gd name="csX213" fmla="*/ 163517 w 239117"/>
                <a:gd name="csY213" fmla="*/ 114072 h 204281"/>
                <a:gd name="csX214" fmla="*/ 163517 w 239117"/>
                <a:gd name="csY214" fmla="*/ 104423 h 204281"/>
                <a:gd name="csX215" fmla="*/ 158581 w 239117"/>
                <a:gd name="csY215" fmla="*/ 99253 h 204281"/>
                <a:gd name="csX216" fmla="*/ 153308 w 239117"/>
                <a:gd name="csY216" fmla="*/ 99010 h 204281"/>
                <a:gd name="csX217" fmla="*/ 150664 w 239117"/>
                <a:gd name="csY217" fmla="*/ 92636 h 204281"/>
                <a:gd name="csX218" fmla="*/ 154226 w 239117"/>
                <a:gd name="csY218" fmla="*/ 88726 h 204281"/>
                <a:gd name="csX219" fmla="*/ 154057 w 239117"/>
                <a:gd name="csY219" fmla="*/ 81578 h 204281"/>
                <a:gd name="csX220" fmla="*/ 147236 w 239117"/>
                <a:gd name="csY220" fmla="*/ 74756 h 204281"/>
                <a:gd name="csX221" fmla="*/ 140087 w 239117"/>
                <a:gd name="csY221" fmla="*/ 74593 h 204281"/>
                <a:gd name="csX222" fmla="*/ 136183 w 239117"/>
                <a:gd name="csY222" fmla="*/ 78150 h 204281"/>
                <a:gd name="csX223" fmla="*/ 129808 w 239117"/>
                <a:gd name="csY223" fmla="*/ 75505 h 204281"/>
                <a:gd name="csX224" fmla="*/ 129565 w 239117"/>
                <a:gd name="csY224" fmla="*/ 70232 h 204281"/>
                <a:gd name="csX225" fmla="*/ 124396 w 239117"/>
                <a:gd name="csY225" fmla="*/ 65291 h 204281"/>
                <a:gd name="csX226" fmla="*/ 114746 w 239117"/>
                <a:gd name="csY226" fmla="*/ 65291 h 204281"/>
                <a:gd name="csX227" fmla="*/ 109577 w 239117"/>
                <a:gd name="csY227" fmla="*/ 70227 h 204281"/>
                <a:gd name="csX228" fmla="*/ 109334 w 239117"/>
                <a:gd name="csY228" fmla="*/ 75501 h 204281"/>
                <a:gd name="csX229" fmla="*/ 102959 w 239117"/>
                <a:gd name="csY229" fmla="*/ 78145 h 204281"/>
                <a:gd name="csX230" fmla="*/ 99050 w 239117"/>
                <a:gd name="csY230" fmla="*/ 74583 h 204281"/>
                <a:gd name="csX231" fmla="*/ 91901 w 239117"/>
                <a:gd name="csY231" fmla="*/ 74751 h 204281"/>
                <a:gd name="csX232" fmla="*/ 85080 w 239117"/>
                <a:gd name="csY232" fmla="*/ 81573 h 204281"/>
                <a:gd name="csX233" fmla="*/ 84916 w 239117"/>
                <a:gd name="csY233" fmla="*/ 88721 h 204281"/>
                <a:gd name="csX234" fmla="*/ 88478 w 239117"/>
                <a:gd name="csY234" fmla="*/ 92626 h 204281"/>
                <a:gd name="csX235" fmla="*/ 85834 w 239117"/>
                <a:gd name="csY235" fmla="*/ 99000 h 204281"/>
                <a:gd name="csX236" fmla="*/ 80561 w 239117"/>
                <a:gd name="csY236" fmla="*/ 99244 h 204281"/>
                <a:gd name="csX237" fmla="*/ 75625 w 239117"/>
                <a:gd name="csY237" fmla="*/ 104413 h 204281"/>
                <a:gd name="csX238" fmla="*/ 75625 w 239117"/>
                <a:gd name="csY238" fmla="*/ 114062 h 204281"/>
                <a:gd name="csX239" fmla="*/ 80561 w 239117"/>
                <a:gd name="csY239" fmla="*/ 119231 h 204281"/>
                <a:gd name="csX240" fmla="*/ 85834 w 239117"/>
                <a:gd name="csY240" fmla="*/ 119474 h 204281"/>
                <a:gd name="csX241" fmla="*/ 88478 w 239117"/>
                <a:gd name="csY241" fmla="*/ 125849 h 204281"/>
                <a:gd name="csX242" fmla="*/ 84916 w 239117"/>
                <a:gd name="csY242" fmla="*/ 129758 h 204281"/>
                <a:gd name="csX243" fmla="*/ 85085 w 239117"/>
                <a:gd name="csY243" fmla="*/ 136907 h 204281"/>
                <a:gd name="csX244" fmla="*/ 91906 w 239117"/>
                <a:gd name="csY244" fmla="*/ 143728 h 204281"/>
                <a:gd name="csX245" fmla="*/ 99055 w 239117"/>
                <a:gd name="csY245" fmla="*/ 143892 h 204281"/>
                <a:gd name="csX246" fmla="*/ 102959 w 239117"/>
                <a:gd name="csY246" fmla="*/ 140335 h 204281"/>
                <a:gd name="csX247" fmla="*/ 109334 w 239117"/>
                <a:gd name="csY247" fmla="*/ 142979 h 204281"/>
                <a:gd name="csX248" fmla="*/ 109577 w 239117"/>
                <a:gd name="csY248" fmla="*/ 148253 h 204281"/>
                <a:gd name="csX249" fmla="*/ 114746 w 239117"/>
                <a:gd name="csY249" fmla="*/ 153194 h 204281"/>
                <a:gd name="csX250" fmla="*/ 124396 w 239117"/>
                <a:gd name="csY250" fmla="*/ 153194 h 204281"/>
                <a:gd name="csX251" fmla="*/ 129565 w 239117"/>
                <a:gd name="csY251" fmla="*/ 148258 h 204281"/>
                <a:gd name="csX252" fmla="*/ 129808 w 239117"/>
                <a:gd name="csY252" fmla="*/ 142984 h 204281"/>
                <a:gd name="csX253" fmla="*/ 136183 w 239117"/>
                <a:gd name="csY253" fmla="*/ 140340 h 204281"/>
                <a:gd name="csX254" fmla="*/ 140092 w 239117"/>
                <a:gd name="csY254" fmla="*/ 143902 h 204281"/>
                <a:gd name="csX255" fmla="*/ 147241 w 239117"/>
                <a:gd name="csY255" fmla="*/ 143733 h 204281"/>
                <a:gd name="csX256" fmla="*/ 154062 w 239117"/>
                <a:gd name="csY256" fmla="*/ 136912 h 204281"/>
                <a:gd name="csX257" fmla="*/ 154216 w 239117"/>
                <a:gd name="csY257" fmla="*/ 129763 h 204281"/>
                <a:gd name="csX258" fmla="*/ 143540 w 239117"/>
                <a:gd name="csY258" fmla="*/ 139001 h 204281"/>
                <a:gd name="csX259" fmla="*/ 139774 w 239117"/>
                <a:gd name="csY259" fmla="*/ 135568 h 204281"/>
                <a:gd name="csX260" fmla="*/ 133772 w 239117"/>
                <a:gd name="csY260" fmla="*/ 134868 h 204281"/>
                <a:gd name="csX261" fmla="*/ 127630 w 239117"/>
                <a:gd name="csY261" fmla="*/ 137418 h 204281"/>
                <a:gd name="csX262" fmla="*/ 123880 w 239117"/>
                <a:gd name="csY262" fmla="*/ 142156 h 204281"/>
                <a:gd name="csX263" fmla="*/ 123641 w 239117"/>
                <a:gd name="csY263" fmla="*/ 147246 h 204281"/>
                <a:gd name="csX264" fmla="*/ 115476 w 239117"/>
                <a:gd name="csY264" fmla="*/ 147246 h 204281"/>
                <a:gd name="csX265" fmla="*/ 115238 w 239117"/>
                <a:gd name="csY265" fmla="*/ 142161 h 204281"/>
                <a:gd name="csX266" fmla="*/ 111487 w 239117"/>
                <a:gd name="csY266" fmla="*/ 137423 h 204281"/>
                <a:gd name="csX267" fmla="*/ 105346 w 239117"/>
                <a:gd name="csY267" fmla="*/ 134878 h 204281"/>
                <a:gd name="csX268" fmla="*/ 99343 w 239117"/>
                <a:gd name="csY268" fmla="*/ 135577 h 204281"/>
                <a:gd name="csX269" fmla="*/ 95577 w 239117"/>
                <a:gd name="csY269" fmla="*/ 139010 h 204281"/>
                <a:gd name="csX270" fmla="*/ 89803 w 239117"/>
                <a:gd name="csY270" fmla="*/ 133236 h 204281"/>
                <a:gd name="csX271" fmla="*/ 93236 w 239117"/>
                <a:gd name="csY271" fmla="*/ 129471 h 204281"/>
                <a:gd name="csX272" fmla="*/ 93935 w 239117"/>
                <a:gd name="csY272" fmla="*/ 123468 h 204281"/>
                <a:gd name="csX273" fmla="*/ 91385 w 239117"/>
                <a:gd name="csY273" fmla="*/ 117326 h 204281"/>
                <a:gd name="csX274" fmla="*/ 86648 w 239117"/>
                <a:gd name="csY274" fmla="*/ 113576 h 204281"/>
                <a:gd name="csX275" fmla="*/ 81558 w 239117"/>
                <a:gd name="csY275" fmla="*/ 113338 h 204281"/>
                <a:gd name="csX276" fmla="*/ 81558 w 239117"/>
                <a:gd name="csY276" fmla="*/ 105172 h 204281"/>
                <a:gd name="csX277" fmla="*/ 86648 w 239117"/>
                <a:gd name="csY277" fmla="*/ 104934 h 204281"/>
                <a:gd name="csX278" fmla="*/ 91385 w 239117"/>
                <a:gd name="csY278" fmla="*/ 101183 h 204281"/>
                <a:gd name="csX279" fmla="*/ 93935 w 239117"/>
                <a:gd name="csY279" fmla="*/ 95042 h 204281"/>
                <a:gd name="csX280" fmla="*/ 93236 w 239117"/>
                <a:gd name="csY280" fmla="*/ 89039 h 204281"/>
                <a:gd name="csX281" fmla="*/ 89803 w 239117"/>
                <a:gd name="csY281" fmla="*/ 85274 h 204281"/>
                <a:gd name="csX282" fmla="*/ 95577 w 239117"/>
                <a:gd name="csY282" fmla="*/ 79499 h 204281"/>
                <a:gd name="csX283" fmla="*/ 99343 w 239117"/>
                <a:gd name="csY283" fmla="*/ 82932 h 204281"/>
                <a:gd name="csX284" fmla="*/ 105346 w 239117"/>
                <a:gd name="csY284" fmla="*/ 83631 h 204281"/>
                <a:gd name="csX285" fmla="*/ 111492 w 239117"/>
                <a:gd name="csY285" fmla="*/ 81082 h 204281"/>
                <a:gd name="csX286" fmla="*/ 115238 w 239117"/>
                <a:gd name="csY286" fmla="*/ 76344 h 204281"/>
                <a:gd name="csX287" fmla="*/ 115476 w 239117"/>
                <a:gd name="csY287" fmla="*/ 71254 h 204281"/>
                <a:gd name="csX288" fmla="*/ 123641 w 239117"/>
                <a:gd name="csY288" fmla="*/ 71254 h 204281"/>
                <a:gd name="csX289" fmla="*/ 123880 w 239117"/>
                <a:gd name="csY289" fmla="*/ 76339 h 204281"/>
                <a:gd name="csX290" fmla="*/ 127630 w 239117"/>
                <a:gd name="csY290" fmla="*/ 81077 h 204281"/>
                <a:gd name="csX291" fmla="*/ 133772 w 239117"/>
                <a:gd name="csY291" fmla="*/ 83622 h 204281"/>
                <a:gd name="csX292" fmla="*/ 139774 w 239117"/>
                <a:gd name="csY292" fmla="*/ 82922 h 204281"/>
                <a:gd name="csX293" fmla="*/ 143540 w 239117"/>
                <a:gd name="csY293" fmla="*/ 79489 h 204281"/>
                <a:gd name="csX294" fmla="*/ 149314 w 239117"/>
                <a:gd name="csY294" fmla="*/ 85264 h 204281"/>
                <a:gd name="csX295" fmla="*/ 145881 w 239117"/>
                <a:gd name="csY295" fmla="*/ 89029 h 204281"/>
                <a:gd name="csX296" fmla="*/ 145182 w 239117"/>
                <a:gd name="csY296" fmla="*/ 95032 h 204281"/>
                <a:gd name="csX297" fmla="*/ 147732 w 239117"/>
                <a:gd name="csY297" fmla="*/ 101173 h 204281"/>
                <a:gd name="csX298" fmla="*/ 152469 w 239117"/>
                <a:gd name="csY298" fmla="*/ 104919 h 204281"/>
                <a:gd name="csX299" fmla="*/ 157559 w 239117"/>
                <a:gd name="csY299" fmla="*/ 105157 h 204281"/>
                <a:gd name="csX300" fmla="*/ 157559 w 239117"/>
                <a:gd name="csY300" fmla="*/ 113323 h 204281"/>
                <a:gd name="csX301" fmla="*/ 152474 w 239117"/>
                <a:gd name="csY301" fmla="*/ 113561 h 204281"/>
                <a:gd name="csX302" fmla="*/ 147737 w 239117"/>
                <a:gd name="csY302" fmla="*/ 117311 h 204281"/>
                <a:gd name="csX303" fmla="*/ 145192 w 239117"/>
                <a:gd name="csY303" fmla="*/ 123453 h 204281"/>
                <a:gd name="csX304" fmla="*/ 145891 w 239117"/>
                <a:gd name="csY304" fmla="*/ 129456 h 204281"/>
                <a:gd name="csX305" fmla="*/ 149324 w 239117"/>
                <a:gd name="csY305" fmla="*/ 133221 h 204281"/>
                <a:gd name="csX306" fmla="*/ 103485 w 239117"/>
                <a:gd name="csY306" fmla="*/ 93171 h 204281"/>
                <a:gd name="csX307" fmla="*/ 96828 w 239117"/>
                <a:gd name="csY307" fmla="*/ 109245 h 204281"/>
                <a:gd name="csX308" fmla="*/ 103485 w 239117"/>
                <a:gd name="csY308" fmla="*/ 125318 h 204281"/>
                <a:gd name="csX309" fmla="*/ 119559 w 239117"/>
                <a:gd name="csY309" fmla="*/ 131966 h 204281"/>
                <a:gd name="csX310" fmla="*/ 135632 w 239117"/>
                <a:gd name="csY310" fmla="*/ 125318 h 204281"/>
                <a:gd name="csX311" fmla="*/ 142290 w 239117"/>
                <a:gd name="csY311" fmla="*/ 109245 h 204281"/>
                <a:gd name="csX312" fmla="*/ 135632 w 239117"/>
                <a:gd name="csY312" fmla="*/ 93171 h 204281"/>
                <a:gd name="csX313" fmla="*/ 103485 w 239117"/>
                <a:gd name="csY313" fmla="*/ 93171 h 204281"/>
                <a:gd name="csX314" fmla="*/ 131425 w 239117"/>
                <a:gd name="csY314" fmla="*/ 121106 h 204281"/>
                <a:gd name="csX315" fmla="*/ 107697 w 239117"/>
                <a:gd name="csY315" fmla="*/ 121106 h 204281"/>
                <a:gd name="csX316" fmla="*/ 102781 w 239117"/>
                <a:gd name="csY316" fmla="*/ 109240 h 204281"/>
                <a:gd name="csX317" fmla="*/ 107697 w 239117"/>
                <a:gd name="csY317" fmla="*/ 97373 h 204281"/>
                <a:gd name="csX318" fmla="*/ 119564 w 239117"/>
                <a:gd name="csY318" fmla="*/ 92457 h 204281"/>
                <a:gd name="csX319" fmla="*/ 131430 w 239117"/>
                <a:gd name="csY319" fmla="*/ 97373 h 204281"/>
                <a:gd name="csX320" fmla="*/ 136346 w 239117"/>
                <a:gd name="csY320" fmla="*/ 109240 h 204281"/>
                <a:gd name="csX321" fmla="*/ 131425 w 239117"/>
                <a:gd name="csY321" fmla="*/ 121106 h 20428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 ang="0">
                  <a:pos x="csX317" y="csY317"/>
                </a:cxn>
                <a:cxn ang="0">
                  <a:pos x="csX318" y="csY318"/>
                </a:cxn>
                <a:cxn ang="0">
                  <a:pos x="csX319" y="csY319"/>
                </a:cxn>
                <a:cxn ang="0">
                  <a:pos x="csX320" y="csY320"/>
                </a:cxn>
                <a:cxn ang="0">
                  <a:pos x="csX321" y="csY321"/>
                </a:cxn>
              </a:cxnLst>
              <a:rect l="l" t="t" r="r" b="b"/>
              <a:pathLst>
                <a:path w="239117" h="204281">
                  <a:moveTo>
                    <a:pt x="75654" y="169272"/>
                  </a:moveTo>
                  <a:cubicBezTo>
                    <a:pt x="75634" y="169262"/>
                    <a:pt x="75610" y="169247"/>
                    <a:pt x="75590" y="169237"/>
                  </a:cubicBezTo>
                  <a:lnTo>
                    <a:pt x="55964" y="159410"/>
                  </a:lnTo>
                  <a:lnTo>
                    <a:pt x="54923" y="156210"/>
                  </a:lnTo>
                  <a:cubicBezTo>
                    <a:pt x="55017" y="156116"/>
                    <a:pt x="55111" y="156017"/>
                    <a:pt x="55200" y="155922"/>
                  </a:cubicBezTo>
                  <a:cubicBezTo>
                    <a:pt x="56892" y="154126"/>
                    <a:pt x="58921" y="151968"/>
                    <a:pt x="59874" y="148521"/>
                  </a:cubicBezTo>
                  <a:cubicBezTo>
                    <a:pt x="60950" y="148094"/>
                    <a:pt x="61833" y="147251"/>
                    <a:pt x="62304" y="146139"/>
                  </a:cubicBezTo>
                  <a:lnTo>
                    <a:pt x="64378" y="141218"/>
                  </a:lnTo>
                  <a:cubicBezTo>
                    <a:pt x="65147" y="139392"/>
                    <a:pt x="64963" y="137393"/>
                    <a:pt x="63867" y="135741"/>
                  </a:cubicBezTo>
                  <a:cubicBezTo>
                    <a:pt x="63738" y="135543"/>
                    <a:pt x="63594" y="135359"/>
                    <a:pt x="63445" y="135186"/>
                  </a:cubicBezTo>
                  <a:cubicBezTo>
                    <a:pt x="65832" y="130894"/>
                    <a:pt x="66829" y="126717"/>
                    <a:pt x="66407" y="122729"/>
                  </a:cubicBezTo>
                  <a:cubicBezTo>
                    <a:pt x="65216" y="111502"/>
                    <a:pt x="58956" y="107826"/>
                    <a:pt x="53459" y="106819"/>
                  </a:cubicBezTo>
                  <a:cubicBezTo>
                    <a:pt x="49232" y="102061"/>
                    <a:pt x="44331" y="100057"/>
                    <a:pt x="38512" y="100682"/>
                  </a:cubicBezTo>
                  <a:cubicBezTo>
                    <a:pt x="30197" y="101580"/>
                    <a:pt x="22746" y="109106"/>
                    <a:pt x="16555" y="116349"/>
                  </a:cubicBezTo>
                  <a:cubicBezTo>
                    <a:pt x="16039" y="116949"/>
                    <a:pt x="15786" y="117733"/>
                    <a:pt x="15850" y="118522"/>
                  </a:cubicBezTo>
                  <a:cubicBezTo>
                    <a:pt x="15915" y="119311"/>
                    <a:pt x="16287" y="120040"/>
                    <a:pt x="16892" y="120556"/>
                  </a:cubicBezTo>
                  <a:cubicBezTo>
                    <a:pt x="20459" y="123582"/>
                    <a:pt x="21888" y="126831"/>
                    <a:pt x="22706" y="134322"/>
                  </a:cubicBezTo>
                  <a:cubicBezTo>
                    <a:pt x="22200" y="134709"/>
                    <a:pt x="21754" y="135186"/>
                    <a:pt x="21382" y="135741"/>
                  </a:cubicBezTo>
                  <a:cubicBezTo>
                    <a:pt x="20285" y="137393"/>
                    <a:pt x="20097" y="139387"/>
                    <a:pt x="20871" y="141218"/>
                  </a:cubicBezTo>
                  <a:lnTo>
                    <a:pt x="22944" y="146139"/>
                  </a:lnTo>
                  <a:cubicBezTo>
                    <a:pt x="23411" y="147251"/>
                    <a:pt x="24299" y="148094"/>
                    <a:pt x="25375" y="148516"/>
                  </a:cubicBezTo>
                  <a:cubicBezTo>
                    <a:pt x="26328" y="151968"/>
                    <a:pt x="28357" y="154126"/>
                    <a:pt x="30048" y="155917"/>
                  </a:cubicBezTo>
                  <a:cubicBezTo>
                    <a:pt x="30212" y="156091"/>
                    <a:pt x="30381" y="156270"/>
                    <a:pt x="30554" y="156448"/>
                  </a:cubicBezTo>
                  <a:lnTo>
                    <a:pt x="29592" y="159405"/>
                  </a:lnTo>
                  <a:lnTo>
                    <a:pt x="9967" y="169232"/>
                  </a:lnTo>
                  <a:cubicBezTo>
                    <a:pt x="9947" y="169242"/>
                    <a:pt x="9922" y="169252"/>
                    <a:pt x="9902" y="169267"/>
                  </a:cubicBezTo>
                  <a:cubicBezTo>
                    <a:pt x="3795" y="172522"/>
                    <a:pt x="0" y="178812"/>
                    <a:pt x="0" y="185693"/>
                  </a:cubicBezTo>
                  <a:lnTo>
                    <a:pt x="0" y="201305"/>
                  </a:lnTo>
                  <a:cubicBezTo>
                    <a:pt x="0" y="202947"/>
                    <a:pt x="1334" y="204281"/>
                    <a:pt x="2977" y="204281"/>
                  </a:cubicBezTo>
                  <a:lnTo>
                    <a:pt x="82580" y="204281"/>
                  </a:lnTo>
                  <a:cubicBezTo>
                    <a:pt x="84222" y="204281"/>
                    <a:pt x="85556" y="202947"/>
                    <a:pt x="85556" y="201305"/>
                  </a:cubicBezTo>
                  <a:lnTo>
                    <a:pt x="85556" y="185693"/>
                  </a:lnTo>
                  <a:cubicBezTo>
                    <a:pt x="85556" y="178812"/>
                    <a:pt x="81761" y="172522"/>
                    <a:pt x="75654" y="169272"/>
                  </a:cubicBezTo>
                  <a:close/>
                  <a:moveTo>
                    <a:pt x="35525" y="160407"/>
                  </a:moveTo>
                  <a:cubicBezTo>
                    <a:pt x="37510" y="161528"/>
                    <a:pt x="39836" y="162302"/>
                    <a:pt x="42590" y="162332"/>
                  </a:cubicBezTo>
                  <a:lnTo>
                    <a:pt x="42624" y="162332"/>
                  </a:lnTo>
                  <a:cubicBezTo>
                    <a:pt x="42624" y="162332"/>
                    <a:pt x="42644" y="162332"/>
                    <a:pt x="42659" y="162332"/>
                  </a:cubicBezTo>
                  <a:cubicBezTo>
                    <a:pt x="45531" y="162302"/>
                    <a:pt x="47943" y="161459"/>
                    <a:pt x="49986" y="160258"/>
                  </a:cubicBezTo>
                  <a:lnTo>
                    <a:pt x="50527" y="161915"/>
                  </a:lnTo>
                  <a:cubicBezTo>
                    <a:pt x="50314" y="166003"/>
                    <a:pt x="46930" y="169272"/>
                    <a:pt x="42788" y="169272"/>
                  </a:cubicBezTo>
                  <a:cubicBezTo>
                    <a:pt x="38646" y="169272"/>
                    <a:pt x="35262" y="166008"/>
                    <a:pt x="35049" y="161915"/>
                  </a:cubicBezTo>
                  <a:close/>
                  <a:moveTo>
                    <a:pt x="39152" y="106601"/>
                  </a:moveTo>
                  <a:cubicBezTo>
                    <a:pt x="43269" y="106154"/>
                    <a:pt x="46499" y="107657"/>
                    <a:pt x="49609" y="111472"/>
                  </a:cubicBezTo>
                  <a:cubicBezTo>
                    <a:pt x="50096" y="112073"/>
                    <a:pt x="50795" y="112455"/>
                    <a:pt x="51564" y="112549"/>
                  </a:cubicBezTo>
                  <a:cubicBezTo>
                    <a:pt x="54947" y="112956"/>
                    <a:pt x="59551" y="114518"/>
                    <a:pt x="60494" y="123359"/>
                  </a:cubicBezTo>
                  <a:cubicBezTo>
                    <a:pt x="60687" y="125169"/>
                    <a:pt x="60419" y="127094"/>
                    <a:pt x="59705" y="129113"/>
                  </a:cubicBezTo>
                  <a:cubicBezTo>
                    <a:pt x="58832" y="122724"/>
                    <a:pt x="54957" y="119688"/>
                    <a:pt x="51371" y="118249"/>
                  </a:cubicBezTo>
                  <a:cubicBezTo>
                    <a:pt x="50363" y="117847"/>
                    <a:pt x="49217" y="118021"/>
                    <a:pt x="48379" y="118710"/>
                  </a:cubicBezTo>
                  <a:cubicBezTo>
                    <a:pt x="46310" y="120402"/>
                    <a:pt x="44142" y="121449"/>
                    <a:pt x="42704" y="121449"/>
                  </a:cubicBezTo>
                  <a:cubicBezTo>
                    <a:pt x="42694" y="121449"/>
                    <a:pt x="42679" y="121449"/>
                    <a:pt x="42669" y="121449"/>
                  </a:cubicBezTo>
                  <a:cubicBezTo>
                    <a:pt x="42570" y="121444"/>
                    <a:pt x="42476" y="121449"/>
                    <a:pt x="42381" y="121459"/>
                  </a:cubicBezTo>
                  <a:cubicBezTo>
                    <a:pt x="38953" y="121751"/>
                    <a:pt x="31363" y="122401"/>
                    <a:pt x="27742" y="127982"/>
                  </a:cubicBezTo>
                  <a:cubicBezTo>
                    <a:pt x="26868" y="124048"/>
                    <a:pt x="25455" y="120918"/>
                    <a:pt x="22924" y="118115"/>
                  </a:cubicBezTo>
                  <a:cubicBezTo>
                    <a:pt x="27732" y="112708"/>
                    <a:pt x="33595" y="107201"/>
                    <a:pt x="39152" y="106601"/>
                  </a:cubicBezTo>
                  <a:close/>
                  <a:moveTo>
                    <a:pt x="28029" y="142875"/>
                  </a:moveTo>
                  <a:lnTo>
                    <a:pt x="26437" y="139095"/>
                  </a:lnTo>
                  <a:lnTo>
                    <a:pt x="28724" y="139095"/>
                  </a:lnTo>
                  <a:cubicBezTo>
                    <a:pt x="29532" y="139095"/>
                    <a:pt x="30306" y="138767"/>
                    <a:pt x="30867" y="138187"/>
                  </a:cubicBezTo>
                  <a:cubicBezTo>
                    <a:pt x="31428" y="137606"/>
                    <a:pt x="31730" y="136823"/>
                    <a:pt x="31700" y="136014"/>
                  </a:cubicBezTo>
                  <a:cubicBezTo>
                    <a:pt x="31502" y="130324"/>
                    <a:pt x="34295" y="128141"/>
                    <a:pt x="42753" y="127402"/>
                  </a:cubicBezTo>
                  <a:cubicBezTo>
                    <a:pt x="45720" y="127382"/>
                    <a:pt x="48578" y="125879"/>
                    <a:pt x="50587" y="124490"/>
                  </a:cubicBezTo>
                  <a:cubicBezTo>
                    <a:pt x="52765" y="125854"/>
                    <a:pt x="54754" y="128687"/>
                    <a:pt x="53598" y="135627"/>
                  </a:cubicBezTo>
                  <a:cubicBezTo>
                    <a:pt x="53454" y="136490"/>
                    <a:pt x="53697" y="137373"/>
                    <a:pt x="54263" y="138043"/>
                  </a:cubicBezTo>
                  <a:cubicBezTo>
                    <a:pt x="54828" y="138713"/>
                    <a:pt x="55662" y="139095"/>
                    <a:pt x="56535" y="139095"/>
                  </a:cubicBezTo>
                  <a:lnTo>
                    <a:pt x="58822" y="139095"/>
                  </a:lnTo>
                  <a:lnTo>
                    <a:pt x="57224" y="142875"/>
                  </a:lnTo>
                  <a:cubicBezTo>
                    <a:pt x="55766" y="142944"/>
                    <a:pt x="54565" y="144061"/>
                    <a:pt x="54407" y="145524"/>
                  </a:cubicBezTo>
                  <a:cubicBezTo>
                    <a:pt x="54114" y="148223"/>
                    <a:pt x="52879" y="149711"/>
                    <a:pt x="50874" y="151834"/>
                  </a:cubicBezTo>
                  <a:cubicBezTo>
                    <a:pt x="48339" y="154523"/>
                    <a:pt x="45968" y="156329"/>
                    <a:pt x="42629" y="156374"/>
                  </a:cubicBezTo>
                  <a:cubicBezTo>
                    <a:pt x="39296" y="156324"/>
                    <a:pt x="36919" y="154523"/>
                    <a:pt x="34389" y="151834"/>
                  </a:cubicBezTo>
                  <a:cubicBezTo>
                    <a:pt x="32385" y="149706"/>
                    <a:pt x="31150" y="148223"/>
                    <a:pt x="30857" y="145524"/>
                  </a:cubicBezTo>
                  <a:cubicBezTo>
                    <a:pt x="30688" y="144066"/>
                    <a:pt x="29483" y="142944"/>
                    <a:pt x="28029" y="142875"/>
                  </a:cubicBezTo>
                  <a:close/>
                  <a:moveTo>
                    <a:pt x="79603" y="198328"/>
                  </a:moveTo>
                  <a:lnTo>
                    <a:pt x="70009" y="198328"/>
                  </a:lnTo>
                  <a:lnTo>
                    <a:pt x="70009" y="189225"/>
                  </a:lnTo>
                  <a:cubicBezTo>
                    <a:pt x="70009" y="187583"/>
                    <a:pt x="68674" y="186248"/>
                    <a:pt x="67032" y="186248"/>
                  </a:cubicBezTo>
                  <a:cubicBezTo>
                    <a:pt x="65390" y="186248"/>
                    <a:pt x="64056" y="187583"/>
                    <a:pt x="64056" y="189225"/>
                  </a:cubicBezTo>
                  <a:lnTo>
                    <a:pt x="64056" y="198328"/>
                  </a:lnTo>
                  <a:lnTo>
                    <a:pt x="21501" y="198328"/>
                  </a:lnTo>
                  <a:lnTo>
                    <a:pt x="21501" y="189225"/>
                  </a:lnTo>
                  <a:cubicBezTo>
                    <a:pt x="21501" y="187583"/>
                    <a:pt x="20166" y="186248"/>
                    <a:pt x="18524" y="186248"/>
                  </a:cubicBezTo>
                  <a:cubicBezTo>
                    <a:pt x="16882" y="186248"/>
                    <a:pt x="15548" y="187583"/>
                    <a:pt x="15548" y="189225"/>
                  </a:cubicBezTo>
                  <a:lnTo>
                    <a:pt x="15548" y="198328"/>
                  </a:lnTo>
                  <a:lnTo>
                    <a:pt x="5953" y="198328"/>
                  </a:lnTo>
                  <a:lnTo>
                    <a:pt x="5953" y="185693"/>
                  </a:lnTo>
                  <a:cubicBezTo>
                    <a:pt x="5953" y="181030"/>
                    <a:pt x="8523" y="176763"/>
                    <a:pt x="12670" y="174541"/>
                  </a:cubicBezTo>
                  <a:lnTo>
                    <a:pt x="29810" y="165958"/>
                  </a:lnTo>
                  <a:cubicBezTo>
                    <a:pt x="31661" y="171346"/>
                    <a:pt x="36775" y="175225"/>
                    <a:pt x="42783" y="175225"/>
                  </a:cubicBezTo>
                  <a:cubicBezTo>
                    <a:pt x="48791" y="175225"/>
                    <a:pt x="53901" y="171341"/>
                    <a:pt x="55756" y="165958"/>
                  </a:cubicBezTo>
                  <a:lnTo>
                    <a:pt x="72896" y="174541"/>
                  </a:lnTo>
                  <a:cubicBezTo>
                    <a:pt x="77038" y="176758"/>
                    <a:pt x="79613" y="181030"/>
                    <a:pt x="79613" y="185693"/>
                  </a:cubicBezTo>
                  <a:lnTo>
                    <a:pt x="79613" y="198328"/>
                  </a:lnTo>
                  <a:close/>
                  <a:moveTo>
                    <a:pt x="229215" y="169272"/>
                  </a:moveTo>
                  <a:cubicBezTo>
                    <a:pt x="229195" y="169262"/>
                    <a:pt x="229171" y="169247"/>
                    <a:pt x="229151" y="169237"/>
                  </a:cubicBezTo>
                  <a:lnTo>
                    <a:pt x="209525" y="159410"/>
                  </a:lnTo>
                  <a:lnTo>
                    <a:pt x="208488" y="156215"/>
                  </a:lnTo>
                  <a:cubicBezTo>
                    <a:pt x="208583" y="156116"/>
                    <a:pt x="208677" y="156012"/>
                    <a:pt x="208766" y="155922"/>
                  </a:cubicBezTo>
                  <a:cubicBezTo>
                    <a:pt x="210458" y="154126"/>
                    <a:pt x="212487" y="151968"/>
                    <a:pt x="213439" y="148521"/>
                  </a:cubicBezTo>
                  <a:cubicBezTo>
                    <a:pt x="214516" y="148094"/>
                    <a:pt x="215399" y="147251"/>
                    <a:pt x="215870" y="146139"/>
                  </a:cubicBezTo>
                  <a:lnTo>
                    <a:pt x="217944" y="141218"/>
                  </a:lnTo>
                  <a:cubicBezTo>
                    <a:pt x="218713" y="139392"/>
                    <a:pt x="218529" y="137393"/>
                    <a:pt x="217433" y="135741"/>
                  </a:cubicBezTo>
                  <a:cubicBezTo>
                    <a:pt x="217304" y="135543"/>
                    <a:pt x="217160" y="135359"/>
                    <a:pt x="217011" y="135186"/>
                  </a:cubicBezTo>
                  <a:cubicBezTo>
                    <a:pt x="219397" y="130894"/>
                    <a:pt x="220395" y="126712"/>
                    <a:pt x="219973" y="122729"/>
                  </a:cubicBezTo>
                  <a:cubicBezTo>
                    <a:pt x="218782" y="111497"/>
                    <a:pt x="212522" y="107826"/>
                    <a:pt x="207025" y="106819"/>
                  </a:cubicBezTo>
                  <a:cubicBezTo>
                    <a:pt x="202798" y="102061"/>
                    <a:pt x="197897" y="100052"/>
                    <a:pt x="192078" y="100682"/>
                  </a:cubicBezTo>
                  <a:cubicBezTo>
                    <a:pt x="183763" y="101580"/>
                    <a:pt x="176312" y="109106"/>
                    <a:pt x="170120" y="116349"/>
                  </a:cubicBezTo>
                  <a:cubicBezTo>
                    <a:pt x="169605" y="116949"/>
                    <a:pt x="169352" y="117733"/>
                    <a:pt x="169416" y="118522"/>
                  </a:cubicBezTo>
                  <a:cubicBezTo>
                    <a:pt x="169481" y="119311"/>
                    <a:pt x="169853" y="120040"/>
                    <a:pt x="170458" y="120556"/>
                  </a:cubicBezTo>
                  <a:cubicBezTo>
                    <a:pt x="174025" y="123582"/>
                    <a:pt x="175453" y="126831"/>
                    <a:pt x="176272" y="134322"/>
                  </a:cubicBezTo>
                  <a:cubicBezTo>
                    <a:pt x="175766" y="134709"/>
                    <a:pt x="175320" y="135186"/>
                    <a:pt x="174947" y="135741"/>
                  </a:cubicBezTo>
                  <a:cubicBezTo>
                    <a:pt x="173851" y="137393"/>
                    <a:pt x="173663" y="139387"/>
                    <a:pt x="174436" y="141218"/>
                  </a:cubicBezTo>
                  <a:lnTo>
                    <a:pt x="176510" y="146139"/>
                  </a:lnTo>
                  <a:cubicBezTo>
                    <a:pt x="176976" y="147251"/>
                    <a:pt x="177864" y="148094"/>
                    <a:pt x="178941" y="148516"/>
                  </a:cubicBezTo>
                  <a:cubicBezTo>
                    <a:pt x="179894" y="151968"/>
                    <a:pt x="181923" y="154126"/>
                    <a:pt x="183614" y="155917"/>
                  </a:cubicBezTo>
                  <a:cubicBezTo>
                    <a:pt x="183778" y="156091"/>
                    <a:pt x="183947" y="156270"/>
                    <a:pt x="184120" y="156448"/>
                  </a:cubicBezTo>
                  <a:lnTo>
                    <a:pt x="183158" y="159405"/>
                  </a:lnTo>
                  <a:lnTo>
                    <a:pt x="163532" y="169232"/>
                  </a:lnTo>
                  <a:cubicBezTo>
                    <a:pt x="163513" y="169242"/>
                    <a:pt x="163488" y="169252"/>
                    <a:pt x="163468" y="169267"/>
                  </a:cubicBezTo>
                  <a:cubicBezTo>
                    <a:pt x="157361" y="172517"/>
                    <a:pt x="153566" y="178812"/>
                    <a:pt x="153566" y="185688"/>
                  </a:cubicBezTo>
                  <a:lnTo>
                    <a:pt x="153566" y="201300"/>
                  </a:lnTo>
                  <a:cubicBezTo>
                    <a:pt x="153566" y="202942"/>
                    <a:pt x="154900" y="204277"/>
                    <a:pt x="156542" y="204277"/>
                  </a:cubicBezTo>
                  <a:lnTo>
                    <a:pt x="236141" y="204277"/>
                  </a:lnTo>
                  <a:cubicBezTo>
                    <a:pt x="237783" y="204277"/>
                    <a:pt x="239117" y="202942"/>
                    <a:pt x="239117" y="201300"/>
                  </a:cubicBezTo>
                  <a:lnTo>
                    <a:pt x="239117" y="185688"/>
                  </a:lnTo>
                  <a:cubicBezTo>
                    <a:pt x="239117" y="178812"/>
                    <a:pt x="235322" y="172522"/>
                    <a:pt x="229215" y="169272"/>
                  </a:cubicBezTo>
                  <a:close/>
                  <a:moveTo>
                    <a:pt x="189091" y="160407"/>
                  </a:moveTo>
                  <a:cubicBezTo>
                    <a:pt x="191075" y="161528"/>
                    <a:pt x="193402" y="162302"/>
                    <a:pt x="196155" y="162332"/>
                  </a:cubicBezTo>
                  <a:lnTo>
                    <a:pt x="196190" y="162332"/>
                  </a:lnTo>
                  <a:cubicBezTo>
                    <a:pt x="196190" y="162332"/>
                    <a:pt x="196210" y="162332"/>
                    <a:pt x="196225" y="162332"/>
                  </a:cubicBezTo>
                  <a:cubicBezTo>
                    <a:pt x="199137" y="162302"/>
                    <a:pt x="201578" y="161409"/>
                    <a:pt x="203552" y="160263"/>
                  </a:cubicBezTo>
                  <a:lnTo>
                    <a:pt x="204088" y="161915"/>
                  </a:lnTo>
                  <a:cubicBezTo>
                    <a:pt x="203875" y="166003"/>
                    <a:pt x="200491" y="169272"/>
                    <a:pt x="196349" y="169272"/>
                  </a:cubicBezTo>
                  <a:cubicBezTo>
                    <a:pt x="192207" y="169272"/>
                    <a:pt x="188823" y="166008"/>
                    <a:pt x="188610" y="161915"/>
                  </a:cubicBezTo>
                  <a:close/>
                  <a:moveTo>
                    <a:pt x="192713" y="106601"/>
                  </a:moveTo>
                  <a:cubicBezTo>
                    <a:pt x="196840" y="106154"/>
                    <a:pt x="200060" y="107657"/>
                    <a:pt x="203170" y="111472"/>
                  </a:cubicBezTo>
                  <a:cubicBezTo>
                    <a:pt x="203656" y="112073"/>
                    <a:pt x="204356" y="112455"/>
                    <a:pt x="205125" y="112549"/>
                  </a:cubicBezTo>
                  <a:cubicBezTo>
                    <a:pt x="208508" y="112956"/>
                    <a:pt x="213117" y="114518"/>
                    <a:pt x="214055" y="123359"/>
                  </a:cubicBezTo>
                  <a:cubicBezTo>
                    <a:pt x="214248" y="125169"/>
                    <a:pt x="213980" y="127094"/>
                    <a:pt x="213266" y="129113"/>
                  </a:cubicBezTo>
                  <a:cubicBezTo>
                    <a:pt x="212393" y="122724"/>
                    <a:pt x="208518" y="119688"/>
                    <a:pt x="204931" y="118254"/>
                  </a:cubicBezTo>
                  <a:cubicBezTo>
                    <a:pt x="203924" y="117852"/>
                    <a:pt x="202778" y="118026"/>
                    <a:pt x="201940" y="118715"/>
                  </a:cubicBezTo>
                  <a:cubicBezTo>
                    <a:pt x="199871" y="120407"/>
                    <a:pt x="197703" y="121454"/>
                    <a:pt x="196265" y="121454"/>
                  </a:cubicBezTo>
                  <a:cubicBezTo>
                    <a:pt x="196255" y="121454"/>
                    <a:pt x="196240" y="121454"/>
                    <a:pt x="196230" y="121454"/>
                  </a:cubicBezTo>
                  <a:cubicBezTo>
                    <a:pt x="196131" y="121449"/>
                    <a:pt x="196036" y="121454"/>
                    <a:pt x="195942" y="121464"/>
                  </a:cubicBezTo>
                  <a:cubicBezTo>
                    <a:pt x="192514" y="121756"/>
                    <a:pt x="184924" y="122406"/>
                    <a:pt x="181302" y="127987"/>
                  </a:cubicBezTo>
                  <a:cubicBezTo>
                    <a:pt x="180429" y="124053"/>
                    <a:pt x="179015" y="120923"/>
                    <a:pt x="176485" y="118120"/>
                  </a:cubicBezTo>
                  <a:cubicBezTo>
                    <a:pt x="181297" y="112708"/>
                    <a:pt x="187156" y="107201"/>
                    <a:pt x="192713" y="106601"/>
                  </a:cubicBezTo>
                  <a:close/>
                  <a:moveTo>
                    <a:pt x="181590" y="142875"/>
                  </a:moveTo>
                  <a:lnTo>
                    <a:pt x="179998" y="139095"/>
                  </a:lnTo>
                  <a:lnTo>
                    <a:pt x="182285" y="139095"/>
                  </a:lnTo>
                  <a:cubicBezTo>
                    <a:pt x="183093" y="139095"/>
                    <a:pt x="183867" y="138767"/>
                    <a:pt x="184428" y="138187"/>
                  </a:cubicBezTo>
                  <a:cubicBezTo>
                    <a:pt x="184988" y="137606"/>
                    <a:pt x="185291" y="136823"/>
                    <a:pt x="185261" y="136014"/>
                  </a:cubicBezTo>
                  <a:cubicBezTo>
                    <a:pt x="185063" y="130324"/>
                    <a:pt x="187856" y="128141"/>
                    <a:pt x="196314" y="127402"/>
                  </a:cubicBezTo>
                  <a:cubicBezTo>
                    <a:pt x="199281" y="127382"/>
                    <a:pt x="202138" y="125879"/>
                    <a:pt x="204148" y="124490"/>
                  </a:cubicBezTo>
                  <a:cubicBezTo>
                    <a:pt x="206325" y="125854"/>
                    <a:pt x="208315" y="128687"/>
                    <a:pt x="207159" y="135627"/>
                  </a:cubicBezTo>
                  <a:cubicBezTo>
                    <a:pt x="207015" y="136490"/>
                    <a:pt x="207258" y="137373"/>
                    <a:pt x="207824" y="138043"/>
                  </a:cubicBezTo>
                  <a:cubicBezTo>
                    <a:pt x="208389" y="138713"/>
                    <a:pt x="209223" y="139095"/>
                    <a:pt x="210096" y="139095"/>
                  </a:cubicBezTo>
                  <a:lnTo>
                    <a:pt x="212383" y="139095"/>
                  </a:lnTo>
                  <a:lnTo>
                    <a:pt x="210785" y="142875"/>
                  </a:lnTo>
                  <a:cubicBezTo>
                    <a:pt x="209327" y="142944"/>
                    <a:pt x="208126" y="144061"/>
                    <a:pt x="207967" y="145524"/>
                  </a:cubicBezTo>
                  <a:cubicBezTo>
                    <a:pt x="207675" y="148223"/>
                    <a:pt x="206440" y="149711"/>
                    <a:pt x="204435" y="151834"/>
                  </a:cubicBezTo>
                  <a:cubicBezTo>
                    <a:pt x="201900" y="154523"/>
                    <a:pt x="199529" y="156329"/>
                    <a:pt x="196190" y="156374"/>
                  </a:cubicBezTo>
                  <a:cubicBezTo>
                    <a:pt x="192856" y="156324"/>
                    <a:pt x="190480" y="154523"/>
                    <a:pt x="187945" y="151834"/>
                  </a:cubicBezTo>
                  <a:cubicBezTo>
                    <a:pt x="185941" y="149706"/>
                    <a:pt x="184706" y="148223"/>
                    <a:pt x="184413" y="145524"/>
                  </a:cubicBezTo>
                  <a:cubicBezTo>
                    <a:pt x="184249" y="144061"/>
                    <a:pt x="183049" y="142944"/>
                    <a:pt x="181590" y="142875"/>
                  </a:cubicBezTo>
                  <a:close/>
                  <a:moveTo>
                    <a:pt x="233164" y="198328"/>
                  </a:moveTo>
                  <a:lnTo>
                    <a:pt x="223570" y="198328"/>
                  </a:lnTo>
                  <a:lnTo>
                    <a:pt x="223570" y="189225"/>
                  </a:lnTo>
                  <a:cubicBezTo>
                    <a:pt x="223570" y="187583"/>
                    <a:pt x="222235" y="186248"/>
                    <a:pt x="220593" y="186248"/>
                  </a:cubicBezTo>
                  <a:cubicBezTo>
                    <a:pt x="218951" y="186248"/>
                    <a:pt x="217616" y="187583"/>
                    <a:pt x="217616" y="189225"/>
                  </a:cubicBezTo>
                  <a:lnTo>
                    <a:pt x="217616" y="198328"/>
                  </a:lnTo>
                  <a:lnTo>
                    <a:pt x="175067" y="198328"/>
                  </a:lnTo>
                  <a:lnTo>
                    <a:pt x="175067" y="189225"/>
                  </a:lnTo>
                  <a:cubicBezTo>
                    <a:pt x="175067" y="187583"/>
                    <a:pt x="173732" y="186248"/>
                    <a:pt x="172090" y="186248"/>
                  </a:cubicBezTo>
                  <a:cubicBezTo>
                    <a:pt x="170448" y="186248"/>
                    <a:pt x="169113" y="187583"/>
                    <a:pt x="169113" y="189225"/>
                  </a:cubicBezTo>
                  <a:lnTo>
                    <a:pt x="169113" y="198328"/>
                  </a:lnTo>
                  <a:lnTo>
                    <a:pt x="159519" y="198328"/>
                  </a:lnTo>
                  <a:lnTo>
                    <a:pt x="159519" y="185693"/>
                  </a:lnTo>
                  <a:cubicBezTo>
                    <a:pt x="159519" y="181030"/>
                    <a:pt x="162089" y="176763"/>
                    <a:pt x="166236" y="174541"/>
                  </a:cubicBezTo>
                  <a:lnTo>
                    <a:pt x="183376" y="165958"/>
                  </a:lnTo>
                  <a:cubicBezTo>
                    <a:pt x="185227" y="171346"/>
                    <a:pt x="190341" y="175225"/>
                    <a:pt x="196349" y="175225"/>
                  </a:cubicBezTo>
                  <a:cubicBezTo>
                    <a:pt x="202357" y="175225"/>
                    <a:pt x="207466" y="171341"/>
                    <a:pt x="209322" y="165958"/>
                  </a:cubicBezTo>
                  <a:lnTo>
                    <a:pt x="226462" y="174541"/>
                  </a:lnTo>
                  <a:cubicBezTo>
                    <a:pt x="230604" y="176758"/>
                    <a:pt x="233179" y="181030"/>
                    <a:pt x="233179" y="185693"/>
                  </a:cubicBezTo>
                  <a:lnTo>
                    <a:pt x="233179" y="198328"/>
                  </a:lnTo>
                  <a:close/>
                  <a:moveTo>
                    <a:pt x="101724" y="33109"/>
                  </a:moveTo>
                  <a:lnTo>
                    <a:pt x="107409" y="33109"/>
                  </a:lnTo>
                  <a:lnTo>
                    <a:pt x="107409" y="55731"/>
                  </a:lnTo>
                  <a:cubicBezTo>
                    <a:pt x="107409" y="57373"/>
                    <a:pt x="108744" y="58708"/>
                    <a:pt x="110386" y="58708"/>
                  </a:cubicBezTo>
                  <a:lnTo>
                    <a:pt x="128731" y="58708"/>
                  </a:lnTo>
                  <a:cubicBezTo>
                    <a:pt x="130373" y="58708"/>
                    <a:pt x="131708" y="57373"/>
                    <a:pt x="131708" y="55731"/>
                  </a:cubicBezTo>
                  <a:lnTo>
                    <a:pt x="131708" y="33109"/>
                  </a:lnTo>
                  <a:lnTo>
                    <a:pt x="137393" y="33109"/>
                  </a:lnTo>
                  <a:cubicBezTo>
                    <a:pt x="138490" y="33109"/>
                    <a:pt x="139492" y="32509"/>
                    <a:pt x="140013" y="31547"/>
                  </a:cubicBezTo>
                  <a:cubicBezTo>
                    <a:pt x="140533" y="30584"/>
                    <a:pt x="140484" y="29413"/>
                    <a:pt x="139879" y="28501"/>
                  </a:cubicBezTo>
                  <a:lnTo>
                    <a:pt x="122044" y="1344"/>
                  </a:lnTo>
                  <a:cubicBezTo>
                    <a:pt x="121493" y="506"/>
                    <a:pt x="120561" y="0"/>
                    <a:pt x="119559" y="0"/>
                  </a:cubicBezTo>
                  <a:cubicBezTo>
                    <a:pt x="118556" y="0"/>
                    <a:pt x="117619" y="506"/>
                    <a:pt x="117073" y="1344"/>
                  </a:cubicBezTo>
                  <a:lnTo>
                    <a:pt x="99239" y="28501"/>
                  </a:lnTo>
                  <a:cubicBezTo>
                    <a:pt x="98638" y="29413"/>
                    <a:pt x="98589" y="30584"/>
                    <a:pt x="99105" y="31547"/>
                  </a:cubicBezTo>
                  <a:cubicBezTo>
                    <a:pt x="99621" y="32509"/>
                    <a:pt x="100628" y="33109"/>
                    <a:pt x="101724" y="33109"/>
                  </a:cubicBezTo>
                  <a:close/>
                  <a:moveTo>
                    <a:pt x="119559" y="8399"/>
                  </a:moveTo>
                  <a:lnTo>
                    <a:pt x="131877" y="27156"/>
                  </a:lnTo>
                  <a:lnTo>
                    <a:pt x="128731" y="27156"/>
                  </a:lnTo>
                  <a:cubicBezTo>
                    <a:pt x="127089" y="27156"/>
                    <a:pt x="125755" y="28491"/>
                    <a:pt x="125755" y="30133"/>
                  </a:cubicBezTo>
                  <a:lnTo>
                    <a:pt x="125755" y="52755"/>
                  </a:lnTo>
                  <a:lnTo>
                    <a:pt x="113362" y="52755"/>
                  </a:lnTo>
                  <a:lnTo>
                    <a:pt x="113362" y="30133"/>
                  </a:lnTo>
                  <a:cubicBezTo>
                    <a:pt x="113362" y="28491"/>
                    <a:pt x="112028" y="27156"/>
                    <a:pt x="110386" y="27156"/>
                  </a:cubicBezTo>
                  <a:lnTo>
                    <a:pt x="107241" y="27156"/>
                  </a:lnTo>
                  <a:close/>
                  <a:moveTo>
                    <a:pt x="154216" y="129763"/>
                  </a:moveTo>
                  <a:lnTo>
                    <a:pt x="150659" y="125859"/>
                  </a:lnTo>
                  <a:cubicBezTo>
                    <a:pt x="151745" y="123825"/>
                    <a:pt x="152633" y="121687"/>
                    <a:pt x="153303" y="119484"/>
                  </a:cubicBezTo>
                  <a:lnTo>
                    <a:pt x="158576" y="119241"/>
                  </a:lnTo>
                  <a:cubicBezTo>
                    <a:pt x="161345" y="119112"/>
                    <a:pt x="163517" y="116840"/>
                    <a:pt x="163517" y="114072"/>
                  </a:cubicBezTo>
                  <a:lnTo>
                    <a:pt x="163517" y="104423"/>
                  </a:lnTo>
                  <a:cubicBezTo>
                    <a:pt x="163517" y="101650"/>
                    <a:pt x="161350" y="99377"/>
                    <a:pt x="158581" y="99253"/>
                  </a:cubicBezTo>
                  <a:lnTo>
                    <a:pt x="153308" y="99010"/>
                  </a:lnTo>
                  <a:cubicBezTo>
                    <a:pt x="152643" y="96808"/>
                    <a:pt x="151755" y="94670"/>
                    <a:pt x="150664" y="92636"/>
                  </a:cubicBezTo>
                  <a:lnTo>
                    <a:pt x="154226" y="88726"/>
                  </a:lnTo>
                  <a:cubicBezTo>
                    <a:pt x="156091" y="86678"/>
                    <a:pt x="156017" y="83537"/>
                    <a:pt x="154057" y="81578"/>
                  </a:cubicBezTo>
                  <a:lnTo>
                    <a:pt x="147236" y="74756"/>
                  </a:lnTo>
                  <a:cubicBezTo>
                    <a:pt x="145276" y="72797"/>
                    <a:pt x="142136" y="72722"/>
                    <a:pt x="140087" y="74593"/>
                  </a:cubicBezTo>
                  <a:lnTo>
                    <a:pt x="136183" y="78150"/>
                  </a:lnTo>
                  <a:cubicBezTo>
                    <a:pt x="134149" y="77063"/>
                    <a:pt x="132011" y="76175"/>
                    <a:pt x="129808" y="75505"/>
                  </a:cubicBezTo>
                  <a:lnTo>
                    <a:pt x="129565" y="70232"/>
                  </a:lnTo>
                  <a:cubicBezTo>
                    <a:pt x="129436" y="67464"/>
                    <a:pt x="127164" y="65291"/>
                    <a:pt x="124396" y="65291"/>
                  </a:cubicBezTo>
                  <a:lnTo>
                    <a:pt x="114746" y="65291"/>
                  </a:lnTo>
                  <a:cubicBezTo>
                    <a:pt x="111973" y="65291"/>
                    <a:pt x="109701" y="67459"/>
                    <a:pt x="109577" y="70227"/>
                  </a:cubicBezTo>
                  <a:lnTo>
                    <a:pt x="109334" y="75501"/>
                  </a:lnTo>
                  <a:cubicBezTo>
                    <a:pt x="107131" y="76170"/>
                    <a:pt x="104993" y="77053"/>
                    <a:pt x="102959" y="78145"/>
                  </a:cubicBezTo>
                  <a:lnTo>
                    <a:pt x="99050" y="74583"/>
                  </a:lnTo>
                  <a:cubicBezTo>
                    <a:pt x="97001" y="72717"/>
                    <a:pt x="93861" y="72787"/>
                    <a:pt x="91901" y="74751"/>
                  </a:cubicBezTo>
                  <a:lnTo>
                    <a:pt x="85080" y="81573"/>
                  </a:lnTo>
                  <a:cubicBezTo>
                    <a:pt x="83121" y="83532"/>
                    <a:pt x="83046" y="86673"/>
                    <a:pt x="84916" y="88721"/>
                  </a:cubicBezTo>
                  <a:lnTo>
                    <a:pt x="88478" y="92626"/>
                  </a:lnTo>
                  <a:cubicBezTo>
                    <a:pt x="87392" y="94660"/>
                    <a:pt x="86504" y="96798"/>
                    <a:pt x="85834" y="99000"/>
                  </a:cubicBezTo>
                  <a:lnTo>
                    <a:pt x="80561" y="99244"/>
                  </a:lnTo>
                  <a:cubicBezTo>
                    <a:pt x="77792" y="99373"/>
                    <a:pt x="75625" y="101645"/>
                    <a:pt x="75625" y="104413"/>
                  </a:cubicBezTo>
                  <a:lnTo>
                    <a:pt x="75625" y="114062"/>
                  </a:lnTo>
                  <a:cubicBezTo>
                    <a:pt x="75625" y="116835"/>
                    <a:pt x="77792" y="119107"/>
                    <a:pt x="80561" y="119231"/>
                  </a:cubicBezTo>
                  <a:lnTo>
                    <a:pt x="85834" y="119474"/>
                  </a:lnTo>
                  <a:cubicBezTo>
                    <a:pt x="86504" y="121677"/>
                    <a:pt x="87387" y="123815"/>
                    <a:pt x="88478" y="125849"/>
                  </a:cubicBezTo>
                  <a:lnTo>
                    <a:pt x="84916" y="129758"/>
                  </a:lnTo>
                  <a:cubicBezTo>
                    <a:pt x="83051" y="131807"/>
                    <a:pt x="83125" y="134947"/>
                    <a:pt x="85085" y="136907"/>
                  </a:cubicBezTo>
                  <a:lnTo>
                    <a:pt x="91906" y="143728"/>
                  </a:lnTo>
                  <a:cubicBezTo>
                    <a:pt x="93866" y="145688"/>
                    <a:pt x="97006" y="145762"/>
                    <a:pt x="99055" y="143892"/>
                  </a:cubicBezTo>
                  <a:lnTo>
                    <a:pt x="102959" y="140335"/>
                  </a:lnTo>
                  <a:cubicBezTo>
                    <a:pt x="104993" y="141421"/>
                    <a:pt x="107131" y="142309"/>
                    <a:pt x="109334" y="142979"/>
                  </a:cubicBezTo>
                  <a:lnTo>
                    <a:pt x="109577" y="148253"/>
                  </a:lnTo>
                  <a:cubicBezTo>
                    <a:pt x="109706" y="151021"/>
                    <a:pt x="111978" y="153194"/>
                    <a:pt x="114746" y="153194"/>
                  </a:cubicBezTo>
                  <a:lnTo>
                    <a:pt x="124396" y="153194"/>
                  </a:lnTo>
                  <a:cubicBezTo>
                    <a:pt x="127169" y="153194"/>
                    <a:pt x="129441" y="151026"/>
                    <a:pt x="129565" y="148258"/>
                  </a:cubicBezTo>
                  <a:lnTo>
                    <a:pt x="129808" y="142984"/>
                  </a:lnTo>
                  <a:cubicBezTo>
                    <a:pt x="132011" y="142314"/>
                    <a:pt x="134149" y="141431"/>
                    <a:pt x="136183" y="140340"/>
                  </a:cubicBezTo>
                  <a:lnTo>
                    <a:pt x="140092" y="143902"/>
                  </a:lnTo>
                  <a:cubicBezTo>
                    <a:pt x="142141" y="145767"/>
                    <a:pt x="145281" y="145698"/>
                    <a:pt x="147241" y="143733"/>
                  </a:cubicBezTo>
                  <a:lnTo>
                    <a:pt x="154062" y="136912"/>
                  </a:lnTo>
                  <a:cubicBezTo>
                    <a:pt x="156007" y="134952"/>
                    <a:pt x="156081" y="131812"/>
                    <a:pt x="154216" y="129763"/>
                  </a:cubicBezTo>
                  <a:close/>
                  <a:moveTo>
                    <a:pt x="143540" y="139001"/>
                  </a:moveTo>
                  <a:lnTo>
                    <a:pt x="139774" y="135568"/>
                  </a:lnTo>
                  <a:cubicBezTo>
                    <a:pt x="138127" y="134069"/>
                    <a:pt x="135716" y="133787"/>
                    <a:pt x="133772" y="134868"/>
                  </a:cubicBezTo>
                  <a:cubicBezTo>
                    <a:pt x="131827" y="135950"/>
                    <a:pt x="129758" y="136808"/>
                    <a:pt x="127630" y="137418"/>
                  </a:cubicBezTo>
                  <a:cubicBezTo>
                    <a:pt x="125492" y="138028"/>
                    <a:pt x="123984" y="139933"/>
                    <a:pt x="123880" y="142156"/>
                  </a:cubicBezTo>
                  <a:lnTo>
                    <a:pt x="123641" y="147246"/>
                  </a:lnTo>
                  <a:lnTo>
                    <a:pt x="115476" y="147246"/>
                  </a:lnTo>
                  <a:lnTo>
                    <a:pt x="115238" y="142161"/>
                  </a:lnTo>
                  <a:cubicBezTo>
                    <a:pt x="115133" y="139938"/>
                    <a:pt x="113630" y="138033"/>
                    <a:pt x="111487" y="137423"/>
                  </a:cubicBezTo>
                  <a:cubicBezTo>
                    <a:pt x="109354" y="136813"/>
                    <a:pt x="107285" y="135955"/>
                    <a:pt x="105346" y="134878"/>
                  </a:cubicBezTo>
                  <a:cubicBezTo>
                    <a:pt x="103401" y="133796"/>
                    <a:pt x="100990" y="134074"/>
                    <a:pt x="99343" y="135577"/>
                  </a:cubicBezTo>
                  <a:lnTo>
                    <a:pt x="95577" y="139010"/>
                  </a:lnTo>
                  <a:lnTo>
                    <a:pt x="89803" y="133236"/>
                  </a:lnTo>
                  <a:lnTo>
                    <a:pt x="93236" y="129471"/>
                  </a:lnTo>
                  <a:cubicBezTo>
                    <a:pt x="94734" y="127824"/>
                    <a:pt x="95017" y="125413"/>
                    <a:pt x="93935" y="123468"/>
                  </a:cubicBezTo>
                  <a:cubicBezTo>
                    <a:pt x="92854" y="121523"/>
                    <a:pt x="91996" y="119454"/>
                    <a:pt x="91385" y="117326"/>
                  </a:cubicBezTo>
                  <a:cubicBezTo>
                    <a:pt x="90775" y="115188"/>
                    <a:pt x="88870" y="113680"/>
                    <a:pt x="86648" y="113576"/>
                  </a:cubicBezTo>
                  <a:lnTo>
                    <a:pt x="81558" y="113338"/>
                  </a:lnTo>
                  <a:lnTo>
                    <a:pt x="81558" y="105172"/>
                  </a:lnTo>
                  <a:lnTo>
                    <a:pt x="86648" y="104934"/>
                  </a:lnTo>
                  <a:cubicBezTo>
                    <a:pt x="88870" y="104830"/>
                    <a:pt x="90775" y="103326"/>
                    <a:pt x="91385" y="101183"/>
                  </a:cubicBezTo>
                  <a:cubicBezTo>
                    <a:pt x="91996" y="99050"/>
                    <a:pt x="92854" y="96986"/>
                    <a:pt x="93935" y="95042"/>
                  </a:cubicBezTo>
                  <a:cubicBezTo>
                    <a:pt x="95017" y="93097"/>
                    <a:pt x="94739" y="90681"/>
                    <a:pt x="93236" y="89039"/>
                  </a:cubicBezTo>
                  <a:lnTo>
                    <a:pt x="89803" y="85274"/>
                  </a:lnTo>
                  <a:lnTo>
                    <a:pt x="95577" y="79499"/>
                  </a:lnTo>
                  <a:lnTo>
                    <a:pt x="99343" y="82932"/>
                  </a:lnTo>
                  <a:cubicBezTo>
                    <a:pt x="100990" y="84430"/>
                    <a:pt x="103401" y="84713"/>
                    <a:pt x="105346" y="83631"/>
                  </a:cubicBezTo>
                  <a:cubicBezTo>
                    <a:pt x="107290" y="82550"/>
                    <a:pt x="109359" y="81692"/>
                    <a:pt x="111492" y="81082"/>
                  </a:cubicBezTo>
                  <a:cubicBezTo>
                    <a:pt x="113630" y="80471"/>
                    <a:pt x="115138" y="78566"/>
                    <a:pt x="115238" y="76344"/>
                  </a:cubicBezTo>
                  <a:lnTo>
                    <a:pt x="115476" y="71254"/>
                  </a:lnTo>
                  <a:lnTo>
                    <a:pt x="123641" y="71254"/>
                  </a:lnTo>
                  <a:lnTo>
                    <a:pt x="123880" y="76339"/>
                  </a:lnTo>
                  <a:cubicBezTo>
                    <a:pt x="123984" y="78561"/>
                    <a:pt x="125487" y="80466"/>
                    <a:pt x="127630" y="81077"/>
                  </a:cubicBezTo>
                  <a:cubicBezTo>
                    <a:pt x="129763" y="81687"/>
                    <a:pt x="131827" y="82545"/>
                    <a:pt x="133772" y="83622"/>
                  </a:cubicBezTo>
                  <a:cubicBezTo>
                    <a:pt x="135716" y="84703"/>
                    <a:pt x="138127" y="84425"/>
                    <a:pt x="139774" y="82922"/>
                  </a:cubicBezTo>
                  <a:lnTo>
                    <a:pt x="143540" y="79489"/>
                  </a:lnTo>
                  <a:lnTo>
                    <a:pt x="149314" y="85264"/>
                  </a:lnTo>
                  <a:lnTo>
                    <a:pt x="145881" y="89029"/>
                  </a:lnTo>
                  <a:cubicBezTo>
                    <a:pt x="144383" y="90676"/>
                    <a:pt x="144100" y="93087"/>
                    <a:pt x="145182" y="95032"/>
                  </a:cubicBezTo>
                  <a:cubicBezTo>
                    <a:pt x="146263" y="96976"/>
                    <a:pt x="147122" y="99045"/>
                    <a:pt x="147732" y="101173"/>
                  </a:cubicBezTo>
                  <a:cubicBezTo>
                    <a:pt x="148342" y="103312"/>
                    <a:pt x="150247" y="104820"/>
                    <a:pt x="152469" y="104919"/>
                  </a:cubicBezTo>
                  <a:lnTo>
                    <a:pt x="157559" y="105157"/>
                  </a:lnTo>
                  <a:lnTo>
                    <a:pt x="157559" y="113323"/>
                  </a:lnTo>
                  <a:lnTo>
                    <a:pt x="152474" y="113561"/>
                  </a:lnTo>
                  <a:cubicBezTo>
                    <a:pt x="150252" y="113665"/>
                    <a:pt x="148347" y="115168"/>
                    <a:pt x="147737" y="117311"/>
                  </a:cubicBezTo>
                  <a:cubicBezTo>
                    <a:pt x="147127" y="119444"/>
                    <a:pt x="146268" y="121513"/>
                    <a:pt x="145192" y="123453"/>
                  </a:cubicBezTo>
                  <a:cubicBezTo>
                    <a:pt x="144110" y="125398"/>
                    <a:pt x="144388" y="127809"/>
                    <a:pt x="145891" y="129456"/>
                  </a:cubicBezTo>
                  <a:lnTo>
                    <a:pt x="149324" y="133221"/>
                  </a:lnTo>
                  <a:close/>
                  <a:moveTo>
                    <a:pt x="103485" y="93171"/>
                  </a:moveTo>
                  <a:cubicBezTo>
                    <a:pt x="99194" y="97463"/>
                    <a:pt x="96828" y="103173"/>
                    <a:pt x="96828" y="109245"/>
                  </a:cubicBezTo>
                  <a:cubicBezTo>
                    <a:pt x="96828" y="115317"/>
                    <a:pt x="99194" y="121027"/>
                    <a:pt x="103485" y="125318"/>
                  </a:cubicBezTo>
                  <a:cubicBezTo>
                    <a:pt x="107915" y="129748"/>
                    <a:pt x="113739" y="131966"/>
                    <a:pt x="119559" y="131966"/>
                  </a:cubicBezTo>
                  <a:cubicBezTo>
                    <a:pt x="125378" y="131966"/>
                    <a:pt x="131202" y="129748"/>
                    <a:pt x="135632" y="125318"/>
                  </a:cubicBezTo>
                  <a:cubicBezTo>
                    <a:pt x="139928" y="121027"/>
                    <a:pt x="142290" y="115317"/>
                    <a:pt x="142290" y="109245"/>
                  </a:cubicBezTo>
                  <a:cubicBezTo>
                    <a:pt x="142290" y="103173"/>
                    <a:pt x="139923" y="97463"/>
                    <a:pt x="135632" y="93171"/>
                  </a:cubicBezTo>
                  <a:cubicBezTo>
                    <a:pt x="126772" y="84306"/>
                    <a:pt x="112345" y="84306"/>
                    <a:pt x="103485" y="93171"/>
                  </a:cubicBezTo>
                  <a:close/>
                  <a:moveTo>
                    <a:pt x="131425" y="121106"/>
                  </a:moveTo>
                  <a:cubicBezTo>
                    <a:pt x="124882" y="127650"/>
                    <a:pt x="114240" y="127650"/>
                    <a:pt x="107697" y="121106"/>
                  </a:cubicBezTo>
                  <a:cubicBezTo>
                    <a:pt x="104527" y="117936"/>
                    <a:pt x="102781" y="113725"/>
                    <a:pt x="102781" y="109240"/>
                  </a:cubicBezTo>
                  <a:cubicBezTo>
                    <a:pt x="102781" y="104755"/>
                    <a:pt x="104527" y="100543"/>
                    <a:pt x="107697" y="97373"/>
                  </a:cubicBezTo>
                  <a:cubicBezTo>
                    <a:pt x="110867" y="94203"/>
                    <a:pt x="115079" y="92457"/>
                    <a:pt x="119564" y="92457"/>
                  </a:cubicBezTo>
                  <a:cubicBezTo>
                    <a:pt x="124048" y="92457"/>
                    <a:pt x="128260" y="94203"/>
                    <a:pt x="131430" y="97373"/>
                  </a:cubicBezTo>
                  <a:cubicBezTo>
                    <a:pt x="134600" y="100543"/>
                    <a:pt x="136346" y="104755"/>
                    <a:pt x="136346" y="109240"/>
                  </a:cubicBezTo>
                  <a:cubicBezTo>
                    <a:pt x="136346" y="113725"/>
                    <a:pt x="134590" y="117936"/>
                    <a:pt x="131425" y="121106"/>
                  </a:cubicBezTo>
                  <a:close/>
                </a:path>
              </a:pathLst>
            </a:custGeom>
            <a:solidFill>
              <a:schemeClr val="bg1"/>
            </a:solid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132" name="Group 131">
            <a:extLst>
              <a:ext uri="{FF2B5EF4-FFF2-40B4-BE49-F238E27FC236}">
                <a16:creationId xmlns:a16="http://schemas.microsoft.com/office/drawing/2014/main" id="{C8FA1B12-1301-00E3-30D3-1CFF04D5121B}"/>
              </a:ext>
            </a:extLst>
          </p:cNvPr>
          <p:cNvGrpSpPr/>
          <p:nvPr/>
        </p:nvGrpSpPr>
        <p:grpSpPr>
          <a:xfrm>
            <a:off x="7936609" y="4636736"/>
            <a:ext cx="457200" cy="457200"/>
            <a:chOff x="7936609" y="5270076"/>
            <a:chExt cx="457200" cy="457200"/>
          </a:xfrm>
        </p:grpSpPr>
        <p:sp>
          <p:nvSpPr>
            <p:cNvPr id="133" name="Oval 132">
              <a:extLst>
                <a:ext uri="{FF2B5EF4-FFF2-40B4-BE49-F238E27FC236}">
                  <a16:creationId xmlns:a16="http://schemas.microsoft.com/office/drawing/2014/main" id="{210FDF3A-C395-65C0-C2C7-45B0F2B93355}"/>
                </a:ext>
              </a:extLst>
            </p:cNvPr>
            <p:cNvSpPr>
              <a:spLocks noChangeAspect="1"/>
            </p:cNvSpPr>
            <p:nvPr/>
          </p:nvSpPr>
          <p:spPr>
            <a:xfrm>
              <a:off x="7936609" y="5270076"/>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grpSp>
          <p:nvGrpSpPr>
            <p:cNvPr id="134" name="Pic">
              <a:extLst>
                <a:ext uri="{FF2B5EF4-FFF2-40B4-BE49-F238E27FC236}">
                  <a16:creationId xmlns:a16="http://schemas.microsoft.com/office/drawing/2014/main" id="{5305B3DA-3C13-0DBA-F449-375AB95C7E76}"/>
                </a:ext>
              </a:extLst>
            </p:cNvPr>
            <p:cNvGrpSpPr>
              <a:grpSpLocks noChangeAspect="1"/>
            </p:cNvGrpSpPr>
            <p:nvPr/>
          </p:nvGrpSpPr>
          <p:grpSpPr>
            <a:xfrm>
              <a:off x="8058622" y="5400301"/>
              <a:ext cx="213174" cy="196750"/>
              <a:chOff x="7476826" y="1749474"/>
              <a:chExt cx="213174" cy="196750"/>
            </a:xfrm>
            <a:solidFill>
              <a:schemeClr val="bg1"/>
            </a:solidFill>
          </p:grpSpPr>
          <p:grpSp>
            <p:nvGrpSpPr>
              <p:cNvPr id="135" name="Pic">
                <a:extLst>
                  <a:ext uri="{FF2B5EF4-FFF2-40B4-BE49-F238E27FC236}">
                    <a16:creationId xmlns:a16="http://schemas.microsoft.com/office/drawing/2014/main" id="{23DD71BE-E1C1-AA8C-A33A-6122E2075892}"/>
                  </a:ext>
                </a:extLst>
              </p:cNvPr>
              <p:cNvGrpSpPr/>
              <p:nvPr/>
            </p:nvGrpSpPr>
            <p:grpSpPr>
              <a:xfrm>
                <a:off x="7476826" y="1749479"/>
                <a:ext cx="213174" cy="196745"/>
                <a:chOff x="7476826" y="1749479"/>
                <a:chExt cx="213174" cy="196745"/>
              </a:xfrm>
              <a:grpFill/>
            </p:grpSpPr>
            <p:sp>
              <p:nvSpPr>
                <p:cNvPr id="141" name="Freeform: Shape 140">
                  <a:extLst>
                    <a:ext uri="{FF2B5EF4-FFF2-40B4-BE49-F238E27FC236}">
                      <a16:creationId xmlns:a16="http://schemas.microsoft.com/office/drawing/2014/main" id="{F0112019-A8BD-7E46-2F72-009DD03FF87A}"/>
                    </a:ext>
                  </a:extLst>
                </p:cNvPr>
                <p:cNvSpPr/>
                <p:nvPr/>
              </p:nvSpPr>
              <p:spPr>
                <a:xfrm>
                  <a:off x="7599958" y="1814401"/>
                  <a:ext cx="64982" cy="104885"/>
                </a:xfrm>
                <a:custGeom>
                  <a:avLst/>
                  <a:gdLst>
                    <a:gd name="csX0" fmla="*/ 2431 w 64982"/>
                    <a:gd name="csY0" fmla="*/ 104886 h 104885"/>
                    <a:gd name="csX1" fmla="*/ 0 w 64982"/>
                    <a:gd name="csY1" fmla="*/ 102455 h 104885"/>
                    <a:gd name="csX2" fmla="*/ 0 w 64982"/>
                    <a:gd name="csY2" fmla="*/ 89308 h 104885"/>
                    <a:gd name="csX3" fmla="*/ 13494 w 64982"/>
                    <a:gd name="csY3" fmla="*/ 46744 h 104885"/>
                    <a:gd name="csX4" fmla="*/ 13891 w 64982"/>
                    <a:gd name="csY4" fmla="*/ 46148 h 104885"/>
                    <a:gd name="csX5" fmla="*/ 14387 w 64982"/>
                    <a:gd name="csY5" fmla="*/ 45454 h 104885"/>
                    <a:gd name="csX6" fmla="*/ 45889 w 64982"/>
                    <a:gd name="csY6" fmla="*/ 3583 h 104885"/>
                    <a:gd name="csX7" fmla="*/ 46137 w 64982"/>
                    <a:gd name="csY7" fmla="*/ 3286 h 104885"/>
                    <a:gd name="csX8" fmla="*/ 55563 w 64982"/>
                    <a:gd name="csY8" fmla="*/ 111 h 104885"/>
                    <a:gd name="csX9" fmla="*/ 55711 w 64982"/>
                    <a:gd name="csY9" fmla="*/ 160 h 104885"/>
                    <a:gd name="csX10" fmla="*/ 56803 w 64982"/>
                    <a:gd name="csY10" fmla="*/ 408 h 104885"/>
                    <a:gd name="csX11" fmla="*/ 60176 w 64982"/>
                    <a:gd name="csY11" fmla="*/ 1946 h 104885"/>
                    <a:gd name="csX12" fmla="*/ 63302 w 64982"/>
                    <a:gd name="csY12" fmla="*/ 16879 h 104885"/>
                    <a:gd name="csX13" fmla="*/ 41573 w 64982"/>
                    <a:gd name="csY13" fmla="*/ 52002 h 104885"/>
                    <a:gd name="csX14" fmla="*/ 38249 w 64982"/>
                    <a:gd name="csY14" fmla="*/ 52796 h 104885"/>
                    <a:gd name="csX15" fmla="*/ 37455 w 64982"/>
                    <a:gd name="csY15" fmla="*/ 49472 h 104885"/>
                    <a:gd name="csX16" fmla="*/ 59234 w 64982"/>
                    <a:gd name="csY16" fmla="*/ 14398 h 104885"/>
                    <a:gd name="csX17" fmla="*/ 57448 w 64982"/>
                    <a:gd name="csY17" fmla="*/ 6014 h 104885"/>
                    <a:gd name="csX18" fmla="*/ 55513 w 64982"/>
                    <a:gd name="csY18" fmla="*/ 5121 h 104885"/>
                    <a:gd name="csX19" fmla="*/ 55364 w 64982"/>
                    <a:gd name="csY19" fmla="*/ 5072 h 104885"/>
                    <a:gd name="csX20" fmla="*/ 54918 w 64982"/>
                    <a:gd name="csY20" fmla="*/ 4972 h 104885"/>
                    <a:gd name="csX21" fmla="*/ 54769 w 64982"/>
                    <a:gd name="csY21" fmla="*/ 4972 h 104885"/>
                    <a:gd name="csX22" fmla="*/ 49659 w 64982"/>
                    <a:gd name="csY22" fmla="*/ 6659 h 104885"/>
                    <a:gd name="csX23" fmla="*/ 18306 w 64982"/>
                    <a:gd name="csY23" fmla="*/ 48381 h 104885"/>
                    <a:gd name="csX24" fmla="*/ 17909 w 64982"/>
                    <a:gd name="csY24" fmla="*/ 48926 h 104885"/>
                    <a:gd name="csX25" fmla="*/ 17462 w 64982"/>
                    <a:gd name="csY25" fmla="*/ 49571 h 104885"/>
                    <a:gd name="csX26" fmla="*/ 4911 w 64982"/>
                    <a:gd name="csY26" fmla="*/ 89259 h 104885"/>
                    <a:gd name="csX27" fmla="*/ 4911 w 64982"/>
                    <a:gd name="csY27" fmla="*/ 102405 h 104885"/>
                    <a:gd name="csX28" fmla="*/ 2431 w 64982"/>
                    <a:gd name="csY28" fmla="*/ 104886 h 10488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Lst>
                  <a:rect l="l" t="t" r="r" b="b"/>
                  <a:pathLst>
                    <a:path w="64982" h="104885">
                      <a:moveTo>
                        <a:pt x="2431" y="104886"/>
                      </a:moveTo>
                      <a:cubicBezTo>
                        <a:pt x="1091" y="104886"/>
                        <a:pt x="0" y="103794"/>
                        <a:pt x="0" y="102455"/>
                      </a:cubicBezTo>
                      <a:lnTo>
                        <a:pt x="0" y="89308"/>
                      </a:lnTo>
                      <a:cubicBezTo>
                        <a:pt x="0" y="73681"/>
                        <a:pt x="4663" y="58947"/>
                        <a:pt x="13494" y="46744"/>
                      </a:cubicBezTo>
                      <a:cubicBezTo>
                        <a:pt x="13643" y="46495"/>
                        <a:pt x="13791" y="46347"/>
                        <a:pt x="13891" y="46148"/>
                      </a:cubicBezTo>
                      <a:cubicBezTo>
                        <a:pt x="14089" y="45900"/>
                        <a:pt x="14188" y="45702"/>
                        <a:pt x="14387" y="45454"/>
                      </a:cubicBezTo>
                      <a:lnTo>
                        <a:pt x="45889" y="3583"/>
                      </a:lnTo>
                      <a:cubicBezTo>
                        <a:pt x="45938" y="3484"/>
                        <a:pt x="46037" y="3385"/>
                        <a:pt x="46137" y="3286"/>
                      </a:cubicBezTo>
                      <a:cubicBezTo>
                        <a:pt x="48617" y="805"/>
                        <a:pt x="52139" y="-385"/>
                        <a:pt x="55563" y="111"/>
                      </a:cubicBezTo>
                      <a:lnTo>
                        <a:pt x="55711" y="160"/>
                      </a:lnTo>
                      <a:cubicBezTo>
                        <a:pt x="56009" y="210"/>
                        <a:pt x="56406" y="260"/>
                        <a:pt x="56803" y="408"/>
                      </a:cubicBezTo>
                      <a:cubicBezTo>
                        <a:pt x="58093" y="706"/>
                        <a:pt x="59184" y="1301"/>
                        <a:pt x="60176" y="1946"/>
                      </a:cubicBezTo>
                      <a:cubicBezTo>
                        <a:pt x="65087" y="5270"/>
                        <a:pt x="66427" y="11819"/>
                        <a:pt x="63302" y="16879"/>
                      </a:cubicBezTo>
                      <a:lnTo>
                        <a:pt x="41573" y="52002"/>
                      </a:lnTo>
                      <a:cubicBezTo>
                        <a:pt x="40878" y="53143"/>
                        <a:pt x="39390" y="53490"/>
                        <a:pt x="38249" y="52796"/>
                      </a:cubicBezTo>
                      <a:cubicBezTo>
                        <a:pt x="37108" y="52101"/>
                        <a:pt x="36761" y="50613"/>
                        <a:pt x="37455" y="49472"/>
                      </a:cubicBezTo>
                      <a:lnTo>
                        <a:pt x="59234" y="14398"/>
                      </a:lnTo>
                      <a:cubicBezTo>
                        <a:pt x="60970" y="11620"/>
                        <a:pt x="60176" y="7899"/>
                        <a:pt x="57448" y="6014"/>
                      </a:cubicBezTo>
                      <a:cubicBezTo>
                        <a:pt x="56902" y="5617"/>
                        <a:pt x="56257" y="5320"/>
                        <a:pt x="55513" y="5121"/>
                      </a:cubicBezTo>
                      <a:cubicBezTo>
                        <a:pt x="55463" y="5121"/>
                        <a:pt x="55414" y="5072"/>
                        <a:pt x="55364" y="5072"/>
                      </a:cubicBezTo>
                      <a:cubicBezTo>
                        <a:pt x="55265" y="5022"/>
                        <a:pt x="55066" y="5022"/>
                        <a:pt x="54918" y="4972"/>
                      </a:cubicBezTo>
                      <a:lnTo>
                        <a:pt x="54769" y="4972"/>
                      </a:lnTo>
                      <a:cubicBezTo>
                        <a:pt x="52933" y="4675"/>
                        <a:pt x="50998" y="5320"/>
                        <a:pt x="49659" y="6659"/>
                      </a:cubicBezTo>
                      <a:lnTo>
                        <a:pt x="18306" y="48381"/>
                      </a:lnTo>
                      <a:cubicBezTo>
                        <a:pt x="18157" y="48579"/>
                        <a:pt x="18008" y="48728"/>
                        <a:pt x="17909" y="48926"/>
                      </a:cubicBezTo>
                      <a:cubicBezTo>
                        <a:pt x="17760" y="49174"/>
                        <a:pt x="17611" y="49373"/>
                        <a:pt x="17462" y="49571"/>
                      </a:cubicBezTo>
                      <a:cubicBezTo>
                        <a:pt x="9277" y="60932"/>
                        <a:pt x="4911" y="74624"/>
                        <a:pt x="4911" y="89259"/>
                      </a:cubicBezTo>
                      <a:lnTo>
                        <a:pt x="4911" y="102405"/>
                      </a:lnTo>
                      <a:cubicBezTo>
                        <a:pt x="4862" y="103794"/>
                        <a:pt x="3770" y="104886"/>
                        <a:pt x="2431" y="104886"/>
                      </a:cubicBezTo>
                      <a:close/>
                    </a:path>
                  </a:pathLst>
                </a:custGeom>
                <a:grp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2" name="Freeform: Shape 141">
                  <a:extLst>
                    <a:ext uri="{FF2B5EF4-FFF2-40B4-BE49-F238E27FC236}">
                      <a16:creationId xmlns:a16="http://schemas.microsoft.com/office/drawing/2014/main" id="{E5D12845-3644-7935-C839-5CFFD60ADDBF}"/>
                    </a:ext>
                  </a:extLst>
                </p:cNvPr>
                <p:cNvSpPr/>
                <p:nvPr/>
              </p:nvSpPr>
              <p:spPr>
                <a:xfrm>
                  <a:off x="7646442" y="1749549"/>
                  <a:ext cx="43558" cy="169787"/>
                </a:xfrm>
                <a:custGeom>
                  <a:avLst/>
                  <a:gdLst>
                    <a:gd name="csX0" fmla="*/ 2431 w 43558"/>
                    <a:gd name="csY0" fmla="*/ 169788 h 169787"/>
                    <a:gd name="csX1" fmla="*/ 0 w 43558"/>
                    <a:gd name="csY1" fmla="*/ 167357 h 169787"/>
                    <a:gd name="csX2" fmla="*/ 0 w 43558"/>
                    <a:gd name="csY2" fmla="*/ 159420 h 169787"/>
                    <a:gd name="csX3" fmla="*/ 4961 w 43558"/>
                    <a:gd name="csY3" fmla="*/ 143247 h 169787"/>
                    <a:gd name="csX4" fmla="*/ 5011 w 43558"/>
                    <a:gd name="csY4" fmla="*/ 143148 h 169787"/>
                    <a:gd name="csX5" fmla="*/ 5159 w 43558"/>
                    <a:gd name="csY5" fmla="*/ 142949 h 169787"/>
                    <a:gd name="csX6" fmla="*/ 32891 w 43558"/>
                    <a:gd name="csY6" fmla="*/ 103609 h 169787"/>
                    <a:gd name="csX7" fmla="*/ 32941 w 43558"/>
                    <a:gd name="csY7" fmla="*/ 103559 h 169787"/>
                    <a:gd name="csX8" fmla="*/ 38398 w 43558"/>
                    <a:gd name="csY8" fmla="*/ 79846 h 169787"/>
                    <a:gd name="csX9" fmla="*/ 24854 w 43558"/>
                    <a:gd name="csY9" fmla="*/ 10641 h 169787"/>
                    <a:gd name="csX10" fmla="*/ 21729 w 43558"/>
                    <a:gd name="csY10" fmla="*/ 6027 h 169787"/>
                    <a:gd name="csX11" fmla="*/ 16222 w 43558"/>
                    <a:gd name="csY11" fmla="*/ 4986 h 169787"/>
                    <a:gd name="csX12" fmla="*/ 10666 w 43558"/>
                    <a:gd name="csY12" fmla="*/ 10244 h 169787"/>
                    <a:gd name="csX13" fmla="*/ 10666 w 43558"/>
                    <a:gd name="csY13" fmla="*/ 10294 h 169787"/>
                    <a:gd name="csX14" fmla="*/ 10418 w 43558"/>
                    <a:gd name="csY14" fmla="*/ 12229 h 169787"/>
                    <a:gd name="csX15" fmla="*/ 12055 w 43558"/>
                    <a:gd name="csY15" fmla="*/ 67642 h 169787"/>
                    <a:gd name="csX16" fmla="*/ 9723 w 43558"/>
                    <a:gd name="csY16" fmla="*/ 70172 h 169787"/>
                    <a:gd name="csX17" fmla="*/ 7193 w 43558"/>
                    <a:gd name="csY17" fmla="*/ 67841 h 169787"/>
                    <a:gd name="csX18" fmla="*/ 5507 w 43558"/>
                    <a:gd name="csY18" fmla="*/ 12328 h 169787"/>
                    <a:gd name="csX19" fmla="*/ 5507 w 43558"/>
                    <a:gd name="csY19" fmla="*/ 12229 h 169787"/>
                    <a:gd name="csX20" fmla="*/ 5904 w 43558"/>
                    <a:gd name="csY20" fmla="*/ 9004 h 169787"/>
                    <a:gd name="csX21" fmla="*/ 15081 w 43558"/>
                    <a:gd name="csY21" fmla="*/ 273 h 169787"/>
                    <a:gd name="csX22" fmla="*/ 24259 w 43558"/>
                    <a:gd name="csY22" fmla="*/ 2059 h 169787"/>
                    <a:gd name="csX23" fmla="*/ 29418 w 43558"/>
                    <a:gd name="csY23" fmla="*/ 9847 h 169787"/>
                    <a:gd name="csX24" fmla="*/ 42912 w 43558"/>
                    <a:gd name="csY24" fmla="*/ 79102 h 169787"/>
                    <a:gd name="csX25" fmla="*/ 36661 w 43558"/>
                    <a:gd name="csY25" fmla="*/ 106586 h 169787"/>
                    <a:gd name="csX26" fmla="*/ 9079 w 43558"/>
                    <a:gd name="csY26" fmla="*/ 145777 h 169787"/>
                    <a:gd name="csX27" fmla="*/ 9029 w 43558"/>
                    <a:gd name="csY27" fmla="*/ 145827 h 169787"/>
                    <a:gd name="csX28" fmla="*/ 8880 w 43558"/>
                    <a:gd name="csY28" fmla="*/ 146025 h 169787"/>
                    <a:gd name="csX29" fmla="*/ 4713 w 43558"/>
                    <a:gd name="csY29" fmla="*/ 159568 h 169787"/>
                    <a:gd name="csX30" fmla="*/ 4713 w 43558"/>
                    <a:gd name="csY30" fmla="*/ 167506 h 169787"/>
                    <a:gd name="csX31" fmla="*/ 2431 w 43558"/>
                    <a:gd name="csY31" fmla="*/ 169788 h 16978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Lst>
                  <a:rect l="l" t="t" r="r" b="b"/>
                  <a:pathLst>
                    <a:path w="43558" h="169787">
                      <a:moveTo>
                        <a:pt x="2431" y="169788"/>
                      </a:moveTo>
                      <a:cubicBezTo>
                        <a:pt x="1091" y="169788"/>
                        <a:pt x="0" y="168697"/>
                        <a:pt x="0" y="167357"/>
                      </a:cubicBezTo>
                      <a:lnTo>
                        <a:pt x="0" y="159420"/>
                      </a:lnTo>
                      <a:cubicBezTo>
                        <a:pt x="0" y="153516"/>
                        <a:pt x="1687" y="147910"/>
                        <a:pt x="4961" y="143247"/>
                      </a:cubicBezTo>
                      <a:cubicBezTo>
                        <a:pt x="4961" y="143197"/>
                        <a:pt x="5011" y="143197"/>
                        <a:pt x="5011" y="143148"/>
                      </a:cubicBezTo>
                      <a:cubicBezTo>
                        <a:pt x="5060" y="143098"/>
                        <a:pt x="5110" y="142999"/>
                        <a:pt x="5159" y="142949"/>
                      </a:cubicBezTo>
                      <a:lnTo>
                        <a:pt x="32891" y="103609"/>
                      </a:lnTo>
                      <a:lnTo>
                        <a:pt x="32941" y="103559"/>
                      </a:lnTo>
                      <a:cubicBezTo>
                        <a:pt x="38001" y="96763"/>
                        <a:pt x="39985" y="88181"/>
                        <a:pt x="38398" y="79846"/>
                      </a:cubicBezTo>
                      <a:lnTo>
                        <a:pt x="24854" y="10641"/>
                      </a:lnTo>
                      <a:cubicBezTo>
                        <a:pt x="24507" y="8706"/>
                        <a:pt x="23366" y="7069"/>
                        <a:pt x="21729" y="6027"/>
                      </a:cubicBezTo>
                      <a:cubicBezTo>
                        <a:pt x="20092" y="4936"/>
                        <a:pt x="18107" y="4539"/>
                        <a:pt x="16222" y="4986"/>
                      </a:cubicBezTo>
                      <a:cubicBezTo>
                        <a:pt x="13543" y="5581"/>
                        <a:pt x="11410" y="7615"/>
                        <a:pt x="10666" y="10244"/>
                      </a:cubicBezTo>
                      <a:lnTo>
                        <a:pt x="10666" y="10294"/>
                      </a:lnTo>
                      <a:cubicBezTo>
                        <a:pt x="10517" y="10840"/>
                        <a:pt x="10418" y="11484"/>
                        <a:pt x="10418" y="12229"/>
                      </a:cubicBezTo>
                      <a:lnTo>
                        <a:pt x="12055" y="67642"/>
                      </a:lnTo>
                      <a:cubicBezTo>
                        <a:pt x="12105" y="68982"/>
                        <a:pt x="11063" y="70123"/>
                        <a:pt x="9723" y="70172"/>
                      </a:cubicBezTo>
                      <a:cubicBezTo>
                        <a:pt x="8384" y="70222"/>
                        <a:pt x="7243" y="69180"/>
                        <a:pt x="7193" y="67841"/>
                      </a:cubicBezTo>
                      <a:lnTo>
                        <a:pt x="5507" y="12328"/>
                      </a:lnTo>
                      <a:cubicBezTo>
                        <a:pt x="5507" y="12278"/>
                        <a:pt x="5507" y="12278"/>
                        <a:pt x="5507" y="12229"/>
                      </a:cubicBezTo>
                      <a:cubicBezTo>
                        <a:pt x="5507" y="11038"/>
                        <a:pt x="5655" y="9947"/>
                        <a:pt x="5904" y="9004"/>
                      </a:cubicBezTo>
                      <a:cubicBezTo>
                        <a:pt x="7094" y="4589"/>
                        <a:pt x="10616" y="1215"/>
                        <a:pt x="15081" y="273"/>
                      </a:cubicBezTo>
                      <a:cubicBezTo>
                        <a:pt x="18306" y="-422"/>
                        <a:pt x="21530" y="223"/>
                        <a:pt x="24259" y="2059"/>
                      </a:cubicBezTo>
                      <a:cubicBezTo>
                        <a:pt x="26938" y="3894"/>
                        <a:pt x="28823" y="6623"/>
                        <a:pt x="29418" y="9847"/>
                      </a:cubicBezTo>
                      <a:lnTo>
                        <a:pt x="42912" y="79102"/>
                      </a:lnTo>
                      <a:cubicBezTo>
                        <a:pt x="44797" y="88726"/>
                        <a:pt x="42515" y="98747"/>
                        <a:pt x="36661" y="106586"/>
                      </a:cubicBezTo>
                      <a:lnTo>
                        <a:pt x="9079" y="145777"/>
                      </a:lnTo>
                      <a:lnTo>
                        <a:pt x="9029" y="145827"/>
                      </a:lnTo>
                      <a:cubicBezTo>
                        <a:pt x="8979" y="145876"/>
                        <a:pt x="8930" y="145975"/>
                        <a:pt x="8880" y="146025"/>
                      </a:cubicBezTo>
                      <a:cubicBezTo>
                        <a:pt x="6152" y="149895"/>
                        <a:pt x="4713" y="154558"/>
                        <a:pt x="4713" y="159568"/>
                      </a:cubicBezTo>
                      <a:lnTo>
                        <a:pt x="4713" y="167506"/>
                      </a:lnTo>
                      <a:cubicBezTo>
                        <a:pt x="4862" y="168697"/>
                        <a:pt x="3820" y="169788"/>
                        <a:pt x="2431" y="169788"/>
                      </a:cubicBezTo>
                      <a:close/>
                    </a:path>
                  </a:pathLst>
                </a:custGeom>
                <a:grp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3" name="Freeform: Shape 142">
                  <a:extLst>
                    <a:ext uri="{FF2B5EF4-FFF2-40B4-BE49-F238E27FC236}">
                      <a16:creationId xmlns:a16="http://schemas.microsoft.com/office/drawing/2014/main" id="{7E35A5B6-9CA6-2E87-4E1F-9A13CFBF1872}"/>
                    </a:ext>
                  </a:extLst>
                </p:cNvPr>
                <p:cNvSpPr/>
                <p:nvPr/>
              </p:nvSpPr>
              <p:spPr>
                <a:xfrm>
                  <a:off x="7501950" y="1814550"/>
                  <a:ext cx="65019" cy="104736"/>
                </a:xfrm>
                <a:custGeom>
                  <a:avLst/>
                  <a:gdLst>
                    <a:gd name="csX0" fmla="*/ 62636 w 65019"/>
                    <a:gd name="csY0" fmla="*/ 104737 h 104736"/>
                    <a:gd name="csX1" fmla="*/ 60206 w 65019"/>
                    <a:gd name="csY1" fmla="*/ 102306 h 104736"/>
                    <a:gd name="csX2" fmla="*/ 60206 w 65019"/>
                    <a:gd name="csY2" fmla="*/ 89160 h 104736"/>
                    <a:gd name="csX3" fmla="*/ 47605 w 65019"/>
                    <a:gd name="csY3" fmla="*/ 49472 h 104736"/>
                    <a:gd name="csX4" fmla="*/ 47158 w 65019"/>
                    <a:gd name="csY4" fmla="*/ 48827 h 104736"/>
                    <a:gd name="csX5" fmla="*/ 46761 w 65019"/>
                    <a:gd name="csY5" fmla="*/ 48281 h 104736"/>
                    <a:gd name="csX6" fmla="*/ 15359 w 65019"/>
                    <a:gd name="csY6" fmla="*/ 6560 h 104736"/>
                    <a:gd name="csX7" fmla="*/ 10199 w 65019"/>
                    <a:gd name="csY7" fmla="*/ 4873 h 104736"/>
                    <a:gd name="csX8" fmla="*/ 10100 w 65019"/>
                    <a:gd name="csY8" fmla="*/ 4873 h 104736"/>
                    <a:gd name="csX9" fmla="*/ 9654 w 65019"/>
                    <a:gd name="csY9" fmla="*/ 4972 h 104736"/>
                    <a:gd name="csX10" fmla="*/ 9505 w 65019"/>
                    <a:gd name="csY10" fmla="*/ 5022 h 104736"/>
                    <a:gd name="csX11" fmla="*/ 7620 w 65019"/>
                    <a:gd name="csY11" fmla="*/ 5915 h 104736"/>
                    <a:gd name="csX12" fmla="*/ 5784 w 65019"/>
                    <a:gd name="csY12" fmla="*/ 14299 h 104736"/>
                    <a:gd name="csX13" fmla="*/ 27563 w 65019"/>
                    <a:gd name="csY13" fmla="*/ 49373 h 104736"/>
                    <a:gd name="csX14" fmla="*/ 26769 w 65019"/>
                    <a:gd name="csY14" fmla="*/ 52697 h 104736"/>
                    <a:gd name="csX15" fmla="*/ 23445 w 65019"/>
                    <a:gd name="csY15" fmla="*/ 51903 h 104736"/>
                    <a:gd name="csX16" fmla="*/ 1666 w 65019"/>
                    <a:gd name="csY16" fmla="*/ 16829 h 104736"/>
                    <a:gd name="csX17" fmla="*/ 4841 w 65019"/>
                    <a:gd name="csY17" fmla="*/ 1897 h 104736"/>
                    <a:gd name="csX18" fmla="*/ 8165 w 65019"/>
                    <a:gd name="csY18" fmla="*/ 359 h 104736"/>
                    <a:gd name="csX19" fmla="*/ 9257 w 65019"/>
                    <a:gd name="csY19" fmla="*/ 111 h 104736"/>
                    <a:gd name="csX20" fmla="*/ 9356 w 65019"/>
                    <a:gd name="csY20" fmla="*/ 111 h 104736"/>
                    <a:gd name="csX21" fmla="*/ 18831 w 65019"/>
                    <a:gd name="csY21" fmla="*/ 3286 h 104736"/>
                    <a:gd name="csX22" fmla="*/ 19079 w 65019"/>
                    <a:gd name="csY22" fmla="*/ 3583 h 104736"/>
                    <a:gd name="csX23" fmla="*/ 50581 w 65019"/>
                    <a:gd name="csY23" fmla="*/ 45454 h 104736"/>
                    <a:gd name="csX24" fmla="*/ 51077 w 65019"/>
                    <a:gd name="csY24" fmla="*/ 46148 h 104736"/>
                    <a:gd name="csX25" fmla="*/ 51474 w 65019"/>
                    <a:gd name="csY25" fmla="*/ 46694 h 104736"/>
                    <a:gd name="csX26" fmla="*/ 65018 w 65019"/>
                    <a:gd name="csY26" fmla="*/ 89259 h 104736"/>
                    <a:gd name="csX27" fmla="*/ 65018 w 65019"/>
                    <a:gd name="csY27" fmla="*/ 102405 h 104736"/>
                    <a:gd name="csX28" fmla="*/ 62636 w 65019"/>
                    <a:gd name="csY28" fmla="*/ 104737 h 10473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Lst>
                  <a:rect l="l" t="t" r="r" b="b"/>
                  <a:pathLst>
                    <a:path w="65019" h="104736">
                      <a:moveTo>
                        <a:pt x="62636" y="104737"/>
                      </a:moveTo>
                      <a:cubicBezTo>
                        <a:pt x="61297" y="104737"/>
                        <a:pt x="60206" y="103645"/>
                        <a:pt x="60206" y="102306"/>
                      </a:cubicBezTo>
                      <a:lnTo>
                        <a:pt x="60206" y="89160"/>
                      </a:lnTo>
                      <a:cubicBezTo>
                        <a:pt x="60206" y="74574"/>
                        <a:pt x="55840" y="60833"/>
                        <a:pt x="47605" y="49472"/>
                      </a:cubicBezTo>
                      <a:cubicBezTo>
                        <a:pt x="47456" y="49274"/>
                        <a:pt x="47307" y="49075"/>
                        <a:pt x="47158" y="48827"/>
                      </a:cubicBezTo>
                      <a:cubicBezTo>
                        <a:pt x="47009" y="48629"/>
                        <a:pt x="46861" y="48480"/>
                        <a:pt x="46761" y="48281"/>
                      </a:cubicBezTo>
                      <a:lnTo>
                        <a:pt x="15359" y="6560"/>
                      </a:lnTo>
                      <a:cubicBezTo>
                        <a:pt x="13920" y="5220"/>
                        <a:pt x="12035" y="4576"/>
                        <a:pt x="10199" y="4873"/>
                      </a:cubicBezTo>
                      <a:lnTo>
                        <a:pt x="10100" y="4873"/>
                      </a:lnTo>
                      <a:cubicBezTo>
                        <a:pt x="9951" y="4923"/>
                        <a:pt x="9753" y="4923"/>
                        <a:pt x="9654" y="4972"/>
                      </a:cubicBezTo>
                      <a:cubicBezTo>
                        <a:pt x="9604" y="4972"/>
                        <a:pt x="9554" y="5022"/>
                        <a:pt x="9505" y="5022"/>
                      </a:cubicBezTo>
                      <a:cubicBezTo>
                        <a:pt x="8761" y="5220"/>
                        <a:pt x="8116" y="5469"/>
                        <a:pt x="7620" y="5915"/>
                      </a:cubicBezTo>
                      <a:cubicBezTo>
                        <a:pt x="4841" y="7850"/>
                        <a:pt x="4048" y="11521"/>
                        <a:pt x="5784" y="14299"/>
                      </a:cubicBezTo>
                      <a:lnTo>
                        <a:pt x="27563" y="49373"/>
                      </a:lnTo>
                      <a:cubicBezTo>
                        <a:pt x="28257" y="50514"/>
                        <a:pt x="27910" y="52002"/>
                        <a:pt x="26769" y="52697"/>
                      </a:cubicBezTo>
                      <a:cubicBezTo>
                        <a:pt x="25628" y="53391"/>
                        <a:pt x="24140" y="53044"/>
                        <a:pt x="23445" y="51903"/>
                      </a:cubicBezTo>
                      <a:lnTo>
                        <a:pt x="1666" y="16829"/>
                      </a:lnTo>
                      <a:cubicBezTo>
                        <a:pt x="-1459" y="11819"/>
                        <a:pt x="-70" y="5270"/>
                        <a:pt x="4841" y="1897"/>
                      </a:cubicBezTo>
                      <a:cubicBezTo>
                        <a:pt x="5784" y="1202"/>
                        <a:pt x="6925" y="706"/>
                        <a:pt x="8165" y="359"/>
                      </a:cubicBezTo>
                      <a:cubicBezTo>
                        <a:pt x="8562" y="210"/>
                        <a:pt x="9009" y="160"/>
                        <a:pt x="9257" y="111"/>
                      </a:cubicBezTo>
                      <a:lnTo>
                        <a:pt x="9356" y="111"/>
                      </a:lnTo>
                      <a:cubicBezTo>
                        <a:pt x="12829" y="-385"/>
                        <a:pt x="16351" y="805"/>
                        <a:pt x="18831" y="3286"/>
                      </a:cubicBezTo>
                      <a:cubicBezTo>
                        <a:pt x="18931" y="3385"/>
                        <a:pt x="18980" y="3484"/>
                        <a:pt x="19079" y="3583"/>
                      </a:cubicBezTo>
                      <a:lnTo>
                        <a:pt x="50581" y="45454"/>
                      </a:lnTo>
                      <a:cubicBezTo>
                        <a:pt x="50780" y="45702"/>
                        <a:pt x="50879" y="45900"/>
                        <a:pt x="51077" y="46148"/>
                      </a:cubicBezTo>
                      <a:cubicBezTo>
                        <a:pt x="51226" y="46347"/>
                        <a:pt x="51375" y="46495"/>
                        <a:pt x="51474" y="46694"/>
                      </a:cubicBezTo>
                      <a:cubicBezTo>
                        <a:pt x="60354" y="58898"/>
                        <a:pt x="65018" y="73632"/>
                        <a:pt x="65018" y="89259"/>
                      </a:cubicBezTo>
                      <a:lnTo>
                        <a:pt x="65018" y="102405"/>
                      </a:lnTo>
                      <a:cubicBezTo>
                        <a:pt x="65067" y="103645"/>
                        <a:pt x="63976" y="104737"/>
                        <a:pt x="62636" y="104737"/>
                      </a:cubicBezTo>
                      <a:close/>
                    </a:path>
                  </a:pathLst>
                </a:custGeom>
                <a:grp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nvGrpSpPr>
                <p:cNvPr id="144" name="Pic">
                  <a:extLst>
                    <a:ext uri="{FF2B5EF4-FFF2-40B4-BE49-F238E27FC236}">
                      <a16:creationId xmlns:a16="http://schemas.microsoft.com/office/drawing/2014/main" id="{1BD85C22-732B-06CE-9CF9-57226B3AA656}"/>
                    </a:ext>
                  </a:extLst>
                </p:cNvPr>
                <p:cNvGrpSpPr/>
                <p:nvPr/>
              </p:nvGrpSpPr>
              <p:grpSpPr>
                <a:xfrm>
                  <a:off x="7504956" y="1914425"/>
                  <a:ext cx="72678" cy="31799"/>
                  <a:chOff x="7504956" y="1914425"/>
                  <a:chExt cx="72678" cy="31799"/>
                </a:xfrm>
                <a:grpFill/>
              </p:grpSpPr>
              <p:sp>
                <p:nvSpPr>
                  <p:cNvPr id="149" name="Freeform: Shape 148">
                    <a:extLst>
                      <a:ext uri="{FF2B5EF4-FFF2-40B4-BE49-F238E27FC236}">
                        <a16:creationId xmlns:a16="http://schemas.microsoft.com/office/drawing/2014/main" id="{9D4B8A21-B09D-C14C-F947-4AA007691C08}"/>
                      </a:ext>
                    </a:extLst>
                  </p:cNvPr>
                  <p:cNvSpPr/>
                  <p:nvPr/>
                </p:nvSpPr>
                <p:spPr>
                  <a:xfrm>
                    <a:off x="7511107" y="1914425"/>
                    <a:ext cx="60324" cy="18305"/>
                  </a:xfrm>
                  <a:custGeom>
                    <a:avLst/>
                    <a:gdLst>
                      <a:gd name="csX0" fmla="*/ 57944 w 60324"/>
                      <a:gd name="csY0" fmla="*/ 18306 h 18305"/>
                      <a:gd name="csX1" fmla="*/ 55513 w 60324"/>
                      <a:gd name="csY1" fmla="*/ 15875 h 18305"/>
                      <a:gd name="csX2" fmla="*/ 55513 w 60324"/>
                      <a:gd name="csY2" fmla="*/ 6300 h 18305"/>
                      <a:gd name="csX3" fmla="*/ 54025 w 60324"/>
                      <a:gd name="csY3" fmla="*/ 4812 h 18305"/>
                      <a:gd name="csX4" fmla="*/ 6350 w 60324"/>
                      <a:gd name="csY4" fmla="*/ 4812 h 18305"/>
                      <a:gd name="csX5" fmla="*/ 4862 w 60324"/>
                      <a:gd name="csY5" fmla="*/ 6300 h 18305"/>
                      <a:gd name="csX6" fmla="*/ 4862 w 60324"/>
                      <a:gd name="csY6" fmla="*/ 15875 h 18305"/>
                      <a:gd name="csX7" fmla="*/ 2431 w 60324"/>
                      <a:gd name="csY7" fmla="*/ 18306 h 18305"/>
                      <a:gd name="csX8" fmla="*/ 0 w 60324"/>
                      <a:gd name="csY8" fmla="*/ 15875 h 18305"/>
                      <a:gd name="csX9" fmla="*/ 0 w 60324"/>
                      <a:gd name="csY9" fmla="*/ 6300 h 18305"/>
                      <a:gd name="csX10" fmla="*/ 6300 w 60324"/>
                      <a:gd name="csY10" fmla="*/ 0 h 18305"/>
                      <a:gd name="csX11" fmla="*/ 54025 w 60324"/>
                      <a:gd name="csY11" fmla="*/ 0 h 18305"/>
                      <a:gd name="csX12" fmla="*/ 60325 w 60324"/>
                      <a:gd name="csY12" fmla="*/ 6300 h 18305"/>
                      <a:gd name="csX13" fmla="*/ 60325 w 60324"/>
                      <a:gd name="csY13" fmla="*/ 15875 h 18305"/>
                      <a:gd name="csX14" fmla="*/ 57944 w 60324"/>
                      <a:gd name="csY14" fmla="*/ 18306 h 1830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60324" h="18305">
                        <a:moveTo>
                          <a:pt x="57944" y="18306"/>
                        </a:moveTo>
                        <a:cubicBezTo>
                          <a:pt x="56604" y="18306"/>
                          <a:pt x="55513" y="17214"/>
                          <a:pt x="55513" y="15875"/>
                        </a:cubicBezTo>
                        <a:lnTo>
                          <a:pt x="55513" y="6300"/>
                        </a:lnTo>
                        <a:cubicBezTo>
                          <a:pt x="55513" y="5507"/>
                          <a:pt x="54818" y="4812"/>
                          <a:pt x="54025" y="4812"/>
                        </a:cubicBezTo>
                        <a:lnTo>
                          <a:pt x="6350" y="4812"/>
                        </a:lnTo>
                        <a:cubicBezTo>
                          <a:pt x="5556" y="4812"/>
                          <a:pt x="4862" y="5507"/>
                          <a:pt x="4862" y="6300"/>
                        </a:cubicBezTo>
                        <a:lnTo>
                          <a:pt x="4862" y="15875"/>
                        </a:lnTo>
                        <a:cubicBezTo>
                          <a:pt x="4862" y="17214"/>
                          <a:pt x="3770" y="18306"/>
                          <a:pt x="2431" y="18306"/>
                        </a:cubicBezTo>
                        <a:cubicBezTo>
                          <a:pt x="1091" y="18306"/>
                          <a:pt x="0" y="17214"/>
                          <a:pt x="0" y="15875"/>
                        </a:cubicBezTo>
                        <a:lnTo>
                          <a:pt x="0" y="6300"/>
                        </a:lnTo>
                        <a:cubicBezTo>
                          <a:pt x="0" y="2828"/>
                          <a:pt x="2828" y="0"/>
                          <a:pt x="6300" y="0"/>
                        </a:cubicBezTo>
                        <a:lnTo>
                          <a:pt x="54025" y="0"/>
                        </a:lnTo>
                        <a:cubicBezTo>
                          <a:pt x="57497" y="0"/>
                          <a:pt x="60325" y="2828"/>
                          <a:pt x="60325" y="6300"/>
                        </a:cubicBezTo>
                        <a:lnTo>
                          <a:pt x="60325" y="15875"/>
                        </a:lnTo>
                        <a:cubicBezTo>
                          <a:pt x="60325" y="17264"/>
                          <a:pt x="59283" y="18306"/>
                          <a:pt x="57944" y="18306"/>
                        </a:cubicBezTo>
                        <a:close/>
                      </a:path>
                    </a:pathLst>
                  </a:custGeom>
                  <a:grp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50" name="Freeform: Shape 149">
                    <a:extLst>
                      <a:ext uri="{FF2B5EF4-FFF2-40B4-BE49-F238E27FC236}">
                        <a16:creationId xmlns:a16="http://schemas.microsoft.com/office/drawing/2014/main" id="{60EDDB9A-0478-E51D-0406-83E0CDFE0278}"/>
                      </a:ext>
                    </a:extLst>
                  </p:cNvPr>
                  <p:cNvSpPr/>
                  <p:nvPr/>
                </p:nvSpPr>
                <p:spPr>
                  <a:xfrm>
                    <a:off x="7504956" y="1927919"/>
                    <a:ext cx="72678" cy="18305"/>
                  </a:xfrm>
                  <a:custGeom>
                    <a:avLst/>
                    <a:gdLst>
                      <a:gd name="csX0" fmla="*/ 68808 w 72678"/>
                      <a:gd name="csY0" fmla="*/ 18306 h 18305"/>
                      <a:gd name="csX1" fmla="*/ 3969 w 72678"/>
                      <a:gd name="csY1" fmla="*/ 18306 h 18305"/>
                      <a:gd name="csX2" fmla="*/ 3820 w 72678"/>
                      <a:gd name="csY2" fmla="*/ 18306 h 18305"/>
                      <a:gd name="csX3" fmla="*/ 0 w 72678"/>
                      <a:gd name="csY3" fmla="*/ 14387 h 18305"/>
                      <a:gd name="csX4" fmla="*/ 0 w 72678"/>
                      <a:gd name="csY4" fmla="*/ 3919 h 18305"/>
                      <a:gd name="csX5" fmla="*/ 3919 w 72678"/>
                      <a:gd name="csY5" fmla="*/ 0 h 18305"/>
                      <a:gd name="csX6" fmla="*/ 68759 w 72678"/>
                      <a:gd name="csY6" fmla="*/ 0 h 18305"/>
                      <a:gd name="csX7" fmla="*/ 72678 w 72678"/>
                      <a:gd name="csY7" fmla="*/ 3919 h 18305"/>
                      <a:gd name="csX8" fmla="*/ 72678 w 72678"/>
                      <a:gd name="csY8" fmla="*/ 14387 h 18305"/>
                      <a:gd name="csX9" fmla="*/ 68808 w 72678"/>
                      <a:gd name="csY9" fmla="*/ 18306 h 18305"/>
                      <a:gd name="csX10" fmla="*/ 4911 w 72678"/>
                      <a:gd name="csY10" fmla="*/ 13444 h 18305"/>
                      <a:gd name="csX11" fmla="*/ 67866 w 72678"/>
                      <a:gd name="csY11" fmla="*/ 13444 h 18305"/>
                      <a:gd name="csX12" fmla="*/ 67866 w 72678"/>
                      <a:gd name="csY12" fmla="*/ 4812 h 18305"/>
                      <a:gd name="csX13" fmla="*/ 4911 w 72678"/>
                      <a:gd name="csY13" fmla="*/ 4812 h 1830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72678" h="18305">
                        <a:moveTo>
                          <a:pt x="68808" y="18306"/>
                        </a:moveTo>
                        <a:lnTo>
                          <a:pt x="3969" y="18306"/>
                        </a:lnTo>
                        <a:cubicBezTo>
                          <a:pt x="3919" y="18306"/>
                          <a:pt x="3870" y="18306"/>
                          <a:pt x="3820" y="18306"/>
                        </a:cubicBezTo>
                        <a:cubicBezTo>
                          <a:pt x="1736" y="18157"/>
                          <a:pt x="0" y="16470"/>
                          <a:pt x="0" y="14387"/>
                        </a:cubicBezTo>
                        <a:lnTo>
                          <a:pt x="0" y="3919"/>
                        </a:lnTo>
                        <a:cubicBezTo>
                          <a:pt x="0" y="1786"/>
                          <a:pt x="1786" y="0"/>
                          <a:pt x="3919" y="0"/>
                        </a:cubicBezTo>
                        <a:lnTo>
                          <a:pt x="68759" y="0"/>
                        </a:lnTo>
                        <a:cubicBezTo>
                          <a:pt x="70892" y="0"/>
                          <a:pt x="72678" y="1786"/>
                          <a:pt x="72678" y="3919"/>
                        </a:cubicBezTo>
                        <a:lnTo>
                          <a:pt x="72678" y="14387"/>
                        </a:lnTo>
                        <a:cubicBezTo>
                          <a:pt x="72727" y="16520"/>
                          <a:pt x="70941" y="18306"/>
                          <a:pt x="68808" y="18306"/>
                        </a:cubicBezTo>
                        <a:close/>
                        <a:moveTo>
                          <a:pt x="4911" y="13444"/>
                        </a:moveTo>
                        <a:lnTo>
                          <a:pt x="67866" y="13444"/>
                        </a:lnTo>
                        <a:lnTo>
                          <a:pt x="67866" y="4812"/>
                        </a:lnTo>
                        <a:lnTo>
                          <a:pt x="4911" y="4812"/>
                        </a:lnTo>
                        <a:close/>
                      </a:path>
                    </a:pathLst>
                  </a:custGeom>
                  <a:grp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145" name="Pic">
                  <a:extLst>
                    <a:ext uri="{FF2B5EF4-FFF2-40B4-BE49-F238E27FC236}">
                      <a16:creationId xmlns:a16="http://schemas.microsoft.com/office/drawing/2014/main" id="{721B71C9-D4CA-CA40-5AB0-692D88FFE3FB}"/>
                    </a:ext>
                  </a:extLst>
                </p:cNvPr>
                <p:cNvGrpSpPr/>
                <p:nvPr/>
              </p:nvGrpSpPr>
              <p:grpSpPr>
                <a:xfrm>
                  <a:off x="7589242" y="1914425"/>
                  <a:ext cx="72678" cy="31799"/>
                  <a:chOff x="7589242" y="1914425"/>
                  <a:chExt cx="72678" cy="31799"/>
                </a:xfrm>
                <a:grpFill/>
              </p:grpSpPr>
              <p:sp>
                <p:nvSpPr>
                  <p:cNvPr id="147" name="Freeform: Shape 146">
                    <a:extLst>
                      <a:ext uri="{FF2B5EF4-FFF2-40B4-BE49-F238E27FC236}">
                        <a16:creationId xmlns:a16="http://schemas.microsoft.com/office/drawing/2014/main" id="{5D31A66C-D230-8798-2302-A12E33C3EFB1}"/>
                      </a:ext>
                    </a:extLst>
                  </p:cNvPr>
                  <p:cNvSpPr/>
                  <p:nvPr/>
                </p:nvSpPr>
                <p:spPr>
                  <a:xfrm>
                    <a:off x="7595344" y="1914425"/>
                    <a:ext cx="60424" cy="18305"/>
                  </a:xfrm>
                  <a:custGeom>
                    <a:avLst/>
                    <a:gdLst>
                      <a:gd name="csX0" fmla="*/ 57993 w 60424"/>
                      <a:gd name="csY0" fmla="*/ 18306 h 18305"/>
                      <a:gd name="csX1" fmla="*/ 55563 w 60424"/>
                      <a:gd name="csY1" fmla="*/ 15875 h 18305"/>
                      <a:gd name="csX2" fmla="*/ 55563 w 60424"/>
                      <a:gd name="csY2" fmla="*/ 6300 h 18305"/>
                      <a:gd name="csX3" fmla="*/ 54074 w 60424"/>
                      <a:gd name="csY3" fmla="*/ 4812 h 18305"/>
                      <a:gd name="csX4" fmla="*/ 6350 w 60424"/>
                      <a:gd name="csY4" fmla="*/ 4812 h 18305"/>
                      <a:gd name="csX5" fmla="*/ 4862 w 60424"/>
                      <a:gd name="csY5" fmla="*/ 6300 h 18305"/>
                      <a:gd name="csX6" fmla="*/ 4862 w 60424"/>
                      <a:gd name="csY6" fmla="*/ 15875 h 18305"/>
                      <a:gd name="csX7" fmla="*/ 2431 w 60424"/>
                      <a:gd name="csY7" fmla="*/ 18306 h 18305"/>
                      <a:gd name="csX8" fmla="*/ 0 w 60424"/>
                      <a:gd name="csY8" fmla="*/ 15875 h 18305"/>
                      <a:gd name="csX9" fmla="*/ 0 w 60424"/>
                      <a:gd name="csY9" fmla="*/ 6300 h 18305"/>
                      <a:gd name="csX10" fmla="*/ 6300 w 60424"/>
                      <a:gd name="csY10" fmla="*/ 0 h 18305"/>
                      <a:gd name="csX11" fmla="*/ 54124 w 60424"/>
                      <a:gd name="csY11" fmla="*/ 0 h 18305"/>
                      <a:gd name="csX12" fmla="*/ 60424 w 60424"/>
                      <a:gd name="csY12" fmla="*/ 6300 h 18305"/>
                      <a:gd name="csX13" fmla="*/ 60424 w 60424"/>
                      <a:gd name="csY13" fmla="*/ 15875 h 18305"/>
                      <a:gd name="csX14" fmla="*/ 57993 w 60424"/>
                      <a:gd name="csY14" fmla="*/ 18306 h 1830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60424" h="18305">
                        <a:moveTo>
                          <a:pt x="57993" y="18306"/>
                        </a:moveTo>
                        <a:cubicBezTo>
                          <a:pt x="56654" y="18306"/>
                          <a:pt x="55563" y="17214"/>
                          <a:pt x="55563" y="15875"/>
                        </a:cubicBezTo>
                        <a:lnTo>
                          <a:pt x="55563" y="6300"/>
                        </a:lnTo>
                        <a:cubicBezTo>
                          <a:pt x="55563" y="5507"/>
                          <a:pt x="54868" y="4812"/>
                          <a:pt x="54074" y="4812"/>
                        </a:cubicBezTo>
                        <a:lnTo>
                          <a:pt x="6350" y="4812"/>
                        </a:lnTo>
                        <a:cubicBezTo>
                          <a:pt x="5556" y="4812"/>
                          <a:pt x="4862" y="5507"/>
                          <a:pt x="4862" y="6300"/>
                        </a:cubicBezTo>
                        <a:lnTo>
                          <a:pt x="4862" y="15875"/>
                        </a:lnTo>
                        <a:cubicBezTo>
                          <a:pt x="4862" y="17214"/>
                          <a:pt x="3770" y="18306"/>
                          <a:pt x="2431" y="18306"/>
                        </a:cubicBezTo>
                        <a:cubicBezTo>
                          <a:pt x="1091" y="18306"/>
                          <a:pt x="0" y="17214"/>
                          <a:pt x="0" y="15875"/>
                        </a:cubicBezTo>
                        <a:lnTo>
                          <a:pt x="0" y="6300"/>
                        </a:lnTo>
                        <a:cubicBezTo>
                          <a:pt x="0" y="2828"/>
                          <a:pt x="2828" y="0"/>
                          <a:pt x="6300" y="0"/>
                        </a:cubicBezTo>
                        <a:lnTo>
                          <a:pt x="54124" y="0"/>
                        </a:lnTo>
                        <a:cubicBezTo>
                          <a:pt x="57596" y="0"/>
                          <a:pt x="60424" y="2828"/>
                          <a:pt x="60424" y="6300"/>
                        </a:cubicBezTo>
                        <a:lnTo>
                          <a:pt x="60424" y="15875"/>
                        </a:lnTo>
                        <a:cubicBezTo>
                          <a:pt x="60424" y="17264"/>
                          <a:pt x="59333" y="18306"/>
                          <a:pt x="57993" y="18306"/>
                        </a:cubicBezTo>
                        <a:close/>
                      </a:path>
                    </a:pathLst>
                  </a:custGeom>
                  <a:grp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8" name="Freeform: Shape 147">
                    <a:extLst>
                      <a:ext uri="{FF2B5EF4-FFF2-40B4-BE49-F238E27FC236}">
                        <a16:creationId xmlns:a16="http://schemas.microsoft.com/office/drawing/2014/main" id="{2B0D1ECD-2AE3-8C99-DED0-8BEB2F8B60D2}"/>
                      </a:ext>
                    </a:extLst>
                  </p:cNvPr>
                  <p:cNvSpPr/>
                  <p:nvPr/>
                </p:nvSpPr>
                <p:spPr>
                  <a:xfrm>
                    <a:off x="7589242" y="1927919"/>
                    <a:ext cx="72678" cy="18305"/>
                  </a:xfrm>
                  <a:custGeom>
                    <a:avLst/>
                    <a:gdLst>
                      <a:gd name="csX0" fmla="*/ 68808 w 72678"/>
                      <a:gd name="csY0" fmla="*/ 18306 h 18305"/>
                      <a:gd name="csX1" fmla="*/ 3969 w 72678"/>
                      <a:gd name="csY1" fmla="*/ 18306 h 18305"/>
                      <a:gd name="csX2" fmla="*/ 3820 w 72678"/>
                      <a:gd name="csY2" fmla="*/ 18306 h 18305"/>
                      <a:gd name="csX3" fmla="*/ 0 w 72678"/>
                      <a:gd name="csY3" fmla="*/ 14387 h 18305"/>
                      <a:gd name="csX4" fmla="*/ 0 w 72678"/>
                      <a:gd name="csY4" fmla="*/ 3919 h 18305"/>
                      <a:gd name="csX5" fmla="*/ 3919 w 72678"/>
                      <a:gd name="csY5" fmla="*/ 0 h 18305"/>
                      <a:gd name="csX6" fmla="*/ 68759 w 72678"/>
                      <a:gd name="csY6" fmla="*/ 0 h 18305"/>
                      <a:gd name="csX7" fmla="*/ 72678 w 72678"/>
                      <a:gd name="csY7" fmla="*/ 3919 h 18305"/>
                      <a:gd name="csX8" fmla="*/ 72678 w 72678"/>
                      <a:gd name="csY8" fmla="*/ 14387 h 18305"/>
                      <a:gd name="csX9" fmla="*/ 68808 w 72678"/>
                      <a:gd name="csY9" fmla="*/ 18306 h 18305"/>
                      <a:gd name="csX10" fmla="*/ 4911 w 72678"/>
                      <a:gd name="csY10" fmla="*/ 13444 h 18305"/>
                      <a:gd name="csX11" fmla="*/ 67866 w 72678"/>
                      <a:gd name="csY11" fmla="*/ 13444 h 18305"/>
                      <a:gd name="csX12" fmla="*/ 67866 w 72678"/>
                      <a:gd name="csY12" fmla="*/ 4812 h 18305"/>
                      <a:gd name="csX13" fmla="*/ 4911 w 72678"/>
                      <a:gd name="csY13" fmla="*/ 4812 h 1830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72678" h="18305">
                        <a:moveTo>
                          <a:pt x="68808" y="18306"/>
                        </a:moveTo>
                        <a:lnTo>
                          <a:pt x="3969" y="18306"/>
                        </a:lnTo>
                        <a:cubicBezTo>
                          <a:pt x="3919" y="18306"/>
                          <a:pt x="3870" y="18306"/>
                          <a:pt x="3820" y="18306"/>
                        </a:cubicBezTo>
                        <a:cubicBezTo>
                          <a:pt x="1736" y="18157"/>
                          <a:pt x="0" y="16470"/>
                          <a:pt x="0" y="14387"/>
                        </a:cubicBezTo>
                        <a:lnTo>
                          <a:pt x="0" y="3919"/>
                        </a:lnTo>
                        <a:cubicBezTo>
                          <a:pt x="0" y="1786"/>
                          <a:pt x="1786" y="0"/>
                          <a:pt x="3919" y="0"/>
                        </a:cubicBezTo>
                        <a:lnTo>
                          <a:pt x="68759" y="0"/>
                        </a:lnTo>
                        <a:cubicBezTo>
                          <a:pt x="70892" y="0"/>
                          <a:pt x="72678" y="1786"/>
                          <a:pt x="72678" y="3919"/>
                        </a:cubicBezTo>
                        <a:lnTo>
                          <a:pt x="72678" y="14387"/>
                        </a:lnTo>
                        <a:cubicBezTo>
                          <a:pt x="72727" y="16520"/>
                          <a:pt x="70991" y="18306"/>
                          <a:pt x="68808" y="18306"/>
                        </a:cubicBezTo>
                        <a:close/>
                        <a:moveTo>
                          <a:pt x="4911" y="13444"/>
                        </a:moveTo>
                        <a:lnTo>
                          <a:pt x="67866" y="13444"/>
                        </a:lnTo>
                        <a:lnTo>
                          <a:pt x="67866" y="4812"/>
                        </a:lnTo>
                        <a:lnTo>
                          <a:pt x="4911" y="4812"/>
                        </a:lnTo>
                        <a:close/>
                      </a:path>
                    </a:pathLst>
                  </a:custGeom>
                  <a:grp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sp>
              <p:nvSpPr>
                <p:cNvPr id="146" name="Freeform: Shape 145">
                  <a:extLst>
                    <a:ext uri="{FF2B5EF4-FFF2-40B4-BE49-F238E27FC236}">
                      <a16:creationId xmlns:a16="http://schemas.microsoft.com/office/drawing/2014/main" id="{D894D8BF-C41B-E190-7EFD-A52A60DDEF91}"/>
                    </a:ext>
                  </a:extLst>
                </p:cNvPr>
                <p:cNvSpPr/>
                <p:nvPr/>
              </p:nvSpPr>
              <p:spPr>
                <a:xfrm>
                  <a:off x="7476826" y="1749479"/>
                  <a:ext cx="43757" cy="169907"/>
                </a:xfrm>
                <a:custGeom>
                  <a:avLst/>
                  <a:gdLst>
                    <a:gd name="csX0" fmla="*/ 41227 w 43757"/>
                    <a:gd name="csY0" fmla="*/ 169907 h 169907"/>
                    <a:gd name="csX1" fmla="*/ 38796 w 43757"/>
                    <a:gd name="csY1" fmla="*/ 167477 h 169907"/>
                    <a:gd name="csX2" fmla="*/ 38796 w 43757"/>
                    <a:gd name="csY2" fmla="*/ 159539 h 169907"/>
                    <a:gd name="csX3" fmla="*/ 34629 w 43757"/>
                    <a:gd name="csY3" fmla="*/ 145996 h 169907"/>
                    <a:gd name="csX4" fmla="*/ 34480 w 43757"/>
                    <a:gd name="csY4" fmla="*/ 145797 h 169907"/>
                    <a:gd name="csX5" fmla="*/ 34431 w 43757"/>
                    <a:gd name="csY5" fmla="*/ 145698 h 169907"/>
                    <a:gd name="csX6" fmla="*/ 6897 w 43757"/>
                    <a:gd name="csY6" fmla="*/ 106507 h 169907"/>
                    <a:gd name="csX7" fmla="*/ 647 w 43757"/>
                    <a:gd name="csY7" fmla="*/ 79023 h 169907"/>
                    <a:gd name="csX8" fmla="*/ 14091 w 43757"/>
                    <a:gd name="csY8" fmla="*/ 9818 h 169907"/>
                    <a:gd name="csX9" fmla="*/ 19201 w 43757"/>
                    <a:gd name="csY9" fmla="*/ 2079 h 169907"/>
                    <a:gd name="csX10" fmla="*/ 28378 w 43757"/>
                    <a:gd name="csY10" fmla="*/ 243 h 169907"/>
                    <a:gd name="csX11" fmla="*/ 37606 w 43757"/>
                    <a:gd name="csY11" fmla="*/ 8975 h 169907"/>
                    <a:gd name="csX12" fmla="*/ 38003 w 43757"/>
                    <a:gd name="csY12" fmla="*/ 12199 h 169907"/>
                    <a:gd name="csX13" fmla="*/ 38003 w 43757"/>
                    <a:gd name="csY13" fmla="*/ 12298 h 169907"/>
                    <a:gd name="csX14" fmla="*/ 36365 w 43757"/>
                    <a:gd name="csY14" fmla="*/ 67762 h 169907"/>
                    <a:gd name="csX15" fmla="*/ 33835 w 43757"/>
                    <a:gd name="csY15" fmla="*/ 70093 h 169907"/>
                    <a:gd name="csX16" fmla="*/ 31504 w 43757"/>
                    <a:gd name="csY16" fmla="*/ 67563 h 169907"/>
                    <a:gd name="csX17" fmla="*/ 33240 w 43757"/>
                    <a:gd name="csY17" fmla="*/ 12199 h 169907"/>
                    <a:gd name="csX18" fmla="*/ 32992 w 43757"/>
                    <a:gd name="csY18" fmla="*/ 10265 h 169907"/>
                    <a:gd name="csX19" fmla="*/ 32992 w 43757"/>
                    <a:gd name="csY19" fmla="*/ 10215 h 169907"/>
                    <a:gd name="csX20" fmla="*/ 27436 w 43757"/>
                    <a:gd name="csY20" fmla="*/ 4956 h 169907"/>
                    <a:gd name="csX21" fmla="*/ 21879 w 43757"/>
                    <a:gd name="csY21" fmla="*/ 6048 h 169907"/>
                    <a:gd name="csX22" fmla="*/ 18804 w 43757"/>
                    <a:gd name="csY22" fmla="*/ 10661 h 169907"/>
                    <a:gd name="csX23" fmla="*/ 5409 w 43757"/>
                    <a:gd name="csY23" fmla="*/ 79916 h 169907"/>
                    <a:gd name="csX24" fmla="*/ 10866 w 43757"/>
                    <a:gd name="csY24" fmla="*/ 103629 h 169907"/>
                    <a:gd name="csX25" fmla="*/ 10916 w 43757"/>
                    <a:gd name="csY25" fmla="*/ 103679 h 169907"/>
                    <a:gd name="csX26" fmla="*/ 38598 w 43757"/>
                    <a:gd name="csY26" fmla="*/ 143069 h 169907"/>
                    <a:gd name="csX27" fmla="*/ 38747 w 43757"/>
                    <a:gd name="csY27" fmla="*/ 143267 h 169907"/>
                    <a:gd name="csX28" fmla="*/ 38796 w 43757"/>
                    <a:gd name="csY28" fmla="*/ 143366 h 169907"/>
                    <a:gd name="csX29" fmla="*/ 43757 w 43757"/>
                    <a:gd name="csY29" fmla="*/ 159539 h 169907"/>
                    <a:gd name="csX30" fmla="*/ 43757 w 43757"/>
                    <a:gd name="csY30" fmla="*/ 167477 h 169907"/>
                    <a:gd name="csX31" fmla="*/ 41227 w 43757"/>
                    <a:gd name="csY31" fmla="*/ 169907 h 16990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Lst>
                  <a:rect l="l" t="t" r="r" b="b"/>
                  <a:pathLst>
                    <a:path w="43757" h="169907">
                      <a:moveTo>
                        <a:pt x="41227" y="169907"/>
                      </a:moveTo>
                      <a:cubicBezTo>
                        <a:pt x="39888" y="169907"/>
                        <a:pt x="38796" y="168816"/>
                        <a:pt x="38796" y="167477"/>
                      </a:cubicBezTo>
                      <a:lnTo>
                        <a:pt x="38796" y="159539"/>
                      </a:lnTo>
                      <a:cubicBezTo>
                        <a:pt x="38796" y="154578"/>
                        <a:pt x="37358" y="149865"/>
                        <a:pt x="34629" y="145996"/>
                      </a:cubicBezTo>
                      <a:cubicBezTo>
                        <a:pt x="34579" y="145946"/>
                        <a:pt x="34530" y="145847"/>
                        <a:pt x="34480" y="145797"/>
                      </a:cubicBezTo>
                      <a:cubicBezTo>
                        <a:pt x="34480" y="145748"/>
                        <a:pt x="34431" y="145748"/>
                        <a:pt x="34431" y="145698"/>
                      </a:cubicBezTo>
                      <a:lnTo>
                        <a:pt x="6897" y="106507"/>
                      </a:lnTo>
                      <a:cubicBezTo>
                        <a:pt x="1044" y="98619"/>
                        <a:pt x="-1238" y="88598"/>
                        <a:pt x="647" y="79023"/>
                      </a:cubicBezTo>
                      <a:lnTo>
                        <a:pt x="14091" y="9818"/>
                      </a:lnTo>
                      <a:cubicBezTo>
                        <a:pt x="14686" y="6643"/>
                        <a:pt x="16522" y="3865"/>
                        <a:pt x="19201" y="2079"/>
                      </a:cubicBezTo>
                      <a:cubicBezTo>
                        <a:pt x="21929" y="243"/>
                        <a:pt x="25203" y="-402"/>
                        <a:pt x="28378" y="243"/>
                      </a:cubicBezTo>
                      <a:cubicBezTo>
                        <a:pt x="32893" y="1186"/>
                        <a:pt x="36415" y="4559"/>
                        <a:pt x="37606" y="8975"/>
                      </a:cubicBezTo>
                      <a:cubicBezTo>
                        <a:pt x="37903" y="9917"/>
                        <a:pt x="38003" y="11058"/>
                        <a:pt x="38003" y="12199"/>
                      </a:cubicBezTo>
                      <a:lnTo>
                        <a:pt x="38003" y="12298"/>
                      </a:lnTo>
                      <a:lnTo>
                        <a:pt x="36365" y="67762"/>
                      </a:lnTo>
                      <a:cubicBezTo>
                        <a:pt x="36316" y="69101"/>
                        <a:pt x="35224" y="70143"/>
                        <a:pt x="33835" y="70093"/>
                      </a:cubicBezTo>
                      <a:cubicBezTo>
                        <a:pt x="32496" y="70044"/>
                        <a:pt x="31454" y="68952"/>
                        <a:pt x="31504" y="67563"/>
                      </a:cubicBezTo>
                      <a:lnTo>
                        <a:pt x="33240" y="12199"/>
                      </a:lnTo>
                      <a:cubicBezTo>
                        <a:pt x="33240" y="11455"/>
                        <a:pt x="33141" y="10810"/>
                        <a:pt x="32992" y="10265"/>
                      </a:cubicBezTo>
                      <a:lnTo>
                        <a:pt x="32992" y="10215"/>
                      </a:lnTo>
                      <a:cubicBezTo>
                        <a:pt x="32297" y="7536"/>
                        <a:pt x="30164" y="5502"/>
                        <a:pt x="27436" y="4956"/>
                      </a:cubicBezTo>
                      <a:cubicBezTo>
                        <a:pt x="25501" y="4609"/>
                        <a:pt x="23566" y="4956"/>
                        <a:pt x="21879" y="6048"/>
                      </a:cubicBezTo>
                      <a:cubicBezTo>
                        <a:pt x="20193" y="7139"/>
                        <a:pt x="19201" y="8776"/>
                        <a:pt x="18804" y="10661"/>
                      </a:cubicBezTo>
                      <a:lnTo>
                        <a:pt x="5409" y="79916"/>
                      </a:lnTo>
                      <a:cubicBezTo>
                        <a:pt x="3822" y="88201"/>
                        <a:pt x="5756" y="96833"/>
                        <a:pt x="10866" y="103629"/>
                      </a:cubicBezTo>
                      <a:lnTo>
                        <a:pt x="10916" y="103679"/>
                      </a:lnTo>
                      <a:lnTo>
                        <a:pt x="38598" y="143069"/>
                      </a:lnTo>
                      <a:cubicBezTo>
                        <a:pt x="38647" y="143118"/>
                        <a:pt x="38697" y="143218"/>
                        <a:pt x="38747" y="143267"/>
                      </a:cubicBezTo>
                      <a:cubicBezTo>
                        <a:pt x="38747" y="143317"/>
                        <a:pt x="38796" y="143317"/>
                        <a:pt x="38796" y="143366"/>
                      </a:cubicBezTo>
                      <a:cubicBezTo>
                        <a:pt x="42021" y="148030"/>
                        <a:pt x="43757" y="153636"/>
                        <a:pt x="43757" y="159539"/>
                      </a:cubicBezTo>
                      <a:lnTo>
                        <a:pt x="43757" y="167477"/>
                      </a:lnTo>
                      <a:cubicBezTo>
                        <a:pt x="43658" y="168766"/>
                        <a:pt x="42567" y="169907"/>
                        <a:pt x="41227" y="169907"/>
                      </a:cubicBezTo>
                      <a:close/>
                    </a:path>
                  </a:pathLst>
                </a:custGeom>
                <a:grp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sp>
            <p:nvSpPr>
              <p:cNvPr id="136" name="Freeform: Shape 135">
                <a:extLst>
                  <a:ext uri="{FF2B5EF4-FFF2-40B4-BE49-F238E27FC236}">
                    <a16:creationId xmlns:a16="http://schemas.microsoft.com/office/drawing/2014/main" id="{6073E5D9-05BC-D207-931A-CB4CF0E42F79}"/>
                  </a:ext>
                </a:extLst>
              </p:cNvPr>
              <p:cNvSpPr/>
              <p:nvPr/>
            </p:nvSpPr>
            <p:spPr>
              <a:xfrm>
                <a:off x="7537103" y="1749474"/>
                <a:ext cx="92769" cy="92769"/>
              </a:xfrm>
              <a:custGeom>
                <a:avLst/>
                <a:gdLst>
                  <a:gd name="csX0" fmla="*/ 46385 w 92769"/>
                  <a:gd name="csY0" fmla="*/ 92770 h 92769"/>
                  <a:gd name="csX1" fmla="*/ 0 w 92769"/>
                  <a:gd name="csY1" fmla="*/ 46385 h 92769"/>
                  <a:gd name="csX2" fmla="*/ 46385 w 92769"/>
                  <a:gd name="csY2" fmla="*/ 0 h 92769"/>
                  <a:gd name="csX3" fmla="*/ 92770 w 92769"/>
                  <a:gd name="csY3" fmla="*/ 46385 h 92769"/>
                  <a:gd name="csX4" fmla="*/ 46385 w 92769"/>
                  <a:gd name="csY4" fmla="*/ 92770 h 92769"/>
                  <a:gd name="csX5" fmla="*/ 46385 w 92769"/>
                  <a:gd name="csY5" fmla="*/ 4862 h 92769"/>
                  <a:gd name="csX6" fmla="*/ 4862 w 92769"/>
                  <a:gd name="csY6" fmla="*/ 46385 h 92769"/>
                  <a:gd name="csX7" fmla="*/ 46385 w 92769"/>
                  <a:gd name="csY7" fmla="*/ 87957 h 92769"/>
                  <a:gd name="csX8" fmla="*/ 87908 w 92769"/>
                  <a:gd name="csY8" fmla="*/ 46434 h 92769"/>
                  <a:gd name="csX9" fmla="*/ 46385 w 92769"/>
                  <a:gd name="csY9" fmla="*/ 4862 h 9276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92769" h="92769">
                    <a:moveTo>
                      <a:pt x="46385" y="92770"/>
                    </a:moveTo>
                    <a:cubicBezTo>
                      <a:pt x="20786" y="92770"/>
                      <a:pt x="0" y="71934"/>
                      <a:pt x="0" y="46385"/>
                    </a:cubicBezTo>
                    <a:cubicBezTo>
                      <a:pt x="0" y="20836"/>
                      <a:pt x="20836" y="0"/>
                      <a:pt x="46385" y="0"/>
                    </a:cubicBezTo>
                    <a:cubicBezTo>
                      <a:pt x="71934" y="0"/>
                      <a:pt x="92770" y="20836"/>
                      <a:pt x="92770" y="46385"/>
                    </a:cubicBezTo>
                    <a:cubicBezTo>
                      <a:pt x="92770" y="71934"/>
                      <a:pt x="71983" y="92770"/>
                      <a:pt x="46385" y="92770"/>
                    </a:cubicBezTo>
                    <a:close/>
                    <a:moveTo>
                      <a:pt x="46385" y="4862"/>
                    </a:moveTo>
                    <a:cubicBezTo>
                      <a:pt x="23465" y="4862"/>
                      <a:pt x="4862" y="23465"/>
                      <a:pt x="4862" y="46385"/>
                    </a:cubicBezTo>
                    <a:cubicBezTo>
                      <a:pt x="4862" y="69304"/>
                      <a:pt x="23465" y="87957"/>
                      <a:pt x="46385" y="87957"/>
                    </a:cubicBezTo>
                    <a:cubicBezTo>
                      <a:pt x="69304" y="87957"/>
                      <a:pt x="87908" y="69354"/>
                      <a:pt x="87908" y="46434"/>
                    </a:cubicBezTo>
                    <a:cubicBezTo>
                      <a:pt x="87908" y="23515"/>
                      <a:pt x="69304" y="4862"/>
                      <a:pt x="46385" y="4862"/>
                    </a:cubicBezTo>
                    <a:close/>
                  </a:path>
                </a:pathLst>
              </a:custGeom>
              <a:grp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nvGrpSpPr>
              <p:cNvPr id="137" name="Pic">
                <a:extLst>
                  <a:ext uri="{FF2B5EF4-FFF2-40B4-BE49-F238E27FC236}">
                    <a16:creationId xmlns:a16="http://schemas.microsoft.com/office/drawing/2014/main" id="{AE078C8A-63F4-8A35-C028-D5C0AC8DFAB5}"/>
                  </a:ext>
                </a:extLst>
              </p:cNvPr>
              <p:cNvGrpSpPr/>
              <p:nvPr/>
            </p:nvGrpSpPr>
            <p:grpSpPr>
              <a:xfrm>
                <a:off x="7549307" y="1761678"/>
                <a:ext cx="68361" cy="68361"/>
                <a:chOff x="7549307" y="1761678"/>
                <a:chExt cx="68361" cy="68361"/>
              </a:xfrm>
              <a:grpFill/>
            </p:grpSpPr>
            <p:sp>
              <p:nvSpPr>
                <p:cNvPr id="138" name="Freeform: Shape 137">
                  <a:extLst>
                    <a:ext uri="{FF2B5EF4-FFF2-40B4-BE49-F238E27FC236}">
                      <a16:creationId xmlns:a16="http://schemas.microsoft.com/office/drawing/2014/main" id="{DED0553B-9CC6-A75B-B148-C1E72FABC7F0}"/>
                    </a:ext>
                  </a:extLst>
                </p:cNvPr>
                <p:cNvSpPr/>
                <p:nvPr/>
              </p:nvSpPr>
              <p:spPr>
                <a:xfrm>
                  <a:off x="7549307" y="1761678"/>
                  <a:ext cx="68361" cy="68361"/>
                </a:xfrm>
                <a:custGeom>
                  <a:avLst/>
                  <a:gdLst>
                    <a:gd name="csX0" fmla="*/ 34181 w 68361"/>
                    <a:gd name="csY0" fmla="*/ 68362 h 68361"/>
                    <a:gd name="csX1" fmla="*/ 0 w 68361"/>
                    <a:gd name="csY1" fmla="*/ 34181 h 68361"/>
                    <a:gd name="csX2" fmla="*/ 34181 w 68361"/>
                    <a:gd name="csY2" fmla="*/ 0 h 68361"/>
                    <a:gd name="csX3" fmla="*/ 68362 w 68361"/>
                    <a:gd name="csY3" fmla="*/ 34181 h 68361"/>
                    <a:gd name="csX4" fmla="*/ 34181 w 68361"/>
                    <a:gd name="csY4" fmla="*/ 68362 h 68361"/>
                    <a:gd name="csX5" fmla="*/ 34181 w 68361"/>
                    <a:gd name="csY5" fmla="*/ 4862 h 68361"/>
                    <a:gd name="csX6" fmla="*/ 4862 w 68361"/>
                    <a:gd name="csY6" fmla="*/ 34181 h 68361"/>
                    <a:gd name="csX7" fmla="*/ 34181 w 68361"/>
                    <a:gd name="csY7" fmla="*/ 63500 h 68361"/>
                    <a:gd name="csX8" fmla="*/ 63500 w 68361"/>
                    <a:gd name="csY8" fmla="*/ 34181 h 68361"/>
                    <a:gd name="csX9" fmla="*/ 34181 w 68361"/>
                    <a:gd name="csY9" fmla="*/ 4862 h 6836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68361" h="68361">
                      <a:moveTo>
                        <a:pt x="34181" y="68362"/>
                      </a:moveTo>
                      <a:cubicBezTo>
                        <a:pt x="15329" y="68362"/>
                        <a:pt x="0" y="53032"/>
                        <a:pt x="0" y="34181"/>
                      </a:cubicBezTo>
                      <a:cubicBezTo>
                        <a:pt x="0" y="15329"/>
                        <a:pt x="15329" y="0"/>
                        <a:pt x="34181" y="0"/>
                      </a:cubicBezTo>
                      <a:cubicBezTo>
                        <a:pt x="53032" y="0"/>
                        <a:pt x="68362" y="15329"/>
                        <a:pt x="68362" y="34181"/>
                      </a:cubicBezTo>
                      <a:cubicBezTo>
                        <a:pt x="68362" y="53032"/>
                        <a:pt x="53032" y="68362"/>
                        <a:pt x="34181" y="68362"/>
                      </a:cubicBezTo>
                      <a:close/>
                      <a:moveTo>
                        <a:pt x="34181" y="4862"/>
                      </a:moveTo>
                      <a:cubicBezTo>
                        <a:pt x="18008" y="4862"/>
                        <a:pt x="4862" y="18058"/>
                        <a:pt x="4862" y="34181"/>
                      </a:cubicBezTo>
                      <a:cubicBezTo>
                        <a:pt x="4862" y="50304"/>
                        <a:pt x="18058" y="63500"/>
                        <a:pt x="34181" y="63500"/>
                      </a:cubicBezTo>
                      <a:cubicBezTo>
                        <a:pt x="50304" y="63500"/>
                        <a:pt x="63500" y="50304"/>
                        <a:pt x="63500" y="34181"/>
                      </a:cubicBezTo>
                      <a:cubicBezTo>
                        <a:pt x="63500" y="18058"/>
                        <a:pt x="50354" y="4862"/>
                        <a:pt x="34181" y="4862"/>
                      </a:cubicBezTo>
                      <a:close/>
                    </a:path>
                  </a:pathLst>
                </a:custGeom>
                <a:grp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9" name="Freeform: Shape 138">
                  <a:extLst>
                    <a:ext uri="{FF2B5EF4-FFF2-40B4-BE49-F238E27FC236}">
                      <a16:creationId xmlns:a16="http://schemas.microsoft.com/office/drawing/2014/main" id="{17D126AE-1C5F-8875-C62D-005C1C60ACEC}"/>
                    </a:ext>
                  </a:extLst>
                </p:cNvPr>
                <p:cNvSpPr/>
                <p:nvPr/>
              </p:nvSpPr>
              <p:spPr>
                <a:xfrm>
                  <a:off x="7581057" y="1761678"/>
                  <a:ext cx="4861" cy="36611"/>
                </a:xfrm>
                <a:custGeom>
                  <a:avLst/>
                  <a:gdLst>
                    <a:gd name="csX0" fmla="*/ 2431 w 4861"/>
                    <a:gd name="csY0" fmla="*/ 36612 h 36611"/>
                    <a:gd name="csX1" fmla="*/ 0 w 4861"/>
                    <a:gd name="csY1" fmla="*/ 34181 h 36611"/>
                    <a:gd name="csX2" fmla="*/ 0 w 4861"/>
                    <a:gd name="csY2" fmla="*/ 2431 h 36611"/>
                    <a:gd name="csX3" fmla="*/ 2431 w 4861"/>
                    <a:gd name="csY3" fmla="*/ 0 h 36611"/>
                    <a:gd name="csX4" fmla="*/ 4862 w 4861"/>
                    <a:gd name="csY4" fmla="*/ 2431 h 36611"/>
                    <a:gd name="csX5" fmla="*/ 4862 w 4861"/>
                    <a:gd name="csY5" fmla="*/ 34181 h 36611"/>
                    <a:gd name="csX6" fmla="*/ 2431 w 4861"/>
                    <a:gd name="csY6" fmla="*/ 36612 h 36611"/>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4861" h="36611">
                      <a:moveTo>
                        <a:pt x="2431" y="36612"/>
                      </a:moveTo>
                      <a:cubicBezTo>
                        <a:pt x="1091" y="36612"/>
                        <a:pt x="0" y="35520"/>
                        <a:pt x="0" y="34181"/>
                      </a:cubicBezTo>
                      <a:lnTo>
                        <a:pt x="0" y="2431"/>
                      </a:lnTo>
                      <a:cubicBezTo>
                        <a:pt x="0" y="1091"/>
                        <a:pt x="1091" y="0"/>
                        <a:pt x="2431" y="0"/>
                      </a:cubicBezTo>
                      <a:cubicBezTo>
                        <a:pt x="3770" y="0"/>
                        <a:pt x="4862" y="1091"/>
                        <a:pt x="4862" y="2431"/>
                      </a:cubicBezTo>
                      <a:lnTo>
                        <a:pt x="4862" y="34181"/>
                      </a:lnTo>
                      <a:cubicBezTo>
                        <a:pt x="4862" y="35520"/>
                        <a:pt x="3770" y="36612"/>
                        <a:pt x="2431" y="36612"/>
                      </a:cubicBezTo>
                      <a:close/>
                    </a:path>
                  </a:pathLst>
                </a:custGeom>
                <a:grp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0" name="Freeform: Shape 139">
                  <a:extLst>
                    <a:ext uri="{FF2B5EF4-FFF2-40B4-BE49-F238E27FC236}">
                      <a16:creationId xmlns:a16="http://schemas.microsoft.com/office/drawing/2014/main" id="{A24EFBB0-524A-3BA5-3D2F-4516842F7E1C}"/>
                    </a:ext>
                  </a:extLst>
                </p:cNvPr>
                <p:cNvSpPr/>
                <p:nvPr/>
              </p:nvSpPr>
              <p:spPr>
                <a:xfrm>
                  <a:off x="7558621" y="1793378"/>
                  <a:ext cx="49783" cy="27433"/>
                </a:xfrm>
                <a:custGeom>
                  <a:avLst/>
                  <a:gdLst>
                    <a:gd name="csX0" fmla="*/ 47340 w 49783"/>
                    <a:gd name="csY0" fmla="*/ 27434 h 27433"/>
                    <a:gd name="csX1" fmla="*/ 45653 w 49783"/>
                    <a:gd name="csY1" fmla="*/ 26690 h 27433"/>
                    <a:gd name="csX2" fmla="*/ 24867 w 49783"/>
                    <a:gd name="csY2" fmla="*/ 5904 h 27433"/>
                    <a:gd name="csX3" fmla="*/ 4130 w 49783"/>
                    <a:gd name="csY3" fmla="*/ 26690 h 27433"/>
                    <a:gd name="csX4" fmla="*/ 707 w 49783"/>
                    <a:gd name="csY4" fmla="*/ 26690 h 27433"/>
                    <a:gd name="csX5" fmla="*/ 707 w 49783"/>
                    <a:gd name="csY5" fmla="*/ 23267 h 27433"/>
                    <a:gd name="csX6" fmla="*/ 23180 w 49783"/>
                    <a:gd name="csY6" fmla="*/ 744 h 27433"/>
                    <a:gd name="csX7" fmla="*/ 24916 w 49783"/>
                    <a:gd name="csY7" fmla="*/ 0 h 27433"/>
                    <a:gd name="csX8" fmla="*/ 26603 w 49783"/>
                    <a:gd name="csY8" fmla="*/ 744 h 27433"/>
                    <a:gd name="csX9" fmla="*/ 49076 w 49783"/>
                    <a:gd name="csY9" fmla="*/ 23267 h 27433"/>
                    <a:gd name="csX10" fmla="*/ 49076 w 49783"/>
                    <a:gd name="csY10" fmla="*/ 26690 h 27433"/>
                    <a:gd name="csX11" fmla="*/ 47340 w 49783"/>
                    <a:gd name="csY11" fmla="*/ 27434 h 2743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49783" h="27433">
                      <a:moveTo>
                        <a:pt x="47340" y="27434"/>
                      </a:moveTo>
                      <a:cubicBezTo>
                        <a:pt x="46695" y="27434"/>
                        <a:pt x="46100" y="27186"/>
                        <a:pt x="45653" y="26690"/>
                      </a:cubicBezTo>
                      <a:lnTo>
                        <a:pt x="24867" y="5904"/>
                      </a:lnTo>
                      <a:lnTo>
                        <a:pt x="4130" y="26690"/>
                      </a:lnTo>
                      <a:cubicBezTo>
                        <a:pt x="3187" y="27632"/>
                        <a:pt x="1650" y="27632"/>
                        <a:pt x="707" y="26690"/>
                      </a:cubicBezTo>
                      <a:cubicBezTo>
                        <a:pt x="-236" y="25747"/>
                        <a:pt x="-236" y="24209"/>
                        <a:pt x="707" y="23267"/>
                      </a:cubicBezTo>
                      <a:lnTo>
                        <a:pt x="23180" y="744"/>
                      </a:lnTo>
                      <a:cubicBezTo>
                        <a:pt x="23626" y="298"/>
                        <a:pt x="24222" y="0"/>
                        <a:pt x="24916" y="0"/>
                      </a:cubicBezTo>
                      <a:cubicBezTo>
                        <a:pt x="25561" y="0"/>
                        <a:pt x="26206" y="298"/>
                        <a:pt x="26603" y="744"/>
                      </a:cubicBezTo>
                      <a:lnTo>
                        <a:pt x="49076" y="23267"/>
                      </a:lnTo>
                      <a:cubicBezTo>
                        <a:pt x="50019" y="24209"/>
                        <a:pt x="50019" y="25747"/>
                        <a:pt x="49076" y="26690"/>
                      </a:cubicBezTo>
                      <a:cubicBezTo>
                        <a:pt x="48580" y="27186"/>
                        <a:pt x="47935" y="27434"/>
                        <a:pt x="47340" y="27434"/>
                      </a:cubicBezTo>
                      <a:close/>
                    </a:path>
                  </a:pathLst>
                </a:custGeom>
                <a:grp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spTree>
    <p:extLst>
      <p:ext uri="{BB962C8B-B14F-4D97-AF65-F5344CB8AC3E}">
        <p14:creationId xmlns:p14="http://schemas.microsoft.com/office/powerpoint/2010/main" val="22926975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74A36F-04D9-D371-B289-EA269D7C2838}"/>
              </a:ext>
            </a:extLst>
          </p:cNvPr>
          <p:cNvSpPr/>
          <p:nvPr/>
        </p:nvSpPr>
        <p:spPr>
          <a:xfrm>
            <a:off x="515938" y="123025"/>
            <a:ext cx="7494206" cy="597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b"/>
          <a:lstStyle/>
          <a:p>
            <a:r>
              <a:rPr lang="en-US" b="1" dirty="0">
                <a:solidFill>
                  <a:schemeClr val="tx1"/>
                </a:solidFill>
                <a:latin typeface="Moderat" pitchFamily="2" charset="77"/>
              </a:rPr>
              <a:t>Lead with Intent</a:t>
            </a:r>
          </a:p>
        </p:txBody>
      </p:sp>
      <p:sp>
        <p:nvSpPr>
          <p:cNvPr id="4" name="Text 1">
            <a:extLst>
              <a:ext uri="{FF2B5EF4-FFF2-40B4-BE49-F238E27FC236}">
                <a16:creationId xmlns:a16="http://schemas.microsoft.com/office/drawing/2014/main" id="{9928747D-A291-F562-30AF-004D6223FB71}"/>
              </a:ext>
            </a:extLst>
          </p:cNvPr>
          <p:cNvSpPr/>
          <p:nvPr/>
        </p:nvSpPr>
        <p:spPr>
          <a:xfrm>
            <a:off x="515938" y="1068714"/>
            <a:ext cx="11223390" cy="208006"/>
          </a:xfrm>
          <a:prstGeom prst="rect">
            <a:avLst/>
          </a:prstGeom>
          <a:noFill/>
          <a:ln/>
        </p:spPr>
        <p:txBody>
          <a:bodyPr wrap="square" lIns="0" tIns="0" rIns="0" bIns="0" rtlCol="0" anchor="t">
            <a:spAutoFit/>
          </a:bodyPr>
          <a:lstStyle/>
          <a:p>
            <a:pPr defTabSz="571500">
              <a:lnSpc>
                <a:spcPts val="1563"/>
              </a:lnSpc>
            </a:pPr>
            <a:r>
              <a:rPr lang="en-US" sz="1600" b="1" dirty="0">
                <a:solidFill>
                  <a:schemeClr val="accent1"/>
                </a:solidFill>
                <a:latin typeface="Moderat" pitchFamily="2" charset="77"/>
                <a:ea typeface="Source Serif 4" pitchFamily="34" charset="-122"/>
                <a:cs typeface="Source Serif 4" pitchFamily="34" charset="-120"/>
              </a:rPr>
              <a:t>Enabling New Managers to Shift from Doing to Leading</a:t>
            </a:r>
          </a:p>
        </p:txBody>
      </p:sp>
      <p:sp>
        <p:nvSpPr>
          <p:cNvPr id="9" name="Text 4">
            <a:extLst>
              <a:ext uri="{FF2B5EF4-FFF2-40B4-BE49-F238E27FC236}">
                <a16:creationId xmlns:a16="http://schemas.microsoft.com/office/drawing/2014/main" id="{09CA6ABE-5A91-F7AE-CEB5-D8A8D7FA73BD}"/>
              </a:ext>
            </a:extLst>
          </p:cNvPr>
          <p:cNvSpPr/>
          <p:nvPr/>
        </p:nvSpPr>
        <p:spPr>
          <a:xfrm>
            <a:off x="530181" y="1399089"/>
            <a:ext cx="2965494" cy="207694"/>
          </a:xfrm>
          <a:prstGeom prst="rect">
            <a:avLst/>
          </a:prstGeom>
          <a:noFill/>
          <a:ln/>
        </p:spPr>
        <p:txBody>
          <a:bodyPr wrap="square" lIns="0" tIns="0" rIns="0" bIns="0" rtlCol="0" anchor="t">
            <a:spAutoFit/>
          </a:bodyPr>
          <a:lstStyle/>
          <a:p>
            <a:r>
              <a:rPr lang="en-US" sz="1600" b="1" dirty="0">
                <a:solidFill>
                  <a:schemeClr val="accent6"/>
                </a:solidFill>
                <a:latin typeface="Moderat" pitchFamily="2" charset="77"/>
                <a:ea typeface="Raleway" pitchFamily="34" charset="-122"/>
                <a:cs typeface="Raleway" pitchFamily="34" charset="-120"/>
              </a:rPr>
              <a:t>Business challenge</a:t>
            </a:r>
          </a:p>
        </p:txBody>
      </p:sp>
      <p:sp>
        <p:nvSpPr>
          <p:cNvPr id="10" name="Text 4">
            <a:extLst>
              <a:ext uri="{FF2B5EF4-FFF2-40B4-BE49-F238E27FC236}">
                <a16:creationId xmlns:a16="http://schemas.microsoft.com/office/drawing/2014/main" id="{489528C4-17B0-97AD-4B33-3DC7B16227ED}"/>
              </a:ext>
            </a:extLst>
          </p:cNvPr>
          <p:cNvSpPr/>
          <p:nvPr/>
        </p:nvSpPr>
        <p:spPr>
          <a:xfrm>
            <a:off x="7852789" y="1399089"/>
            <a:ext cx="2965494" cy="207694"/>
          </a:xfrm>
          <a:prstGeom prst="rect">
            <a:avLst/>
          </a:prstGeom>
          <a:noFill/>
          <a:ln/>
        </p:spPr>
        <p:txBody>
          <a:bodyPr wrap="square" lIns="0" tIns="0" rIns="0" bIns="0" rtlCol="0" anchor="t">
            <a:spAutoFit/>
          </a:bodyPr>
          <a:lstStyle/>
          <a:p>
            <a:r>
              <a:rPr lang="en-US" sz="1600" b="1" dirty="0">
                <a:solidFill>
                  <a:schemeClr val="accent6"/>
                </a:solidFill>
                <a:latin typeface="Moderat" pitchFamily="2" charset="77"/>
                <a:ea typeface="Raleway" pitchFamily="34" charset="-122"/>
                <a:cs typeface="Raleway" pitchFamily="34" charset="-120"/>
              </a:rPr>
              <a:t>Business impact</a:t>
            </a:r>
          </a:p>
        </p:txBody>
      </p:sp>
      <p:sp>
        <p:nvSpPr>
          <p:cNvPr id="11" name="Rectangle 10">
            <a:extLst>
              <a:ext uri="{FF2B5EF4-FFF2-40B4-BE49-F238E27FC236}">
                <a16:creationId xmlns:a16="http://schemas.microsoft.com/office/drawing/2014/main" id="{5A2BA670-4F23-487C-D26F-1F5E50C17ACA}"/>
              </a:ext>
            </a:extLst>
          </p:cNvPr>
          <p:cNvSpPr/>
          <p:nvPr/>
        </p:nvSpPr>
        <p:spPr>
          <a:xfrm>
            <a:off x="533400" y="1654681"/>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Rectangle 11">
            <a:extLst>
              <a:ext uri="{FF2B5EF4-FFF2-40B4-BE49-F238E27FC236}">
                <a16:creationId xmlns:a16="http://schemas.microsoft.com/office/drawing/2014/main" id="{40A70A7C-0BCA-7B5A-5E96-0EA6D0CF7F40}"/>
              </a:ext>
            </a:extLst>
          </p:cNvPr>
          <p:cNvSpPr/>
          <p:nvPr/>
        </p:nvSpPr>
        <p:spPr>
          <a:xfrm>
            <a:off x="533400" y="2887299"/>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Rectangle 12">
            <a:extLst>
              <a:ext uri="{FF2B5EF4-FFF2-40B4-BE49-F238E27FC236}">
                <a16:creationId xmlns:a16="http://schemas.microsoft.com/office/drawing/2014/main" id="{7D9B5F7B-3F75-928E-C0A8-A9FFD9125497}"/>
              </a:ext>
            </a:extLst>
          </p:cNvPr>
          <p:cNvSpPr/>
          <p:nvPr/>
        </p:nvSpPr>
        <p:spPr>
          <a:xfrm>
            <a:off x="533400" y="4119916"/>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Rectangle: Rounded Corners 13">
            <a:extLst>
              <a:ext uri="{FF2B5EF4-FFF2-40B4-BE49-F238E27FC236}">
                <a16:creationId xmlns:a16="http://schemas.microsoft.com/office/drawing/2014/main" id="{AF4C686D-A2A6-E8E1-7916-CCEF0C5B4725}"/>
              </a:ext>
            </a:extLst>
          </p:cNvPr>
          <p:cNvSpPr/>
          <p:nvPr/>
        </p:nvSpPr>
        <p:spPr>
          <a:xfrm>
            <a:off x="3920004" y="1536593"/>
            <a:ext cx="3823272" cy="3730732"/>
          </a:xfrm>
          <a:prstGeom prst="roundRect">
            <a:avLst>
              <a:gd name="adj" fmla="val 2478"/>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Text 8">
            <a:extLst>
              <a:ext uri="{FF2B5EF4-FFF2-40B4-BE49-F238E27FC236}">
                <a16:creationId xmlns:a16="http://schemas.microsoft.com/office/drawing/2014/main" id="{25033166-0237-4ACE-294E-4F1E485B8AC9}"/>
              </a:ext>
            </a:extLst>
          </p:cNvPr>
          <p:cNvSpPr/>
          <p:nvPr/>
        </p:nvSpPr>
        <p:spPr>
          <a:xfrm>
            <a:off x="723900" y="1905218"/>
            <a:ext cx="2914650" cy="646331"/>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High performers promoted into manager roles without leadership readiness</a:t>
            </a:r>
          </a:p>
        </p:txBody>
      </p:sp>
      <p:sp>
        <p:nvSpPr>
          <p:cNvPr id="16" name="Text 8">
            <a:extLst>
              <a:ext uri="{FF2B5EF4-FFF2-40B4-BE49-F238E27FC236}">
                <a16:creationId xmlns:a16="http://schemas.microsoft.com/office/drawing/2014/main" id="{436155F9-00E1-1211-0224-31172F28A623}"/>
              </a:ext>
            </a:extLst>
          </p:cNvPr>
          <p:cNvSpPr/>
          <p:nvPr/>
        </p:nvSpPr>
        <p:spPr>
          <a:xfrm>
            <a:off x="723900" y="3245560"/>
            <a:ext cx="2914650" cy="430887"/>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New managers </a:t>
            </a:r>
            <a:r>
              <a:rPr lang="en-US" sz="1400" b="1" dirty="0">
                <a:solidFill>
                  <a:schemeClr val="bg2">
                    <a:lumMod val="25000"/>
                  </a:schemeClr>
                </a:solidFill>
                <a:latin typeface="Moderat" panose="020B0604020202020204"/>
                <a:ea typeface="Lato" pitchFamily="34" charset="-122"/>
                <a:cs typeface="Lato" pitchFamily="34" charset="-120"/>
              </a:rPr>
              <a:t>over-relied on escalation </a:t>
            </a:r>
            <a:r>
              <a:rPr lang="en-US" sz="1400" dirty="0">
                <a:solidFill>
                  <a:schemeClr val="bg2">
                    <a:lumMod val="25000"/>
                  </a:schemeClr>
                </a:solidFill>
                <a:latin typeface="Moderat" panose="020B0604020202020204"/>
                <a:ea typeface="Lato" pitchFamily="34" charset="-122"/>
                <a:cs typeface="Lato" pitchFamily="34" charset="-120"/>
              </a:rPr>
              <a:t>and senior direction</a:t>
            </a:r>
          </a:p>
        </p:txBody>
      </p:sp>
      <p:sp>
        <p:nvSpPr>
          <p:cNvPr id="17" name="Text 8">
            <a:extLst>
              <a:ext uri="{FF2B5EF4-FFF2-40B4-BE49-F238E27FC236}">
                <a16:creationId xmlns:a16="http://schemas.microsoft.com/office/drawing/2014/main" id="{90DC3AB4-2756-8209-99CA-F2CFF4CA3268}"/>
              </a:ext>
            </a:extLst>
          </p:cNvPr>
          <p:cNvSpPr/>
          <p:nvPr/>
        </p:nvSpPr>
        <p:spPr>
          <a:xfrm>
            <a:off x="723899" y="4478176"/>
            <a:ext cx="2949003" cy="430887"/>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Communication and accountability broke down during rapid scale</a:t>
            </a:r>
          </a:p>
        </p:txBody>
      </p:sp>
      <p:sp>
        <p:nvSpPr>
          <p:cNvPr id="18" name="Rectangle 17">
            <a:extLst>
              <a:ext uri="{FF2B5EF4-FFF2-40B4-BE49-F238E27FC236}">
                <a16:creationId xmlns:a16="http://schemas.microsoft.com/office/drawing/2014/main" id="{707F6CE8-77A9-5096-8115-C72F490698C4}"/>
              </a:ext>
            </a:extLst>
          </p:cNvPr>
          <p:cNvSpPr/>
          <p:nvPr/>
        </p:nvSpPr>
        <p:spPr>
          <a:xfrm>
            <a:off x="533400" y="1654681"/>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19" name="Rectangle 18">
            <a:extLst>
              <a:ext uri="{FF2B5EF4-FFF2-40B4-BE49-F238E27FC236}">
                <a16:creationId xmlns:a16="http://schemas.microsoft.com/office/drawing/2014/main" id="{40534690-2773-1B55-90E3-EF230D1F0E9D}"/>
              </a:ext>
            </a:extLst>
          </p:cNvPr>
          <p:cNvSpPr/>
          <p:nvPr/>
        </p:nvSpPr>
        <p:spPr>
          <a:xfrm rot="10800000">
            <a:off x="533400" y="2887299"/>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25" name="Rectangle 24">
            <a:extLst>
              <a:ext uri="{FF2B5EF4-FFF2-40B4-BE49-F238E27FC236}">
                <a16:creationId xmlns:a16="http://schemas.microsoft.com/office/drawing/2014/main" id="{412F73B2-9EC2-87C1-C5CD-139738CF960A}"/>
              </a:ext>
            </a:extLst>
          </p:cNvPr>
          <p:cNvSpPr/>
          <p:nvPr/>
        </p:nvSpPr>
        <p:spPr>
          <a:xfrm>
            <a:off x="533400" y="4119916"/>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26" name="Text 5">
            <a:extLst>
              <a:ext uri="{FF2B5EF4-FFF2-40B4-BE49-F238E27FC236}">
                <a16:creationId xmlns:a16="http://schemas.microsoft.com/office/drawing/2014/main" id="{A24B85D9-5CDA-F264-7955-CDCF4948C46C}"/>
              </a:ext>
            </a:extLst>
          </p:cNvPr>
          <p:cNvSpPr/>
          <p:nvPr/>
        </p:nvSpPr>
        <p:spPr>
          <a:xfrm>
            <a:off x="4083049" y="1766489"/>
            <a:ext cx="3413126" cy="1673141"/>
          </a:xfrm>
          <a:prstGeom prst="rect">
            <a:avLst/>
          </a:prstGeom>
          <a:noFill/>
          <a:ln/>
        </p:spPr>
        <p:txBody>
          <a:bodyPr wrap="square" lIns="0" tIns="36000" rIns="90000" bIns="36000" rtlCol="0" anchor="t">
            <a:spAutoFit/>
          </a:bodyPr>
          <a:lstStyle/>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Experiential simulations focused on real leadership moments</a:t>
            </a:r>
          </a:p>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Reflection, peer coaching, and manager-as-coach reinforcement</a:t>
            </a:r>
          </a:p>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Clear leadership shifts: task → outcome, compliance → commitment</a:t>
            </a:r>
          </a:p>
        </p:txBody>
      </p:sp>
      <p:sp>
        <p:nvSpPr>
          <p:cNvPr id="27" name="Rectangle: Rounded Corners 26">
            <a:extLst>
              <a:ext uri="{FF2B5EF4-FFF2-40B4-BE49-F238E27FC236}">
                <a16:creationId xmlns:a16="http://schemas.microsoft.com/office/drawing/2014/main" id="{372CD238-8949-8CD6-7A75-A3CA86E5A861}"/>
              </a:ext>
            </a:extLst>
          </p:cNvPr>
          <p:cNvSpPr/>
          <p:nvPr/>
        </p:nvSpPr>
        <p:spPr>
          <a:xfrm>
            <a:off x="4083049" y="1414467"/>
            <a:ext cx="1955801" cy="253358"/>
          </a:xfrm>
          <a:prstGeom prst="roundRect">
            <a:avLst>
              <a:gd name="adj" fmla="val 2618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36000" bIns="36000" rtlCol="0" anchor="ctr"/>
          <a:lstStyle/>
          <a:p>
            <a:r>
              <a:rPr lang="en-US" sz="1600" b="1" dirty="0">
                <a:latin typeface="Moderat" pitchFamily="2" charset="77"/>
              </a:rPr>
              <a:t>Intervention</a:t>
            </a:r>
          </a:p>
        </p:txBody>
      </p:sp>
      <p:sp>
        <p:nvSpPr>
          <p:cNvPr id="28" name="Rectangle: Rounded Corners 27">
            <a:extLst>
              <a:ext uri="{FF2B5EF4-FFF2-40B4-BE49-F238E27FC236}">
                <a16:creationId xmlns:a16="http://schemas.microsoft.com/office/drawing/2014/main" id="{51F2B50B-AB81-3419-EA63-82F99DDD0B20}"/>
              </a:ext>
            </a:extLst>
          </p:cNvPr>
          <p:cNvSpPr/>
          <p:nvPr/>
        </p:nvSpPr>
        <p:spPr>
          <a:xfrm>
            <a:off x="533400" y="5391150"/>
            <a:ext cx="11131831" cy="594362"/>
          </a:xfrm>
          <a:prstGeom prst="roundRect">
            <a:avLst>
              <a:gd name="adj" fmla="val 181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36000" bIns="36000" rtlCol="0" anchor="ctr"/>
          <a:lstStyle/>
          <a:p>
            <a:r>
              <a:rPr lang="en-US" sz="1400" dirty="0">
                <a:latin typeface="Moderat" pitchFamily="2" charset="77"/>
              </a:rPr>
              <a:t>Intentional behavior change is required to build a leadership pipeline.</a:t>
            </a:r>
          </a:p>
        </p:txBody>
      </p:sp>
      <p:sp>
        <p:nvSpPr>
          <p:cNvPr id="29" name="Rectangle: Rounded Corners 28">
            <a:extLst>
              <a:ext uri="{FF2B5EF4-FFF2-40B4-BE49-F238E27FC236}">
                <a16:creationId xmlns:a16="http://schemas.microsoft.com/office/drawing/2014/main" id="{CADC28A3-7019-7149-4D16-7A57F99FEFA8}"/>
              </a:ext>
            </a:extLst>
          </p:cNvPr>
          <p:cNvSpPr/>
          <p:nvPr/>
        </p:nvSpPr>
        <p:spPr>
          <a:xfrm>
            <a:off x="7852789" y="1841960"/>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b="1" dirty="0">
                <a:solidFill>
                  <a:srgbClr val="4A4A45"/>
                </a:solidFill>
                <a:latin typeface="Moderat" panose="020B0604020202020204"/>
              </a:rPr>
              <a:t>86% </a:t>
            </a:r>
            <a:r>
              <a:rPr lang="en-US" sz="1400" dirty="0">
                <a:solidFill>
                  <a:srgbClr val="4A4A45"/>
                </a:solidFill>
                <a:latin typeface="Moderat" panose="020B0604020202020204"/>
              </a:rPr>
              <a:t>report higher confidence in people decisions</a:t>
            </a:r>
          </a:p>
        </p:txBody>
      </p:sp>
      <p:sp>
        <p:nvSpPr>
          <p:cNvPr id="37" name="Rectangle: Rounded Corners 36">
            <a:extLst>
              <a:ext uri="{FF2B5EF4-FFF2-40B4-BE49-F238E27FC236}">
                <a16:creationId xmlns:a16="http://schemas.microsoft.com/office/drawing/2014/main" id="{CB281817-EBF7-37DD-FD87-7CD9142810A4}"/>
              </a:ext>
            </a:extLst>
          </p:cNvPr>
          <p:cNvSpPr/>
          <p:nvPr/>
        </p:nvSpPr>
        <p:spPr>
          <a:xfrm>
            <a:off x="7852789" y="2715755"/>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dirty="0">
                <a:solidFill>
                  <a:srgbClr val="4A4A45"/>
                </a:solidFill>
                <a:latin typeface="Moderat" panose="020B0604020202020204"/>
              </a:rPr>
              <a:t>Manager effectiveness scores ↑ </a:t>
            </a:r>
            <a:r>
              <a:rPr lang="en-US" sz="1400" b="1" dirty="0">
                <a:solidFill>
                  <a:srgbClr val="4A4A45"/>
                </a:solidFill>
                <a:latin typeface="Moderat" panose="020B0604020202020204"/>
              </a:rPr>
              <a:t>22%</a:t>
            </a:r>
          </a:p>
        </p:txBody>
      </p:sp>
      <p:sp>
        <p:nvSpPr>
          <p:cNvPr id="40" name="Rectangle: Rounded Corners 39">
            <a:extLst>
              <a:ext uri="{FF2B5EF4-FFF2-40B4-BE49-F238E27FC236}">
                <a16:creationId xmlns:a16="http://schemas.microsoft.com/office/drawing/2014/main" id="{2C25682D-DC44-C658-8279-B84B1929DE41}"/>
              </a:ext>
            </a:extLst>
          </p:cNvPr>
          <p:cNvSpPr/>
          <p:nvPr/>
        </p:nvSpPr>
        <p:spPr>
          <a:xfrm>
            <a:off x="7852789" y="3589551"/>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dirty="0">
                <a:solidFill>
                  <a:srgbClr val="4A4A45"/>
                </a:solidFill>
                <a:latin typeface="Moderat" panose="020B0604020202020204"/>
              </a:rPr>
              <a:t>Engagement and psychological safety ↑ significantly</a:t>
            </a:r>
          </a:p>
        </p:txBody>
      </p:sp>
      <p:sp>
        <p:nvSpPr>
          <p:cNvPr id="42" name="Rectangle: Rounded Corners 41">
            <a:extLst>
              <a:ext uri="{FF2B5EF4-FFF2-40B4-BE49-F238E27FC236}">
                <a16:creationId xmlns:a16="http://schemas.microsoft.com/office/drawing/2014/main" id="{75AC16CC-29F1-0986-2088-66751BC222C3}"/>
              </a:ext>
            </a:extLst>
          </p:cNvPr>
          <p:cNvSpPr/>
          <p:nvPr/>
        </p:nvSpPr>
        <p:spPr>
          <a:xfrm>
            <a:off x="7852789" y="4463347"/>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dirty="0">
                <a:solidFill>
                  <a:srgbClr val="4A4A45"/>
                </a:solidFill>
                <a:latin typeface="Moderat" panose="020B0604020202020204"/>
              </a:rPr>
              <a:t>Leadership behaviors sustained beyond 180 days</a:t>
            </a:r>
          </a:p>
        </p:txBody>
      </p:sp>
      <p:grpSp>
        <p:nvGrpSpPr>
          <p:cNvPr id="93" name="Group 92">
            <a:extLst>
              <a:ext uri="{FF2B5EF4-FFF2-40B4-BE49-F238E27FC236}">
                <a16:creationId xmlns:a16="http://schemas.microsoft.com/office/drawing/2014/main" id="{4039AB22-1DF9-6F30-3398-429FC2470301}"/>
              </a:ext>
            </a:extLst>
          </p:cNvPr>
          <p:cNvGrpSpPr/>
          <p:nvPr/>
        </p:nvGrpSpPr>
        <p:grpSpPr>
          <a:xfrm>
            <a:off x="7936609" y="2015349"/>
            <a:ext cx="457200" cy="457200"/>
            <a:chOff x="7936609" y="2099558"/>
            <a:chExt cx="457200" cy="457200"/>
          </a:xfrm>
        </p:grpSpPr>
        <p:sp>
          <p:nvSpPr>
            <p:cNvPr id="94" name="Oval 93">
              <a:extLst>
                <a:ext uri="{FF2B5EF4-FFF2-40B4-BE49-F238E27FC236}">
                  <a16:creationId xmlns:a16="http://schemas.microsoft.com/office/drawing/2014/main" id="{8B89CD1A-BD98-C300-40C7-50DC72F4DA79}"/>
                </a:ext>
              </a:extLst>
            </p:cNvPr>
            <p:cNvSpPr>
              <a:spLocks noChangeAspect="1"/>
            </p:cNvSpPr>
            <p:nvPr/>
          </p:nvSpPr>
          <p:spPr>
            <a:xfrm>
              <a:off x="7936609" y="2099558"/>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sp>
          <p:nvSpPr>
            <p:cNvPr id="95" name="Pic">
              <a:extLst>
                <a:ext uri="{FF2B5EF4-FFF2-40B4-BE49-F238E27FC236}">
                  <a16:creationId xmlns:a16="http://schemas.microsoft.com/office/drawing/2014/main" id="{66D93DD5-0174-E69A-EF22-7E2556950741}"/>
                </a:ext>
              </a:extLst>
            </p:cNvPr>
            <p:cNvSpPr>
              <a:spLocks noChangeAspect="1"/>
            </p:cNvSpPr>
            <p:nvPr/>
          </p:nvSpPr>
          <p:spPr>
            <a:xfrm>
              <a:off x="8056804" y="2208600"/>
              <a:ext cx="216812" cy="239117"/>
            </a:xfrm>
            <a:custGeom>
              <a:avLst/>
              <a:gdLst>
                <a:gd name="csX0" fmla="*/ 108272 w 216812"/>
                <a:gd name="csY0" fmla="*/ 71403 h 239117"/>
                <a:gd name="csX1" fmla="*/ 72832 w 216812"/>
                <a:gd name="csY1" fmla="*/ 75580 h 239117"/>
                <a:gd name="csX2" fmla="*/ 54952 w 216812"/>
                <a:gd name="csY2" fmla="*/ 90651 h 239117"/>
                <a:gd name="csX3" fmla="*/ 54952 w 216812"/>
                <a:gd name="csY3" fmla="*/ 150465 h 239117"/>
                <a:gd name="csX4" fmla="*/ 68307 w 216812"/>
                <a:gd name="csY4" fmla="*/ 163820 h 239117"/>
                <a:gd name="csX5" fmla="*/ 75709 w 216812"/>
                <a:gd name="csY5" fmla="*/ 161573 h 239117"/>
                <a:gd name="csX6" fmla="*/ 75709 w 216812"/>
                <a:gd name="csY6" fmla="*/ 221283 h 239117"/>
                <a:gd name="csX7" fmla="*/ 93543 w 216812"/>
                <a:gd name="csY7" fmla="*/ 239117 h 239117"/>
                <a:gd name="csX8" fmla="*/ 108401 w 216812"/>
                <a:gd name="csY8" fmla="*/ 231130 h 239117"/>
                <a:gd name="csX9" fmla="*/ 123259 w 216812"/>
                <a:gd name="csY9" fmla="*/ 239117 h 239117"/>
                <a:gd name="csX10" fmla="*/ 141094 w 216812"/>
                <a:gd name="csY10" fmla="*/ 221283 h 239117"/>
                <a:gd name="csX11" fmla="*/ 141094 w 216812"/>
                <a:gd name="csY11" fmla="*/ 161573 h 239117"/>
                <a:gd name="csX12" fmla="*/ 148496 w 216812"/>
                <a:gd name="csY12" fmla="*/ 163820 h 239117"/>
                <a:gd name="csX13" fmla="*/ 161851 w 216812"/>
                <a:gd name="csY13" fmla="*/ 150465 h 239117"/>
                <a:gd name="csX14" fmla="*/ 161851 w 216812"/>
                <a:gd name="csY14" fmla="*/ 90651 h 239117"/>
                <a:gd name="csX15" fmla="*/ 108272 w 216812"/>
                <a:gd name="csY15" fmla="*/ 71403 h 239117"/>
                <a:gd name="csX16" fmla="*/ 155902 w 216812"/>
                <a:gd name="csY16" fmla="*/ 150465 h 239117"/>
                <a:gd name="csX17" fmla="*/ 148501 w 216812"/>
                <a:gd name="csY17" fmla="*/ 157867 h 239117"/>
                <a:gd name="csX18" fmla="*/ 141099 w 216812"/>
                <a:gd name="csY18" fmla="*/ 150465 h 239117"/>
                <a:gd name="csX19" fmla="*/ 141099 w 216812"/>
                <a:gd name="csY19" fmla="*/ 103475 h 239117"/>
                <a:gd name="csX20" fmla="*/ 138122 w 216812"/>
                <a:gd name="csY20" fmla="*/ 100499 h 239117"/>
                <a:gd name="csX21" fmla="*/ 135146 w 216812"/>
                <a:gd name="csY21" fmla="*/ 103475 h 239117"/>
                <a:gd name="csX22" fmla="*/ 135146 w 216812"/>
                <a:gd name="csY22" fmla="*/ 150465 h 239117"/>
                <a:gd name="csX23" fmla="*/ 135146 w 216812"/>
                <a:gd name="csY23" fmla="*/ 221283 h 239117"/>
                <a:gd name="csX24" fmla="*/ 123264 w 216812"/>
                <a:gd name="csY24" fmla="*/ 233164 h 239117"/>
                <a:gd name="csX25" fmla="*/ 111383 w 216812"/>
                <a:gd name="csY25" fmla="*/ 221283 h 239117"/>
                <a:gd name="csX26" fmla="*/ 111383 w 216812"/>
                <a:gd name="csY26" fmla="*/ 157143 h 239117"/>
                <a:gd name="csX27" fmla="*/ 108406 w 216812"/>
                <a:gd name="csY27" fmla="*/ 154166 h 239117"/>
                <a:gd name="csX28" fmla="*/ 105430 w 216812"/>
                <a:gd name="csY28" fmla="*/ 157143 h 239117"/>
                <a:gd name="csX29" fmla="*/ 105430 w 216812"/>
                <a:gd name="csY29" fmla="*/ 221283 h 239117"/>
                <a:gd name="csX30" fmla="*/ 93548 w 216812"/>
                <a:gd name="csY30" fmla="*/ 233164 h 239117"/>
                <a:gd name="csX31" fmla="*/ 81667 w 216812"/>
                <a:gd name="csY31" fmla="*/ 221283 h 239117"/>
                <a:gd name="csX32" fmla="*/ 81667 w 216812"/>
                <a:gd name="csY32" fmla="*/ 150465 h 239117"/>
                <a:gd name="csX33" fmla="*/ 81667 w 216812"/>
                <a:gd name="csY33" fmla="*/ 103475 h 239117"/>
                <a:gd name="csX34" fmla="*/ 78690 w 216812"/>
                <a:gd name="csY34" fmla="*/ 100499 h 239117"/>
                <a:gd name="csX35" fmla="*/ 75714 w 216812"/>
                <a:gd name="csY35" fmla="*/ 103475 h 239117"/>
                <a:gd name="csX36" fmla="*/ 75714 w 216812"/>
                <a:gd name="csY36" fmla="*/ 150465 h 239117"/>
                <a:gd name="csX37" fmla="*/ 68312 w 216812"/>
                <a:gd name="csY37" fmla="*/ 157867 h 239117"/>
                <a:gd name="csX38" fmla="*/ 60910 w 216812"/>
                <a:gd name="csY38" fmla="*/ 150465 h 239117"/>
                <a:gd name="csX39" fmla="*/ 60910 w 216812"/>
                <a:gd name="csY39" fmla="*/ 90651 h 239117"/>
                <a:gd name="csX40" fmla="*/ 74479 w 216812"/>
                <a:gd name="csY40" fmla="*/ 81300 h 239117"/>
                <a:gd name="csX41" fmla="*/ 108277 w 216812"/>
                <a:gd name="csY41" fmla="*/ 77356 h 239117"/>
                <a:gd name="csX42" fmla="*/ 155907 w 216812"/>
                <a:gd name="csY42" fmla="*/ 90651 h 239117"/>
                <a:gd name="csX43" fmla="*/ 155907 w 216812"/>
                <a:gd name="csY43" fmla="*/ 150465 h 239117"/>
                <a:gd name="csX44" fmla="*/ 108406 w 216812"/>
                <a:gd name="csY44" fmla="*/ 67861 h 239117"/>
                <a:gd name="csX45" fmla="*/ 133300 w 216812"/>
                <a:gd name="csY45" fmla="*/ 42967 h 239117"/>
                <a:gd name="csX46" fmla="*/ 108406 w 216812"/>
                <a:gd name="csY46" fmla="*/ 18068 h 239117"/>
                <a:gd name="csX47" fmla="*/ 83512 w 216812"/>
                <a:gd name="csY47" fmla="*/ 42962 h 239117"/>
                <a:gd name="csX48" fmla="*/ 108406 w 216812"/>
                <a:gd name="csY48" fmla="*/ 67861 h 239117"/>
                <a:gd name="csX49" fmla="*/ 108406 w 216812"/>
                <a:gd name="csY49" fmla="*/ 24021 h 239117"/>
                <a:gd name="csX50" fmla="*/ 127347 w 216812"/>
                <a:gd name="csY50" fmla="*/ 42962 h 239117"/>
                <a:gd name="csX51" fmla="*/ 108406 w 216812"/>
                <a:gd name="csY51" fmla="*/ 61903 h 239117"/>
                <a:gd name="csX52" fmla="*/ 89466 w 216812"/>
                <a:gd name="csY52" fmla="*/ 42962 h 239117"/>
                <a:gd name="csX53" fmla="*/ 108406 w 216812"/>
                <a:gd name="csY53" fmla="*/ 24021 h 239117"/>
                <a:gd name="csX54" fmla="*/ 67558 w 216812"/>
                <a:gd name="csY54" fmla="*/ 33779 h 239117"/>
                <a:gd name="csX55" fmla="*/ 33779 w 216812"/>
                <a:gd name="csY55" fmla="*/ 0 h 239117"/>
                <a:gd name="csX56" fmla="*/ 0 w 216812"/>
                <a:gd name="csY56" fmla="*/ 33779 h 239117"/>
                <a:gd name="csX57" fmla="*/ 33779 w 216812"/>
                <a:gd name="csY57" fmla="*/ 67558 h 239117"/>
                <a:gd name="csX58" fmla="*/ 67558 w 216812"/>
                <a:gd name="csY58" fmla="*/ 33779 h 239117"/>
                <a:gd name="csX59" fmla="*/ 33784 w 216812"/>
                <a:gd name="csY59" fmla="*/ 61605 h 239117"/>
                <a:gd name="csX60" fmla="*/ 5958 w 216812"/>
                <a:gd name="csY60" fmla="*/ 33779 h 239117"/>
                <a:gd name="csX61" fmla="*/ 33784 w 216812"/>
                <a:gd name="csY61" fmla="*/ 5953 h 239117"/>
                <a:gd name="csX62" fmla="*/ 61610 w 216812"/>
                <a:gd name="csY62" fmla="*/ 33779 h 239117"/>
                <a:gd name="csX63" fmla="*/ 33784 w 216812"/>
                <a:gd name="csY63" fmla="*/ 61605 h 239117"/>
                <a:gd name="csX64" fmla="*/ 50319 w 216812"/>
                <a:gd name="csY64" fmla="*/ 22483 h 239117"/>
                <a:gd name="csX65" fmla="*/ 50319 w 216812"/>
                <a:gd name="csY65" fmla="*/ 26695 h 239117"/>
                <a:gd name="csX66" fmla="*/ 31939 w 216812"/>
                <a:gd name="csY66" fmla="*/ 45080 h 239117"/>
                <a:gd name="csX67" fmla="*/ 29835 w 216812"/>
                <a:gd name="csY67" fmla="*/ 45953 h 239117"/>
                <a:gd name="csX68" fmla="*/ 27732 w 216812"/>
                <a:gd name="csY68" fmla="*/ 45080 h 239117"/>
                <a:gd name="csX69" fmla="*/ 17244 w 216812"/>
                <a:gd name="csY69" fmla="*/ 34593 h 239117"/>
                <a:gd name="csX70" fmla="*/ 17244 w 216812"/>
                <a:gd name="csY70" fmla="*/ 30381 h 239117"/>
                <a:gd name="csX71" fmla="*/ 21456 w 216812"/>
                <a:gd name="csY71" fmla="*/ 30381 h 239117"/>
                <a:gd name="csX72" fmla="*/ 29835 w 216812"/>
                <a:gd name="csY72" fmla="*/ 38760 h 239117"/>
                <a:gd name="csX73" fmla="*/ 46112 w 216812"/>
                <a:gd name="csY73" fmla="*/ 22483 h 239117"/>
                <a:gd name="csX74" fmla="*/ 50319 w 216812"/>
                <a:gd name="csY74" fmla="*/ 22483 h 239117"/>
                <a:gd name="csX75" fmla="*/ 183034 w 216812"/>
                <a:gd name="csY75" fmla="*/ 0 h 239117"/>
                <a:gd name="csX76" fmla="*/ 149255 w 216812"/>
                <a:gd name="csY76" fmla="*/ 33779 h 239117"/>
                <a:gd name="csX77" fmla="*/ 183034 w 216812"/>
                <a:gd name="csY77" fmla="*/ 67558 h 239117"/>
                <a:gd name="csX78" fmla="*/ 216813 w 216812"/>
                <a:gd name="csY78" fmla="*/ 33779 h 239117"/>
                <a:gd name="csX79" fmla="*/ 183034 w 216812"/>
                <a:gd name="csY79" fmla="*/ 0 h 239117"/>
                <a:gd name="csX80" fmla="*/ 183034 w 216812"/>
                <a:gd name="csY80" fmla="*/ 61605 h 239117"/>
                <a:gd name="csX81" fmla="*/ 155208 w 216812"/>
                <a:gd name="csY81" fmla="*/ 33779 h 239117"/>
                <a:gd name="csX82" fmla="*/ 183034 w 216812"/>
                <a:gd name="csY82" fmla="*/ 5953 h 239117"/>
                <a:gd name="csX83" fmla="*/ 210860 w 216812"/>
                <a:gd name="csY83" fmla="*/ 33779 h 239117"/>
                <a:gd name="csX84" fmla="*/ 183034 w 216812"/>
                <a:gd name="csY84" fmla="*/ 61605 h 239117"/>
                <a:gd name="csX85" fmla="*/ 195168 w 216812"/>
                <a:gd name="csY85" fmla="*/ 25851 h 239117"/>
                <a:gd name="csX86" fmla="*/ 187241 w 216812"/>
                <a:gd name="csY86" fmla="*/ 33779 h 239117"/>
                <a:gd name="csX87" fmla="*/ 195168 w 216812"/>
                <a:gd name="csY87" fmla="*/ 41707 h 239117"/>
                <a:gd name="csX88" fmla="*/ 195168 w 216812"/>
                <a:gd name="csY88" fmla="*/ 45918 h 239117"/>
                <a:gd name="csX89" fmla="*/ 193065 w 216812"/>
                <a:gd name="csY89" fmla="*/ 46792 h 239117"/>
                <a:gd name="csX90" fmla="*/ 190961 w 216812"/>
                <a:gd name="csY90" fmla="*/ 45918 h 239117"/>
                <a:gd name="csX91" fmla="*/ 183034 w 216812"/>
                <a:gd name="csY91" fmla="*/ 37991 h 239117"/>
                <a:gd name="csX92" fmla="*/ 175106 w 216812"/>
                <a:gd name="csY92" fmla="*/ 45918 h 239117"/>
                <a:gd name="csX93" fmla="*/ 173003 w 216812"/>
                <a:gd name="csY93" fmla="*/ 46792 h 239117"/>
                <a:gd name="csX94" fmla="*/ 170899 w 216812"/>
                <a:gd name="csY94" fmla="*/ 45918 h 239117"/>
                <a:gd name="csX95" fmla="*/ 170899 w 216812"/>
                <a:gd name="csY95" fmla="*/ 41707 h 239117"/>
                <a:gd name="csX96" fmla="*/ 178827 w 216812"/>
                <a:gd name="csY96" fmla="*/ 33779 h 239117"/>
                <a:gd name="csX97" fmla="*/ 170894 w 216812"/>
                <a:gd name="csY97" fmla="*/ 25846 h 239117"/>
                <a:gd name="csX98" fmla="*/ 170894 w 216812"/>
                <a:gd name="csY98" fmla="*/ 21635 h 239117"/>
                <a:gd name="csX99" fmla="*/ 175106 w 216812"/>
                <a:gd name="csY99" fmla="*/ 21635 h 239117"/>
                <a:gd name="csX100" fmla="*/ 183034 w 216812"/>
                <a:gd name="csY100" fmla="*/ 29562 h 239117"/>
                <a:gd name="csX101" fmla="*/ 190961 w 216812"/>
                <a:gd name="csY101" fmla="*/ 21635 h 239117"/>
                <a:gd name="csX102" fmla="*/ 195173 w 216812"/>
                <a:gd name="csY102" fmla="*/ 21635 h 239117"/>
                <a:gd name="csX103" fmla="*/ 195168 w 216812"/>
                <a:gd name="csY103" fmla="*/ 25851 h 23911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Lst>
              <a:rect l="l" t="t" r="r" b="b"/>
              <a:pathLst>
                <a:path w="216812" h="239117">
                  <a:moveTo>
                    <a:pt x="108272" y="71403"/>
                  </a:moveTo>
                  <a:cubicBezTo>
                    <a:pt x="94799" y="71403"/>
                    <a:pt x="82213" y="72886"/>
                    <a:pt x="72832" y="75580"/>
                  </a:cubicBezTo>
                  <a:cubicBezTo>
                    <a:pt x="60970" y="78988"/>
                    <a:pt x="54952" y="84058"/>
                    <a:pt x="54952" y="90651"/>
                  </a:cubicBezTo>
                  <a:lnTo>
                    <a:pt x="54952" y="150465"/>
                  </a:lnTo>
                  <a:cubicBezTo>
                    <a:pt x="54952" y="157827"/>
                    <a:pt x="60945" y="163820"/>
                    <a:pt x="68307" y="163820"/>
                  </a:cubicBezTo>
                  <a:cubicBezTo>
                    <a:pt x="71046" y="163820"/>
                    <a:pt x="73591" y="162992"/>
                    <a:pt x="75709" y="161573"/>
                  </a:cubicBezTo>
                  <a:lnTo>
                    <a:pt x="75709" y="221283"/>
                  </a:lnTo>
                  <a:cubicBezTo>
                    <a:pt x="75709" y="231115"/>
                    <a:pt x="83711" y="239117"/>
                    <a:pt x="93543" y="239117"/>
                  </a:cubicBezTo>
                  <a:cubicBezTo>
                    <a:pt x="99740" y="239117"/>
                    <a:pt x="105202" y="235942"/>
                    <a:pt x="108401" y="231130"/>
                  </a:cubicBezTo>
                  <a:cubicBezTo>
                    <a:pt x="111601" y="235937"/>
                    <a:pt x="117063" y="239117"/>
                    <a:pt x="123259" y="239117"/>
                  </a:cubicBezTo>
                  <a:cubicBezTo>
                    <a:pt x="133092" y="239117"/>
                    <a:pt x="141094" y="231115"/>
                    <a:pt x="141094" y="221283"/>
                  </a:cubicBezTo>
                  <a:lnTo>
                    <a:pt x="141094" y="161573"/>
                  </a:lnTo>
                  <a:cubicBezTo>
                    <a:pt x="143212" y="162992"/>
                    <a:pt x="145762" y="163820"/>
                    <a:pt x="148496" y="163820"/>
                  </a:cubicBezTo>
                  <a:cubicBezTo>
                    <a:pt x="155858" y="163820"/>
                    <a:pt x="161851" y="157827"/>
                    <a:pt x="161851" y="150465"/>
                  </a:cubicBezTo>
                  <a:lnTo>
                    <a:pt x="161851" y="90651"/>
                  </a:lnTo>
                  <a:cubicBezTo>
                    <a:pt x="161856" y="76443"/>
                    <a:pt x="132993" y="71403"/>
                    <a:pt x="108272" y="71403"/>
                  </a:cubicBezTo>
                  <a:close/>
                  <a:moveTo>
                    <a:pt x="155902" y="150465"/>
                  </a:moveTo>
                  <a:cubicBezTo>
                    <a:pt x="155902" y="154548"/>
                    <a:pt x="152584" y="157867"/>
                    <a:pt x="148501" y="157867"/>
                  </a:cubicBezTo>
                  <a:cubicBezTo>
                    <a:pt x="144418" y="157867"/>
                    <a:pt x="141099" y="154548"/>
                    <a:pt x="141099" y="150465"/>
                  </a:cubicBezTo>
                  <a:lnTo>
                    <a:pt x="141099" y="103475"/>
                  </a:lnTo>
                  <a:cubicBezTo>
                    <a:pt x="141099" y="101833"/>
                    <a:pt x="139764" y="100499"/>
                    <a:pt x="138122" y="100499"/>
                  </a:cubicBezTo>
                  <a:cubicBezTo>
                    <a:pt x="136480" y="100499"/>
                    <a:pt x="135146" y="101833"/>
                    <a:pt x="135146" y="103475"/>
                  </a:cubicBezTo>
                  <a:lnTo>
                    <a:pt x="135146" y="150465"/>
                  </a:lnTo>
                  <a:lnTo>
                    <a:pt x="135146" y="221283"/>
                  </a:lnTo>
                  <a:cubicBezTo>
                    <a:pt x="135146" y="227836"/>
                    <a:pt x="129818" y="233164"/>
                    <a:pt x="123264" y="233164"/>
                  </a:cubicBezTo>
                  <a:cubicBezTo>
                    <a:pt x="116711" y="233164"/>
                    <a:pt x="111383" y="227836"/>
                    <a:pt x="111383" y="221283"/>
                  </a:cubicBezTo>
                  <a:lnTo>
                    <a:pt x="111383" y="157143"/>
                  </a:lnTo>
                  <a:cubicBezTo>
                    <a:pt x="111383" y="155501"/>
                    <a:pt x="110048" y="154166"/>
                    <a:pt x="108406" y="154166"/>
                  </a:cubicBezTo>
                  <a:cubicBezTo>
                    <a:pt x="106764" y="154166"/>
                    <a:pt x="105430" y="155501"/>
                    <a:pt x="105430" y="157143"/>
                  </a:cubicBezTo>
                  <a:lnTo>
                    <a:pt x="105430" y="221283"/>
                  </a:lnTo>
                  <a:cubicBezTo>
                    <a:pt x="105430" y="227836"/>
                    <a:pt x="100102" y="233164"/>
                    <a:pt x="93548" y="233164"/>
                  </a:cubicBezTo>
                  <a:cubicBezTo>
                    <a:pt x="86995" y="233164"/>
                    <a:pt x="81667" y="227836"/>
                    <a:pt x="81667" y="221283"/>
                  </a:cubicBezTo>
                  <a:lnTo>
                    <a:pt x="81667" y="150465"/>
                  </a:lnTo>
                  <a:lnTo>
                    <a:pt x="81667" y="103475"/>
                  </a:lnTo>
                  <a:cubicBezTo>
                    <a:pt x="81667" y="101833"/>
                    <a:pt x="80332" y="100499"/>
                    <a:pt x="78690" y="100499"/>
                  </a:cubicBezTo>
                  <a:cubicBezTo>
                    <a:pt x="77048" y="100499"/>
                    <a:pt x="75714" y="101833"/>
                    <a:pt x="75714" y="103475"/>
                  </a:cubicBezTo>
                  <a:lnTo>
                    <a:pt x="75714" y="150465"/>
                  </a:lnTo>
                  <a:cubicBezTo>
                    <a:pt x="75714" y="154548"/>
                    <a:pt x="72395" y="157867"/>
                    <a:pt x="68312" y="157867"/>
                  </a:cubicBezTo>
                  <a:cubicBezTo>
                    <a:pt x="64229" y="157867"/>
                    <a:pt x="60910" y="154548"/>
                    <a:pt x="60910" y="150465"/>
                  </a:cubicBezTo>
                  <a:lnTo>
                    <a:pt x="60910" y="90651"/>
                  </a:lnTo>
                  <a:cubicBezTo>
                    <a:pt x="60910" y="87184"/>
                    <a:pt x="65856" y="83775"/>
                    <a:pt x="74479" y="81300"/>
                  </a:cubicBezTo>
                  <a:cubicBezTo>
                    <a:pt x="83339" y="78755"/>
                    <a:pt x="95339" y="77356"/>
                    <a:pt x="108277" y="77356"/>
                  </a:cubicBezTo>
                  <a:cubicBezTo>
                    <a:pt x="134541" y="77356"/>
                    <a:pt x="155907" y="83319"/>
                    <a:pt x="155907" y="90651"/>
                  </a:cubicBezTo>
                  <a:lnTo>
                    <a:pt x="155907" y="150465"/>
                  </a:lnTo>
                  <a:close/>
                  <a:moveTo>
                    <a:pt x="108406" y="67861"/>
                  </a:moveTo>
                  <a:cubicBezTo>
                    <a:pt x="122133" y="67861"/>
                    <a:pt x="133300" y="56694"/>
                    <a:pt x="133300" y="42967"/>
                  </a:cubicBezTo>
                  <a:cubicBezTo>
                    <a:pt x="133300" y="29240"/>
                    <a:pt x="122133" y="18068"/>
                    <a:pt x="108406" y="18068"/>
                  </a:cubicBezTo>
                  <a:cubicBezTo>
                    <a:pt x="94679" y="18068"/>
                    <a:pt x="83512" y="29235"/>
                    <a:pt x="83512" y="42962"/>
                  </a:cubicBezTo>
                  <a:cubicBezTo>
                    <a:pt x="83512" y="56689"/>
                    <a:pt x="94679" y="67861"/>
                    <a:pt x="108406" y="67861"/>
                  </a:cubicBezTo>
                  <a:close/>
                  <a:moveTo>
                    <a:pt x="108406" y="24021"/>
                  </a:moveTo>
                  <a:cubicBezTo>
                    <a:pt x="118854" y="24021"/>
                    <a:pt x="127347" y="32519"/>
                    <a:pt x="127347" y="42962"/>
                  </a:cubicBezTo>
                  <a:cubicBezTo>
                    <a:pt x="127347" y="53404"/>
                    <a:pt x="118849" y="61903"/>
                    <a:pt x="108406" y="61903"/>
                  </a:cubicBezTo>
                  <a:cubicBezTo>
                    <a:pt x="97964" y="61903"/>
                    <a:pt x="89466" y="53404"/>
                    <a:pt x="89466" y="42962"/>
                  </a:cubicBezTo>
                  <a:cubicBezTo>
                    <a:pt x="89466" y="32519"/>
                    <a:pt x="97959" y="24021"/>
                    <a:pt x="108406" y="24021"/>
                  </a:cubicBezTo>
                  <a:close/>
                  <a:moveTo>
                    <a:pt x="67558" y="33779"/>
                  </a:moveTo>
                  <a:cubicBezTo>
                    <a:pt x="67558" y="15156"/>
                    <a:pt x="52407" y="0"/>
                    <a:pt x="33779" y="0"/>
                  </a:cubicBezTo>
                  <a:cubicBezTo>
                    <a:pt x="15156" y="0"/>
                    <a:pt x="0" y="15151"/>
                    <a:pt x="0" y="33779"/>
                  </a:cubicBezTo>
                  <a:cubicBezTo>
                    <a:pt x="0" y="52402"/>
                    <a:pt x="15151" y="67558"/>
                    <a:pt x="33779" y="67558"/>
                  </a:cubicBezTo>
                  <a:cubicBezTo>
                    <a:pt x="52407" y="67558"/>
                    <a:pt x="67558" y="52402"/>
                    <a:pt x="67558" y="33779"/>
                  </a:cubicBezTo>
                  <a:close/>
                  <a:moveTo>
                    <a:pt x="33784" y="61605"/>
                  </a:moveTo>
                  <a:cubicBezTo>
                    <a:pt x="18440" y="61605"/>
                    <a:pt x="5958" y="49123"/>
                    <a:pt x="5958" y="33779"/>
                  </a:cubicBezTo>
                  <a:cubicBezTo>
                    <a:pt x="5958" y="18435"/>
                    <a:pt x="18440" y="5953"/>
                    <a:pt x="33784" y="5953"/>
                  </a:cubicBezTo>
                  <a:cubicBezTo>
                    <a:pt x="49128" y="5953"/>
                    <a:pt x="61610" y="18435"/>
                    <a:pt x="61610" y="33779"/>
                  </a:cubicBezTo>
                  <a:cubicBezTo>
                    <a:pt x="61605" y="49123"/>
                    <a:pt x="49123" y="61605"/>
                    <a:pt x="33784" y="61605"/>
                  </a:cubicBezTo>
                  <a:close/>
                  <a:moveTo>
                    <a:pt x="50319" y="22483"/>
                  </a:moveTo>
                  <a:cubicBezTo>
                    <a:pt x="51480" y="23644"/>
                    <a:pt x="51480" y="25529"/>
                    <a:pt x="50319" y="26695"/>
                  </a:cubicBezTo>
                  <a:lnTo>
                    <a:pt x="31939" y="45080"/>
                  </a:lnTo>
                  <a:cubicBezTo>
                    <a:pt x="31383" y="45636"/>
                    <a:pt x="30624" y="45953"/>
                    <a:pt x="29835" y="45953"/>
                  </a:cubicBezTo>
                  <a:cubicBezTo>
                    <a:pt x="29046" y="45953"/>
                    <a:pt x="28287" y="45641"/>
                    <a:pt x="27732" y="45080"/>
                  </a:cubicBezTo>
                  <a:lnTo>
                    <a:pt x="17244" y="34593"/>
                  </a:lnTo>
                  <a:cubicBezTo>
                    <a:pt x="16083" y="33432"/>
                    <a:pt x="16083" y="31547"/>
                    <a:pt x="17244" y="30381"/>
                  </a:cubicBezTo>
                  <a:cubicBezTo>
                    <a:pt x="18405" y="29220"/>
                    <a:pt x="20290" y="29220"/>
                    <a:pt x="21456" y="30381"/>
                  </a:cubicBezTo>
                  <a:lnTo>
                    <a:pt x="29835" y="38760"/>
                  </a:lnTo>
                  <a:lnTo>
                    <a:pt x="46112" y="22483"/>
                  </a:lnTo>
                  <a:cubicBezTo>
                    <a:pt x="47273" y="21322"/>
                    <a:pt x="49158" y="21322"/>
                    <a:pt x="50319" y="22483"/>
                  </a:cubicBezTo>
                  <a:close/>
                  <a:moveTo>
                    <a:pt x="183034" y="0"/>
                  </a:moveTo>
                  <a:cubicBezTo>
                    <a:pt x="164410" y="0"/>
                    <a:pt x="149255" y="15151"/>
                    <a:pt x="149255" y="33779"/>
                  </a:cubicBezTo>
                  <a:cubicBezTo>
                    <a:pt x="149255" y="52402"/>
                    <a:pt x="164405" y="67558"/>
                    <a:pt x="183034" y="67558"/>
                  </a:cubicBezTo>
                  <a:cubicBezTo>
                    <a:pt x="201662" y="67558"/>
                    <a:pt x="216813" y="52407"/>
                    <a:pt x="216813" y="33779"/>
                  </a:cubicBezTo>
                  <a:cubicBezTo>
                    <a:pt x="216808" y="15151"/>
                    <a:pt x="201657" y="0"/>
                    <a:pt x="183034" y="0"/>
                  </a:cubicBezTo>
                  <a:close/>
                  <a:moveTo>
                    <a:pt x="183034" y="61605"/>
                  </a:moveTo>
                  <a:cubicBezTo>
                    <a:pt x="167690" y="61605"/>
                    <a:pt x="155208" y="49123"/>
                    <a:pt x="155208" y="33779"/>
                  </a:cubicBezTo>
                  <a:cubicBezTo>
                    <a:pt x="155208" y="18435"/>
                    <a:pt x="167690" y="5953"/>
                    <a:pt x="183034" y="5953"/>
                  </a:cubicBezTo>
                  <a:cubicBezTo>
                    <a:pt x="198378" y="5953"/>
                    <a:pt x="210860" y="18435"/>
                    <a:pt x="210860" y="33779"/>
                  </a:cubicBezTo>
                  <a:cubicBezTo>
                    <a:pt x="210855" y="49123"/>
                    <a:pt x="198373" y="61605"/>
                    <a:pt x="183034" y="61605"/>
                  </a:cubicBezTo>
                  <a:close/>
                  <a:moveTo>
                    <a:pt x="195168" y="25851"/>
                  </a:moveTo>
                  <a:lnTo>
                    <a:pt x="187241" y="33779"/>
                  </a:lnTo>
                  <a:lnTo>
                    <a:pt x="195168" y="41707"/>
                  </a:lnTo>
                  <a:cubicBezTo>
                    <a:pt x="196329" y="42867"/>
                    <a:pt x="196329" y="44753"/>
                    <a:pt x="195168" y="45918"/>
                  </a:cubicBezTo>
                  <a:cubicBezTo>
                    <a:pt x="194588" y="46499"/>
                    <a:pt x="193824" y="46792"/>
                    <a:pt x="193065" y="46792"/>
                  </a:cubicBezTo>
                  <a:cubicBezTo>
                    <a:pt x="192306" y="46792"/>
                    <a:pt x="191542" y="46499"/>
                    <a:pt x="190961" y="45918"/>
                  </a:cubicBezTo>
                  <a:lnTo>
                    <a:pt x="183034" y="37991"/>
                  </a:lnTo>
                  <a:lnTo>
                    <a:pt x="175106" y="45918"/>
                  </a:lnTo>
                  <a:cubicBezTo>
                    <a:pt x="174526" y="46499"/>
                    <a:pt x="173762" y="46792"/>
                    <a:pt x="173003" y="46792"/>
                  </a:cubicBezTo>
                  <a:cubicBezTo>
                    <a:pt x="172244" y="46792"/>
                    <a:pt x="171480" y="46499"/>
                    <a:pt x="170899" y="45918"/>
                  </a:cubicBezTo>
                  <a:cubicBezTo>
                    <a:pt x="169738" y="44758"/>
                    <a:pt x="169738" y="42872"/>
                    <a:pt x="170899" y="41707"/>
                  </a:cubicBezTo>
                  <a:lnTo>
                    <a:pt x="178827" y="33779"/>
                  </a:lnTo>
                  <a:lnTo>
                    <a:pt x="170894" y="25846"/>
                  </a:lnTo>
                  <a:cubicBezTo>
                    <a:pt x="169734" y="24686"/>
                    <a:pt x="169734" y="22800"/>
                    <a:pt x="170894" y="21635"/>
                  </a:cubicBezTo>
                  <a:cubicBezTo>
                    <a:pt x="172055" y="20474"/>
                    <a:pt x="173940" y="20474"/>
                    <a:pt x="175106" y="21635"/>
                  </a:cubicBezTo>
                  <a:lnTo>
                    <a:pt x="183034" y="29562"/>
                  </a:lnTo>
                  <a:lnTo>
                    <a:pt x="190961" y="21635"/>
                  </a:lnTo>
                  <a:cubicBezTo>
                    <a:pt x="192122" y="20474"/>
                    <a:pt x="194007" y="20474"/>
                    <a:pt x="195173" y="21635"/>
                  </a:cubicBezTo>
                  <a:cubicBezTo>
                    <a:pt x="196334" y="22800"/>
                    <a:pt x="196334" y="24686"/>
                    <a:pt x="195168" y="25851"/>
                  </a:cubicBezTo>
                  <a:close/>
                </a:path>
              </a:pathLst>
            </a:custGeom>
            <a:solidFill>
              <a:schemeClr val="bg1"/>
            </a:solid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96" name="Group 95">
            <a:extLst>
              <a:ext uri="{FF2B5EF4-FFF2-40B4-BE49-F238E27FC236}">
                <a16:creationId xmlns:a16="http://schemas.microsoft.com/office/drawing/2014/main" id="{69B58C3B-6A1B-671D-DE12-581AD6823440}"/>
              </a:ext>
            </a:extLst>
          </p:cNvPr>
          <p:cNvGrpSpPr/>
          <p:nvPr/>
        </p:nvGrpSpPr>
        <p:grpSpPr>
          <a:xfrm>
            <a:off x="7936609" y="2889144"/>
            <a:ext cx="457200" cy="457200"/>
            <a:chOff x="7936609" y="3156397"/>
            <a:chExt cx="457200" cy="457200"/>
          </a:xfrm>
        </p:grpSpPr>
        <p:sp>
          <p:nvSpPr>
            <p:cNvPr id="97" name="Oval 96">
              <a:extLst>
                <a:ext uri="{FF2B5EF4-FFF2-40B4-BE49-F238E27FC236}">
                  <a16:creationId xmlns:a16="http://schemas.microsoft.com/office/drawing/2014/main" id="{0DA03BA2-F7A5-0B79-DF3F-B47077010359}"/>
                </a:ext>
              </a:extLst>
            </p:cNvPr>
            <p:cNvSpPr>
              <a:spLocks noChangeAspect="1"/>
            </p:cNvSpPr>
            <p:nvPr/>
          </p:nvSpPr>
          <p:spPr>
            <a:xfrm>
              <a:off x="7936609" y="3156397"/>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sp>
          <p:nvSpPr>
            <p:cNvPr id="98" name="Pic">
              <a:extLst>
                <a:ext uri="{FF2B5EF4-FFF2-40B4-BE49-F238E27FC236}">
                  <a16:creationId xmlns:a16="http://schemas.microsoft.com/office/drawing/2014/main" id="{4D496FF3-F723-8A1A-37CB-5EFEBAFB0AFC}"/>
                </a:ext>
              </a:extLst>
            </p:cNvPr>
            <p:cNvSpPr>
              <a:spLocks noChangeAspect="1"/>
            </p:cNvSpPr>
            <p:nvPr/>
          </p:nvSpPr>
          <p:spPr>
            <a:xfrm>
              <a:off x="8033695" y="3292600"/>
              <a:ext cx="263029" cy="154315"/>
            </a:xfrm>
            <a:custGeom>
              <a:avLst/>
              <a:gdLst>
                <a:gd name="csX0" fmla="*/ 223153 w 239117"/>
                <a:gd name="csY0" fmla="*/ 59954 h 140286"/>
                <a:gd name="csX1" fmla="*/ 181144 w 239117"/>
                <a:gd name="csY1" fmla="*/ 17181 h 140286"/>
                <a:gd name="csX2" fmla="*/ 59382 w 239117"/>
                <a:gd name="csY2" fmla="*/ 16348 h 140286"/>
                <a:gd name="csX3" fmla="*/ 59358 w 239117"/>
                <a:gd name="csY3" fmla="*/ 16363 h 140286"/>
                <a:gd name="csX4" fmla="*/ 59353 w 239117"/>
                <a:gd name="csY4" fmla="*/ 16363 h 140286"/>
                <a:gd name="csX5" fmla="*/ 59348 w 239117"/>
                <a:gd name="csY5" fmla="*/ 16368 h 140286"/>
                <a:gd name="csX6" fmla="*/ 16312 w 239117"/>
                <a:gd name="csY6" fmla="*/ 59399 h 140286"/>
                <a:gd name="csX7" fmla="*/ 0 w 239117"/>
                <a:gd name="csY7" fmla="*/ 119674 h 140286"/>
                <a:gd name="csX8" fmla="*/ 2977 w 239117"/>
                <a:gd name="csY8" fmla="*/ 122651 h 140286"/>
                <a:gd name="csX9" fmla="*/ 61238 w 239117"/>
                <a:gd name="csY9" fmla="*/ 122651 h 140286"/>
                <a:gd name="csX10" fmla="*/ 63346 w 239117"/>
                <a:gd name="csY10" fmla="*/ 121773 h 140286"/>
                <a:gd name="csX11" fmla="*/ 64214 w 239117"/>
                <a:gd name="csY11" fmla="*/ 119654 h 140286"/>
                <a:gd name="csX12" fmla="*/ 92655 w 239117"/>
                <a:gd name="csY12" fmla="*/ 71156 h 140286"/>
                <a:gd name="csX13" fmla="*/ 147895 w 239117"/>
                <a:gd name="csY13" fmla="*/ 72069 h 140286"/>
                <a:gd name="csX14" fmla="*/ 161563 w 239117"/>
                <a:gd name="csY14" fmla="*/ 83420 h 140286"/>
                <a:gd name="csX15" fmla="*/ 130696 w 239117"/>
                <a:gd name="csY15" fmla="*/ 91025 h 140286"/>
                <a:gd name="csX16" fmla="*/ 119559 w 239117"/>
                <a:gd name="csY16" fmla="*/ 88505 h 140286"/>
                <a:gd name="csX17" fmla="*/ 93667 w 239117"/>
                <a:gd name="csY17" fmla="*/ 114396 h 140286"/>
                <a:gd name="csX18" fmla="*/ 119559 w 239117"/>
                <a:gd name="csY18" fmla="*/ 140287 h 140286"/>
                <a:gd name="csX19" fmla="*/ 145336 w 239117"/>
                <a:gd name="csY19" fmla="*/ 116782 h 140286"/>
                <a:gd name="csX20" fmla="*/ 169069 w 239117"/>
                <a:gd name="csY20" fmla="*/ 94418 h 140286"/>
                <a:gd name="csX21" fmla="*/ 175121 w 239117"/>
                <a:gd name="csY21" fmla="*/ 119674 h 140286"/>
                <a:gd name="csX22" fmla="*/ 178098 w 239117"/>
                <a:gd name="csY22" fmla="*/ 122641 h 140286"/>
                <a:gd name="csX23" fmla="*/ 236141 w 239117"/>
                <a:gd name="csY23" fmla="*/ 122641 h 140286"/>
                <a:gd name="csX24" fmla="*/ 239117 w 239117"/>
                <a:gd name="csY24" fmla="*/ 119664 h 140286"/>
                <a:gd name="csX25" fmla="*/ 223153 w 239117"/>
                <a:gd name="csY25" fmla="*/ 59954 h 140286"/>
                <a:gd name="csX26" fmla="*/ 66809 w 239117"/>
                <a:gd name="csY26" fmla="*/ 88272 h 140286"/>
                <a:gd name="csX27" fmla="*/ 58316 w 239117"/>
                <a:gd name="csY27" fmla="*/ 116698 h 140286"/>
                <a:gd name="csX28" fmla="*/ 5993 w 239117"/>
                <a:gd name="csY28" fmla="*/ 116698 h 140286"/>
                <a:gd name="csX29" fmla="*/ 59883 w 239117"/>
                <a:gd name="csY29" fmla="*/ 23000 h 140286"/>
                <a:gd name="csX30" fmla="*/ 86821 w 239117"/>
                <a:gd name="csY30" fmla="*/ 67728 h 140286"/>
                <a:gd name="csX31" fmla="*/ 66809 w 239117"/>
                <a:gd name="csY31" fmla="*/ 88272 h 140286"/>
                <a:gd name="csX32" fmla="*/ 91981 w 239117"/>
                <a:gd name="csY32" fmla="*/ 64757 h 140286"/>
                <a:gd name="csX33" fmla="*/ 65018 w 239117"/>
                <a:gd name="csY33" fmla="*/ 19989 h 140286"/>
                <a:gd name="csX34" fmla="*/ 174491 w 239117"/>
                <a:gd name="csY34" fmla="*/ 20207 h 140286"/>
                <a:gd name="csX35" fmla="*/ 147489 w 239117"/>
                <a:gd name="csY35" fmla="*/ 65039 h 140286"/>
                <a:gd name="csX36" fmla="*/ 121558 w 239117"/>
                <a:gd name="csY36" fmla="*/ 57980 h 140286"/>
                <a:gd name="csX37" fmla="*/ 91981 w 239117"/>
                <a:gd name="csY37" fmla="*/ 64757 h 140286"/>
                <a:gd name="csX38" fmla="*/ 119559 w 239117"/>
                <a:gd name="csY38" fmla="*/ 134344 h 140286"/>
                <a:gd name="csX39" fmla="*/ 99621 w 239117"/>
                <a:gd name="csY39" fmla="*/ 114406 h 140286"/>
                <a:gd name="csX40" fmla="*/ 119559 w 239117"/>
                <a:gd name="csY40" fmla="*/ 94468 h 140286"/>
                <a:gd name="csX41" fmla="*/ 139497 w 239117"/>
                <a:gd name="csY41" fmla="*/ 114406 h 140286"/>
                <a:gd name="csX42" fmla="*/ 119559 w 239117"/>
                <a:gd name="csY42" fmla="*/ 134344 h 140286"/>
                <a:gd name="csX43" fmla="*/ 144889 w 239117"/>
                <a:gd name="csY43" fmla="*/ 109033 h 140286"/>
                <a:gd name="csX44" fmla="*/ 137274 w 239117"/>
                <a:gd name="csY44" fmla="*/ 95539 h 140286"/>
                <a:gd name="csX45" fmla="*/ 166980 w 239117"/>
                <a:gd name="csY45" fmla="*/ 88217 h 140286"/>
                <a:gd name="csX46" fmla="*/ 180995 w 239117"/>
                <a:gd name="csY46" fmla="*/ 116698 h 140286"/>
                <a:gd name="csX47" fmla="*/ 173553 w 239117"/>
                <a:gd name="csY47" fmla="*/ 90201 h 140286"/>
                <a:gd name="csX48" fmla="*/ 179303 w 239117"/>
                <a:gd name="csY48" fmla="*/ 84784 h 140286"/>
                <a:gd name="csX49" fmla="*/ 179874 w 239117"/>
                <a:gd name="csY49" fmla="*/ 81192 h 140286"/>
                <a:gd name="csX50" fmla="*/ 176545 w 239117"/>
                <a:gd name="csY50" fmla="*/ 79724 h 140286"/>
                <a:gd name="csX51" fmla="*/ 167997 w 239117"/>
                <a:gd name="csY51" fmla="*/ 81832 h 140286"/>
                <a:gd name="csX52" fmla="*/ 152648 w 239117"/>
                <a:gd name="csY52" fmla="*/ 68006 h 140286"/>
                <a:gd name="csX53" fmla="*/ 179621 w 239117"/>
                <a:gd name="csY53" fmla="*/ 23219 h 140286"/>
                <a:gd name="csX54" fmla="*/ 233124 w 239117"/>
                <a:gd name="csY54" fmla="*/ 116693 h 140286"/>
                <a:gd name="csX55" fmla="*/ 180995 w 239117"/>
                <a:gd name="csY55" fmla="*/ 116693 h 140286"/>
                <a:gd name="csX56" fmla="*/ 119559 w 239117"/>
                <a:gd name="csY56" fmla="*/ 104290 h 140286"/>
                <a:gd name="csX57" fmla="*/ 109448 w 239117"/>
                <a:gd name="csY57" fmla="*/ 114401 h 140286"/>
                <a:gd name="csX58" fmla="*/ 119559 w 239117"/>
                <a:gd name="csY58" fmla="*/ 124511 h 140286"/>
                <a:gd name="csX59" fmla="*/ 129669 w 239117"/>
                <a:gd name="csY59" fmla="*/ 114401 h 140286"/>
                <a:gd name="csX60" fmla="*/ 119559 w 239117"/>
                <a:gd name="csY60" fmla="*/ 104290 h 140286"/>
                <a:gd name="csX61" fmla="*/ 119559 w 239117"/>
                <a:gd name="csY61" fmla="*/ 118558 h 140286"/>
                <a:gd name="csX62" fmla="*/ 115401 w 239117"/>
                <a:gd name="csY62" fmla="*/ 114401 h 140286"/>
                <a:gd name="csX63" fmla="*/ 119559 w 239117"/>
                <a:gd name="csY63" fmla="*/ 110244 h 140286"/>
                <a:gd name="csX64" fmla="*/ 123716 w 239117"/>
                <a:gd name="csY64" fmla="*/ 114401 h 140286"/>
                <a:gd name="csX65" fmla="*/ 119559 w 239117"/>
                <a:gd name="csY65" fmla="*/ 118558 h 140286"/>
                <a:gd name="csX66" fmla="*/ 140027 w 239117"/>
                <a:gd name="csY66" fmla="*/ 27103 h 140286"/>
                <a:gd name="csX67" fmla="*/ 137537 w 239117"/>
                <a:gd name="csY67" fmla="*/ 25064 h 140286"/>
                <a:gd name="csX68" fmla="*/ 126772 w 239117"/>
                <a:gd name="csY68" fmla="*/ 23824 h 140286"/>
                <a:gd name="csX69" fmla="*/ 122267 w 239117"/>
                <a:gd name="csY69" fmla="*/ 13967 h 140286"/>
                <a:gd name="csX70" fmla="*/ 119559 w 239117"/>
                <a:gd name="csY70" fmla="*/ 12225 h 140286"/>
                <a:gd name="csX71" fmla="*/ 116850 w 239117"/>
                <a:gd name="csY71" fmla="*/ 13967 h 140286"/>
                <a:gd name="csX72" fmla="*/ 112345 w 239117"/>
                <a:gd name="csY72" fmla="*/ 23824 h 140286"/>
                <a:gd name="csX73" fmla="*/ 101580 w 239117"/>
                <a:gd name="csY73" fmla="*/ 25064 h 140286"/>
                <a:gd name="csX74" fmla="*/ 99090 w 239117"/>
                <a:gd name="csY74" fmla="*/ 27103 h 140286"/>
                <a:gd name="csX75" fmla="*/ 99908 w 239117"/>
                <a:gd name="csY75" fmla="*/ 30214 h 140286"/>
                <a:gd name="csX76" fmla="*/ 107890 w 239117"/>
                <a:gd name="csY76" fmla="*/ 37546 h 140286"/>
                <a:gd name="csX77" fmla="*/ 105742 w 239117"/>
                <a:gd name="csY77" fmla="*/ 48167 h 140286"/>
                <a:gd name="csX78" fmla="*/ 106908 w 239117"/>
                <a:gd name="csY78" fmla="*/ 51164 h 140286"/>
                <a:gd name="csX79" fmla="*/ 108659 w 239117"/>
                <a:gd name="csY79" fmla="*/ 51734 h 140286"/>
                <a:gd name="csX80" fmla="*/ 110123 w 239117"/>
                <a:gd name="csY80" fmla="*/ 51352 h 140286"/>
                <a:gd name="csX81" fmla="*/ 119559 w 239117"/>
                <a:gd name="csY81" fmla="*/ 46024 h 140286"/>
                <a:gd name="csX82" fmla="*/ 128999 w 239117"/>
                <a:gd name="csY82" fmla="*/ 51352 h 140286"/>
                <a:gd name="csX83" fmla="*/ 132214 w 239117"/>
                <a:gd name="csY83" fmla="*/ 51169 h 140286"/>
                <a:gd name="csX84" fmla="*/ 133380 w 239117"/>
                <a:gd name="csY84" fmla="*/ 48172 h 140286"/>
                <a:gd name="csX85" fmla="*/ 131232 w 239117"/>
                <a:gd name="csY85" fmla="*/ 37551 h 140286"/>
                <a:gd name="csX86" fmla="*/ 139214 w 239117"/>
                <a:gd name="csY86" fmla="*/ 30219 h 140286"/>
                <a:gd name="csX87" fmla="*/ 140027 w 239117"/>
                <a:gd name="csY87" fmla="*/ 27103 h 140286"/>
                <a:gd name="csX88" fmla="*/ 125963 w 239117"/>
                <a:gd name="csY88" fmla="*/ 34301 h 140286"/>
                <a:gd name="csX89" fmla="*/ 125060 w 239117"/>
                <a:gd name="csY89" fmla="*/ 37085 h 140286"/>
                <a:gd name="csX90" fmla="*/ 126251 w 239117"/>
                <a:gd name="csY90" fmla="*/ 42973 h 140286"/>
                <a:gd name="csX91" fmla="*/ 121022 w 239117"/>
                <a:gd name="csY91" fmla="*/ 40021 h 140286"/>
                <a:gd name="csX92" fmla="*/ 118095 w 239117"/>
                <a:gd name="csY92" fmla="*/ 40021 h 140286"/>
                <a:gd name="csX93" fmla="*/ 112866 w 239117"/>
                <a:gd name="csY93" fmla="*/ 42973 h 140286"/>
                <a:gd name="csX94" fmla="*/ 114057 w 239117"/>
                <a:gd name="csY94" fmla="*/ 37085 h 140286"/>
                <a:gd name="csX95" fmla="*/ 113154 w 239117"/>
                <a:gd name="csY95" fmla="*/ 34301 h 140286"/>
                <a:gd name="csX96" fmla="*/ 108729 w 239117"/>
                <a:gd name="csY96" fmla="*/ 30238 h 140286"/>
                <a:gd name="csX97" fmla="*/ 114697 w 239117"/>
                <a:gd name="csY97" fmla="*/ 29554 h 140286"/>
                <a:gd name="csX98" fmla="*/ 117063 w 239117"/>
                <a:gd name="csY98" fmla="*/ 27832 h 140286"/>
                <a:gd name="csX99" fmla="*/ 119559 w 239117"/>
                <a:gd name="csY99" fmla="*/ 22370 h 140286"/>
                <a:gd name="csX100" fmla="*/ 122054 w 239117"/>
                <a:gd name="csY100" fmla="*/ 27832 h 140286"/>
                <a:gd name="csX101" fmla="*/ 124420 w 239117"/>
                <a:gd name="csY101" fmla="*/ 29554 h 140286"/>
                <a:gd name="csX102" fmla="*/ 130388 w 239117"/>
                <a:gd name="csY102" fmla="*/ 30238 h 140286"/>
                <a:gd name="csX103" fmla="*/ 62637 w 239117"/>
                <a:gd name="csY103" fmla="*/ 66801 h 140286"/>
                <a:gd name="csX104" fmla="*/ 51872 w 239117"/>
                <a:gd name="csY104" fmla="*/ 65560 h 140286"/>
                <a:gd name="csX105" fmla="*/ 47367 w 239117"/>
                <a:gd name="csY105" fmla="*/ 55703 h 140286"/>
                <a:gd name="csX106" fmla="*/ 44658 w 239117"/>
                <a:gd name="csY106" fmla="*/ 53962 h 140286"/>
                <a:gd name="csX107" fmla="*/ 41950 w 239117"/>
                <a:gd name="csY107" fmla="*/ 55703 h 140286"/>
                <a:gd name="csX108" fmla="*/ 37445 w 239117"/>
                <a:gd name="csY108" fmla="*/ 65560 h 140286"/>
                <a:gd name="csX109" fmla="*/ 26680 w 239117"/>
                <a:gd name="csY109" fmla="*/ 66801 h 140286"/>
                <a:gd name="csX110" fmla="*/ 24190 w 239117"/>
                <a:gd name="csY110" fmla="*/ 68840 h 140286"/>
                <a:gd name="csX111" fmla="*/ 25008 w 239117"/>
                <a:gd name="csY111" fmla="*/ 71950 h 140286"/>
                <a:gd name="csX112" fmla="*/ 32990 w 239117"/>
                <a:gd name="csY112" fmla="*/ 79282 h 140286"/>
                <a:gd name="csX113" fmla="*/ 30842 w 239117"/>
                <a:gd name="csY113" fmla="*/ 89904 h 140286"/>
                <a:gd name="csX114" fmla="*/ 32008 w 239117"/>
                <a:gd name="csY114" fmla="*/ 92900 h 140286"/>
                <a:gd name="csX115" fmla="*/ 35223 w 239117"/>
                <a:gd name="csY115" fmla="*/ 93084 h 140286"/>
                <a:gd name="csX116" fmla="*/ 44663 w 239117"/>
                <a:gd name="csY116" fmla="*/ 87756 h 140286"/>
                <a:gd name="csX117" fmla="*/ 54104 w 239117"/>
                <a:gd name="csY117" fmla="*/ 93084 h 140286"/>
                <a:gd name="csX118" fmla="*/ 55567 w 239117"/>
                <a:gd name="csY118" fmla="*/ 93466 h 140286"/>
                <a:gd name="csX119" fmla="*/ 57319 w 239117"/>
                <a:gd name="csY119" fmla="*/ 92895 h 140286"/>
                <a:gd name="csX120" fmla="*/ 58484 w 239117"/>
                <a:gd name="csY120" fmla="*/ 89899 h 140286"/>
                <a:gd name="csX121" fmla="*/ 56336 w 239117"/>
                <a:gd name="csY121" fmla="*/ 79277 h 140286"/>
                <a:gd name="csX122" fmla="*/ 64319 w 239117"/>
                <a:gd name="csY122" fmla="*/ 71945 h 140286"/>
                <a:gd name="csX123" fmla="*/ 65137 w 239117"/>
                <a:gd name="csY123" fmla="*/ 68835 h 140286"/>
                <a:gd name="csX124" fmla="*/ 62637 w 239117"/>
                <a:gd name="csY124" fmla="*/ 66801 h 140286"/>
                <a:gd name="csX125" fmla="*/ 51063 w 239117"/>
                <a:gd name="csY125" fmla="*/ 76033 h 140286"/>
                <a:gd name="csX126" fmla="*/ 50160 w 239117"/>
                <a:gd name="csY126" fmla="*/ 78816 h 140286"/>
                <a:gd name="csX127" fmla="*/ 51351 w 239117"/>
                <a:gd name="csY127" fmla="*/ 84705 h 140286"/>
                <a:gd name="csX128" fmla="*/ 46122 w 239117"/>
                <a:gd name="csY128" fmla="*/ 81753 h 140286"/>
                <a:gd name="csX129" fmla="*/ 44658 w 239117"/>
                <a:gd name="csY129" fmla="*/ 81371 h 140286"/>
                <a:gd name="csX130" fmla="*/ 43195 w 239117"/>
                <a:gd name="csY130" fmla="*/ 81753 h 140286"/>
                <a:gd name="csX131" fmla="*/ 37966 w 239117"/>
                <a:gd name="csY131" fmla="*/ 84705 h 140286"/>
                <a:gd name="csX132" fmla="*/ 39157 w 239117"/>
                <a:gd name="csY132" fmla="*/ 78816 h 140286"/>
                <a:gd name="csX133" fmla="*/ 38254 w 239117"/>
                <a:gd name="csY133" fmla="*/ 76033 h 140286"/>
                <a:gd name="csX134" fmla="*/ 33829 w 239117"/>
                <a:gd name="csY134" fmla="*/ 71970 h 140286"/>
                <a:gd name="csX135" fmla="*/ 39797 w 239117"/>
                <a:gd name="csY135" fmla="*/ 71285 h 140286"/>
                <a:gd name="csX136" fmla="*/ 42163 w 239117"/>
                <a:gd name="csY136" fmla="*/ 69564 h 140286"/>
                <a:gd name="csX137" fmla="*/ 44658 w 239117"/>
                <a:gd name="csY137" fmla="*/ 64102 h 140286"/>
                <a:gd name="csX138" fmla="*/ 47154 w 239117"/>
                <a:gd name="csY138" fmla="*/ 69564 h 140286"/>
                <a:gd name="csX139" fmla="*/ 49520 w 239117"/>
                <a:gd name="csY139" fmla="*/ 71285 h 140286"/>
                <a:gd name="csX140" fmla="*/ 55488 w 239117"/>
                <a:gd name="csY140" fmla="*/ 71970 h 140286"/>
                <a:gd name="csX141" fmla="*/ 196979 w 239117"/>
                <a:gd name="csY141" fmla="*/ 53967 h 140286"/>
                <a:gd name="csX142" fmla="*/ 194270 w 239117"/>
                <a:gd name="csY142" fmla="*/ 55708 h 140286"/>
                <a:gd name="csX143" fmla="*/ 189766 w 239117"/>
                <a:gd name="csY143" fmla="*/ 65565 h 140286"/>
                <a:gd name="csX144" fmla="*/ 179001 w 239117"/>
                <a:gd name="csY144" fmla="*/ 66806 h 140286"/>
                <a:gd name="csX145" fmla="*/ 176510 w 239117"/>
                <a:gd name="csY145" fmla="*/ 68844 h 140286"/>
                <a:gd name="csX146" fmla="*/ 177329 w 239117"/>
                <a:gd name="csY146" fmla="*/ 71955 h 140286"/>
                <a:gd name="csX147" fmla="*/ 185311 w 239117"/>
                <a:gd name="csY147" fmla="*/ 79287 h 140286"/>
                <a:gd name="csX148" fmla="*/ 183163 w 239117"/>
                <a:gd name="csY148" fmla="*/ 89909 h 140286"/>
                <a:gd name="csX149" fmla="*/ 184329 w 239117"/>
                <a:gd name="csY149" fmla="*/ 92905 h 140286"/>
                <a:gd name="csX150" fmla="*/ 187543 w 239117"/>
                <a:gd name="csY150" fmla="*/ 93089 h 140286"/>
                <a:gd name="csX151" fmla="*/ 196984 w 239117"/>
                <a:gd name="csY151" fmla="*/ 87761 h 140286"/>
                <a:gd name="csX152" fmla="*/ 206425 w 239117"/>
                <a:gd name="csY152" fmla="*/ 93089 h 140286"/>
                <a:gd name="csX153" fmla="*/ 207888 w 239117"/>
                <a:gd name="csY153" fmla="*/ 93471 h 140286"/>
                <a:gd name="csX154" fmla="*/ 209639 w 239117"/>
                <a:gd name="csY154" fmla="*/ 92900 h 140286"/>
                <a:gd name="csX155" fmla="*/ 210805 w 239117"/>
                <a:gd name="csY155" fmla="*/ 89904 h 140286"/>
                <a:gd name="csX156" fmla="*/ 208657 w 239117"/>
                <a:gd name="csY156" fmla="*/ 79282 h 140286"/>
                <a:gd name="csX157" fmla="*/ 216639 w 239117"/>
                <a:gd name="csY157" fmla="*/ 71950 h 140286"/>
                <a:gd name="csX158" fmla="*/ 217458 w 239117"/>
                <a:gd name="csY158" fmla="*/ 68840 h 140286"/>
                <a:gd name="csX159" fmla="*/ 214967 w 239117"/>
                <a:gd name="csY159" fmla="*/ 66801 h 140286"/>
                <a:gd name="csX160" fmla="*/ 204202 w 239117"/>
                <a:gd name="csY160" fmla="*/ 65560 h 140286"/>
                <a:gd name="csX161" fmla="*/ 199698 w 239117"/>
                <a:gd name="csY161" fmla="*/ 55703 h 140286"/>
                <a:gd name="csX162" fmla="*/ 196979 w 239117"/>
                <a:gd name="csY162" fmla="*/ 53967 h 140286"/>
                <a:gd name="csX163" fmla="*/ 201846 w 239117"/>
                <a:gd name="csY163" fmla="*/ 71285 h 140286"/>
                <a:gd name="csX164" fmla="*/ 207814 w 239117"/>
                <a:gd name="csY164" fmla="*/ 71970 h 140286"/>
                <a:gd name="csX165" fmla="*/ 203389 w 239117"/>
                <a:gd name="csY165" fmla="*/ 76033 h 140286"/>
                <a:gd name="csX166" fmla="*/ 202486 w 239117"/>
                <a:gd name="csY166" fmla="*/ 78816 h 140286"/>
                <a:gd name="csX167" fmla="*/ 203676 w 239117"/>
                <a:gd name="csY167" fmla="*/ 84705 h 140286"/>
                <a:gd name="csX168" fmla="*/ 198447 w 239117"/>
                <a:gd name="csY168" fmla="*/ 81753 h 140286"/>
                <a:gd name="csX169" fmla="*/ 196984 w 239117"/>
                <a:gd name="csY169" fmla="*/ 81371 h 140286"/>
                <a:gd name="csX170" fmla="*/ 195520 w 239117"/>
                <a:gd name="csY170" fmla="*/ 81753 h 140286"/>
                <a:gd name="csX171" fmla="*/ 190292 w 239117"/>
                <a:gd name="csY171" fmla="*/ 84705 h 140286"/>
                <a:gd name="csX172" fmla="*/ 191482 w 239117"/>
                <a:gd name="csY172" fmla="*/ 78816 h 140286"/>
                <a:gd name="csX173" fmla="*/ 190579 w 239117"/>
                <a:gd name="csY173" fmla="*/ 76033 h 140286"/>
                <a:gd name="csX174" fmla="*/ 186154 w 239117"/>
                <a:gd name="csY174" fmla="*/ 71970 h 140286"/>
                <a:gd name="csX175" fmla="*/ 192122 w 239117"/>
                <a:gd name="csY175" fmla="*/ 71285 h 140286"/>
                <a:gd name="csX176" fmla="*/ 194489 w 239117"/>
                <a:gd name="csY176" fmla="*/ 69564 h 140286"/>
                <a:gd name="csX177" fmla="*/ 196984 w 239117"/>
                <a:gd name="csY177" fmla="*/ 64102 h 140286"/>
                <a:gd name="csX178" fmla="*/ 199479 w 239117"/>
                <a:gd name="csY178" fmla="*/ 69564 h 140286"/>
                <a:gd name="csX179" fmla="*/ 201846 w 239117"/>
                <a:gd name="csY179" fmla="*/ 71285 h 14028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Lst>
              <a:rect l="l" t="t" r="r" b="b"/>
              <a:pathLst>
                <a:path w="239117" h="140286">
                  <a:moveTo>
                    <a:pt x="223153" y="59954"/>
                  </a:moveTo>
                  <a:cubicBezTo>
                    <a:pt x="213023" y="42418"/>
                    <a:pt x="198497" y="27629"/>
                    <a:pt x="181144" y="17181"/>
                  </a:cubicBezTo>
                  <a:cubicBezTo>
                    <a:pt x="143599" y="-5426"/>
                    <a:pt x="96947" y="-5743"/>
                    <a:pt x="59382" y="16348"/>
                  </a:cubicBezTo>
                  <a:cubicBezTo>
                    <a:pt x="59372" y="16353"/>
                    <a:pt x="59368" y="16358"/>
                    <a:pt x="59358" y="16363"/>
                  </a:cubicBezTo>
                  <a:cubicBezTo>
                    <a:pt x="59358" y="16363"/>
                    <a:pt x="59358" y="16363"/>
                    <a:pt x="59353" y="16363"/>
                  </a:cubicBezTo>
                  <a:cubicBezTo>
                    <a:pt x="59353" y="16363"/>
                    <a:pt x="59348" y="16363"/>
                    <a:pt x="59348" y="16368"/>
                  </a:cubicBezTo>
                  <a:cubicBezTo>
                    <a:pt x="41563" y="26835"/>
                    <a:pt x="26680" y="41713"/>
                    <a:pt x="16312" y="59399"/>
                  </a:cubicBezTo>
                  <a:cubicBezTo>
                    <a:pt x="5641" y="77601"/>
                    <a:pt x="0" y="98446"/>
                    <a:pt x="0" y="119674"/>
                  </a:cubicBezTo>
                  <a:cubicBezTo>
                    <a:pt x="0" y="121316"/>
                    <a:pt x="1334" y="122651"/>
                    <a:pt x="2977" y="122651"/>
                  </a:cubicBezTo>
                  <a:lnTo>
                    <a:pt x="61238" y="122651"/>
                  </a:lnTo>
                  <a:cubicBezTo>
                    <a:pt x="62032" y="122651"/>
                    <a:pt x="62791" y="122333"/>
                    <a:pt x="63346" y="121773"/>
                  </a:cubicBezTo>
                  <a:cubicBezTo>
                    <a:pt x="63907" y="121212"/>
                    <a:pt x="64214" y="120448"/>
                    <a:pt x="64214" y="119654"/>
                  </a:cubicBezTo>
                  <a:cubicBezTo>
                    <a:pt x="64095" y="99448"/>
                    <a:pt x="74727" y="81316"/>
                    <a:pt x="92655" y="71156"/>
                  </a:cubicBezTo>
                  <a:cubicBezTo>
                    <a:pt x="110341" y="61125"/>
                    <a:pt x="129962" y="61453"/>
                    <a:pt x="147895" y="72069"/>
                  </a:cubicBezTo>
                  <a:cubicBezTo>
                    <a:pt x="153095" y="75145"/>
                    <a:pt x="157669" y="78960"/>
                    <a:pt x="161563" y="83420"/>
                  </a:cubicBezTo>
                  <a:lnTo>
                    <a:pt x="130696" y="91025"/>
                  </a:lnTo>
                  <a:cubicBezTo>
                    <a:pt x="127322" y="89408"/>
                    <a:pt x="123542" y="88505"/>
                    <a:pt x="119559" y="88505"/>
                  </a:cubicBezTo>
                  <a:cubicBezTo>
                    <a:pt x="105281" y="88505"/>
                    <a:pt x="93667" y="100118"/>
                    <a:pt x="93667" y="114396"/>
                  </a:cubicBezTo>
                  <a:cubicBezTo>
                    <a:pt x="93667" y="128673"/>
                    <a:pt x="105281" y="140287"/>
                    <a:pt x="119559" y="140287"/>
                  </a:cubicBezTo>
                  <a:cubicBezTo>
                    <a:pt x="133033" y="140287"/>
                    <a:pt x="144125" y="129943"/>
                    <a:pt x="145336" y="116782"/>
                  </a:cubicBezTo>
                  <a:lnTo>
                    <a:pt x="169069" y="94418"/>
                  </a:lnTo>
                  <a:cubicBezTo>
                    <a:pt x="173052" y="102147"/>
                    <a:pt x="175086" y="110625"/>
                    <a:pt x="175121" y="119674"/>
                  </a:cubicBezTo>
                  <a:cubicBezTo>
                    <a:pt x="175126" y="121311"/>
                    <a:pt x="176461" y="122641"/>
                    <a:pt x="178098" y="122641"/>
                  </a:cubicBezTo>
                  <a:lnTo>
                    <a:pt x="236141" y="122641"/>
                  </a:lnTo>
                  <a:cubicBezTo>
                    <a:pt x="237783" y="122641"/>
                    <a:pt x="239117" y="121306"/>
                    <a:pt x="239117" y="119664"/>
                  </a:cubicBezTo>
                  <a:cubicBezTo>
                    <a:pt x="239117" y="98680"/>
                    <a:pt x="233596" y="78027"/>
                    <a:pt x="223153" y="59954"/>
                  </a:cubicBezTo>
                  <a:close/>
                  <a:moveTo>
                    <a:pt x="66809" y="88272"/>
                  </a:moveTo>
                  <a:cubicBezTo>
                    <a:pt x="61659" y="96889"/>
                    <a:pt x="58752" y="106657"/>
                    <a:pt x="58316" y="116698"/>
                  </a:cubicBezTo>
                  <a:lnTo>
                    <a:pt x="5993" y="116698"/>
                  </a:lnTo>
                  <a:cubicBezTo>
                    <a:pt x="6970" y="78156"/>
                    <a:pt x="26903" y="43504"/>
                    <a:pt x="59883" y="23000"/>
                  </a:cubicBezTo>
                  <a:lnTo>
                    <a:pt x="86821" y="67728"/>
                  </a:lnTo>
                  <a:cubicBezTo>
                    <a:pt x="78616" y="72977"/>
                    <a:pt x="71735" y="80021"/>
                    <a:pt x="66809" y="88272"/>
                  </a:cubicBezTo>
                  <a:close/>
                  <a:moveTo>
                    <a:pt x="91981" y="64757"/>
                  </a:moveTo>
                  <a:lnTo>
                    <a:pt x="65018" y="19989"/>
                  </a:lnTo>
                  <a:cubicBezTo>
                    <a:pt x="99030" y="1187"/>
                    <a:pt x="140345" y="1291"/>
                    <a:pt x="174491" y="20207"/>
                  </a:cubicBezTo>
                  <a:lnTo>
                    <a:pt x="147489" y="65039"/>
                  </a:lnTo>
                  <a:cubicBezTo>
                    <a:pt x="139154" y="60709"/>
                    <a:pt x="130453" y="58337"/>
                    <a:pt x="121558" y="57980"/>
                  </a:cubicBezTo>
                  <a:cubicBezTo>
                    <a:pt x="111383" y="57573"/>
                    <a:pt x="101446" y="59855"/>
                    <a:pt x="91981" y="64757"/>
                  </a:cubicBezTo>
                  <a:close/>
                  <a:moveTo>
                    <a:pt x="119559" y="134344"/>
                  </a:moveTo>
                  <a:cubicBezTo>
                    <a:pt x="108565" y="134344"/>
                    <a:pt x="99621" y="125399"/>
                    <a:pt x="99621" y="114406"/>
                  </a:cubicBezTo>
                  <a:cubicBezTo>
                    <a:pt x="99621" y="103412"/>
                    <a:pt x="108565" y="94468"/>
                    <a:pt x="119559" y="94468"/>
                  </a:cubicBezTo>
                  <a:cubicBezTo>
                    <a:pt x="130552" y="94468"/>
                    <a:pt x="139497" y="103412"/>
                    <a:pt x="139497" y="114406"/>
                  </a:cubicBezTo>
                  <a:cubicBezTo>
                    <a:pt x="139497" y="125399"/>
                    <a:pt x="130552" y="134344"/>
                    <a:pt x="119559" y="134344"/>
                  </a:cubicBezTo>
                  <a:close/>
                  <a:moveTo>
                    <a:pt x="144889" y="109033"/>
                  </a:moveTo>
                  <a:cubicBezTo>
                    <a:pt x="143773" y="103769"/>
                    <a:pt x="141054" y="99096"/>
                    <a:pt x="137274" y="95539"/>
                  </a:cubicBezTo>
                  <a:lnTo>
                    <a:pt x="166980" y="88217"/>
                  </a:lnTo>
                  <a:close/>
                  <a:moveTo>
                    <a:pt x="180995" y="116698"/>
                  </a:moveTo>
                  <a:cubicBezTo>
                    <a:pt x="180519" y="107312"/>
                    <a:pt x="177974" y="98248"/>
                    <a:pt x="173553" y="90201"/>
                  </a:cubicBezTo>
                  <a:lnTo>
                    <a:pt x="179303" y="84784"/>
                  </a:lnTo>
                  <a:cubicBezTo>
                    <a:pt x="180285" y="83856"/>
                    <a:pt x="180524" y="82383"/>
                    <a:pt x="179874" y="81192"/>
                  </a:cubicBezTo>
                  <a:cubicBezTo>
                    <a:pt x="179229" y="80007"/>
                    <a:pt x="177860" y="79401"/>
                    <a:pt x="176545" y="79724"/>
                  </a:cubicBezTo>
                  <a:lnTo>
                    <a:pt x="167997" y="81832"/>
                  </a:lnTo>
                  <a:cubicBezTo>
                    <a:pt x="163706" y="76400"/>
                    <a:pt x="158557" y="71762"/>
                    <a:pt x="152648" y="68006"/>
                  </a:cubicBezTo>
                  <a:lnTo>
                    <a:pt x="179621" y="23219"/>
                  </a:lnTo>
                  <a:cubicBezTo>
                    <a:pt x="212343" y="43613"/>
                    <a:pt x="232152" y="78260"/>
                    <a:pt x="233124" y="116693"/>
                  </a:cubicBezTo>
                  <a:lnTo>
                    <a:pt x="180995" y="116693"/>
                  </a:lnTo>
                  <a:close/>
                  <a:moveTo>
                    <a:pt x="119559" y="104290"/>
                  </a:moveTo>
                  <a:cubicBezTo>
                    <a:pt x="113983" y="104290"/>
                    <a:pt x="109448" y="108825"/>
                    <a:pt x="109448" y="114401"/>
                  </a:cubicBezTo>
                  <a:cubicBezTo>
                    <a:pt x="109448" y="119977"/>
                    <a:pt x="113983" y="124511"/>
                    <a:pt x="119559" y="124511"/>
                  </a:cubicBezTo>
                  <a:cubicBezTo>
                    <a:pt x="125135" y="124511"/>
                    <a:pt x="129669" y="119977"/>
                    <a:pt x="129669" y="114401"/>
                  </a:cubicBezTo>
                  <a:cubicBezTo>
                    <a:pt x="129669" y="108825"/>
                    <a:pt x="125135" y="104290"/>
                    <a:pt x="119559" y="104290"/>
                  </a:cubicBezTo>
                  <a:close/>
                  <a:moveTo>
                    <a:pt x="119559" y="118558"/>
                  </a:moveTo>
                  <a:cubicBezTo>
                    <a:pt x="117267" y="118558"/>
                    <a:pt x="115401" y="116693"/>
                    <a:pt x="115401" y="114401"/>
                  </a:cubicBezTo>
                  <a:cubicBezTo>
                    <a:pt x="115401" y="112109"/>
                    <a:pt x="117267" y="110244"/>
                    <a:pt x="119559" y="110244"/>
                  </a:cubicBezTo>
                  <a:cubicBezTo>
                    <a:pt x="121851" y="110244"/>
                    <a:pt x="123716" y="112109"/>
                    <a:pt x="123716" y="114401"/>
                  </a:cubicBezTo>
                  <a:cubicBezTo>
                    <a:pt x="123716" y="116693"/>
                    <a:pt x="121851" y="118558"/>
                    <a:pt x="119559" y="118558"/>
                  </a:cubicBezTo>
                  <a:close/>
                  <a:moveTo>
                    <a:pt x="140027" y="27103"/>
                  </a:moveTo>
                  <a:cubicBezTo>
                    <a:pt x="139665" y="25997"/>
                    <a:pt x="138693" y="25198"/>
                    <a:pt x="137537" y="25064"/>
                  </a:cubicBezTo>
                  <a:lnTo>
                    <a:pt x="126772" y="23824"/>
                  </a:lnTo>
                  <a:lnTo>
                    <a:pt x="122267" y="13967"/>
                  </a:lnTo>
                  <a:cubicBezTo>
                    <a:pt x="121781" y="12905"/>
                    <a:pt x="120724" y="12225"/>
                    <a:pt x="119559" y="12225"/>
                  </a:cubicBezTo>
                  <a:cubicBezTo>
                    <a:pt x="118393" y="12225"/>
                    <a:pt x="117336" y="12905"/>
                    <a:pt x="116850" y="13967"/>
                  </a:cubicBezTo>
                  <a:lnTo>
                    <a:pt x="112345" y="23824"/>
                  </a:lnTo>
                  <a:lnTo>
                    <a:pt x="101580" y="25064"/>
                  </a:lnTo>
                  <a:cubicBezTo>
                    <a:pt x="100424" y="25198"/>
                    <a:pt x="99452" y="25992"/>
                    <a:pt x="99090" y="27103"/>
                  </a:cubicBezTo>
                  <a:cubicBezTo>
                    <a:pt x="98728" y="28209"/>
                    <a:pt x="99050" y="29430"/>
                    <a:pt x="99908" y="30214"/>
                  </a:cubicBezTo>
                  <a:lnTo>
                    <a:pt x="107890" y="37546"/>
                  </a:lnTo>
                  <a:lnTo>
                    <a:pt x="105742" y="48167"/>
                  </a:lnTo>
                  <a:cubicBezTo>
                    <a:pt x="105509" y="49308"/>
                    <a:pt x="105966" y="50479"/>
                    <a:pt x="106908" y="51164"/>
                  </a:cubicBezTo>
                  <a:cubicBezTo>
                    <a:pt x="107429" y="51541"/>
                    <a:pt x="108039" y="51734"/>
                    <a:pt x="108659" y="51734"/>
                  </a:cubicBezTo>
                  <a:cubicBezTo>
                    <a:pt x="109160" y="51734"/>
                    <a:pt x="109666" y="51605"/>
                    <a:pt x="110123" y="51352"/>
                  </a:cubicBezTo>
                  <a:lnTo>
                    <a:pt x="119559" y="46024"/>
                  </a:lnTo>
                  <a:lnTo>
                    <a:pt x="128999" y="51352"/>
                  </a:lnTo>
                  <a:cubicBezTo>
                    <a:pt x="130016" y="51923"/>
                    <a:pt x="131271" y="51853"/>
                    <a:pt x="132214" y="51169"/>
                  </a:cubicBezTo>
                  <a:cubicBezTo>
                    <a:pt x="133157" y="50484"/>
                    <a:pt x="133613" y="49313"/>
                    <a:pt x="133380" y="48172"/>
                  </a:cubicBezTo>
                  <a:lnTo>
                    <a:pt x="131232" y="37551"/>
                  </a:lnTo>
                  <a:lnTo>
                    <a:pt x="139214" y="30219"/>
                  </a:lnTo>
                  <a:cubicBezTo>
                    <a:pt x="140067" y="29430"/>
                    <a:pt x="140390" y="28209"/>
                    <a:pt x="140027" y="27103"/>
                  </a:cubicBezTo>
                  <a:close/>
                  <a:moveTo>
                    <a:pt x="125963" y="34301"/>
                  </a:moveTo>
                  <a:cubicBezTo>
                    <a:pt x="125194" y="35006"/>
                    <a:pt x="124852" y="36063"/>
                    <a:pt x="125060" y="37085"/>
                  </a:cubicBezTo>
                  <a:lnTo>
                    <a:pt x="126251" y="42973"/>
                  </a:lnTo>
                  <a:lnTo>
                    <a:pt x="121022" y="40021"/>
                  </a:lnTo>
                  <a:cubicBezTo>
                    <a:pt x="120114" y="39510"/>
                    <a:pt x="119003" y="39510"/>
                    <a:pt x="118095" y="40021"/>
                  </a:cubicBezTo>
                  <a:lnTo>
                    <a:pt x="112866" y="42973"/>
                  </a:lnTo>
                  <a:lnTo>
                    <a:pt x="114057" y="37085"/>
                  </a:lnTo>
                  <a:cubicBezTo>
                    <a:pt x="114265" y="36063"/>
                    <a:pt x="113923" y="35006"/>
                    <a:pt x="113154" y="34301"/>
                  </a:cubicBezTo>
                  <a:lnTo>
                    <a:pt x="108729" y="30238"/>
                  </a:lnTo>
                  <a:lnTo>
                    <a:pt x="114697" y="29554"/>
                  </a:lnTo>
                  <a:cubicBezTo>
                    <a:pt x="115734" y="29435"/>
                    <a:pt x="116632" y="28780"/>
                    <a:pt x="117063" y="27832"/>
                  </a:cubicBezTo>
                  <a:lnTo>
                    <a:pt x="119559" y="22370"/>
                  </a:lnTo>
                  <a:lnTo>
                    <a:pt x="122054" y="27832"/>
                  </a:lnTo>
                  <a:cubicBezTo>
                    <a:pt x="122486" y="28780"/>
                    <a:pt x="123383" y="29435"/>
                    <a:pt x="124420" y="29554"/>
                  </a:cubicBezTo>
                  <a:lnTo>
                    <a:pt x="130388" y="30238"/>
                  </a:lnTo>
                  <a:close/>
                  <a:moveTo>
                    <a:pt x="62637" y="66801"/>
                  </a:moveTo>
                  <a:lnTo>
                    <a:pt x="51872" y="65560"/>
                  </a:lnTo>
                  <a:lnTo>
                    <a:pt x="47367" y="55703"/>
                  </a:lnTo>
                  <a:cubicBezTo>
                    <a:pt x="46881" y="54641"/>
                    <a:pt x="45824" y="53962"/>
                    <a:pt x="44658" y="53962"/>
                  </a:cubicBezTo>
                  <a:cubicBezTo>
                    <a:pt x="43493" y="53962"/>
                    <a:pt x="42436" y="54641"/>
                    <a:pt x="41950" y="55703"/>
                  </a:cubicBezTo>
                  <a:lnTo>
                    <a:pt x="37445" y="65560"/>
                  </a:lnTo>
                  <a:lnTo>
                    <a:pt x="26680" y="66801"/>
                  </a:lnTo>
                  <a:cubicBezTo>
                    <a:pt x="25524" y="66935"/>
                    <a:pt x="24552" y="67728"/>
                    <a:pt x="24190" y="68840"/>
                  </a:cubicBezTo>
                  <a:cubicBezTo>
                    <a:pt x="23827" y="69946"/>
                    <a:pt x="24150" y="71166"/>
                    <a:pt x="25008" y="71950"/>
                  </a:cubicBezTo>
                  <a:lnTo>
                    <a:pt x="32990" y="79282"/>
                  </a:lnTo>
                  <a:lnTo>
                    <a:pt x="30842" y="89904"/>
                  </a:lnTo>
                  <a:cubicBezTo>
                    <a:pt x="30609" y="91045"/>
                    <a:pt x="31065" y="92215"/>
                    <a:pt x="32008" y="92900"/>
                  </a:cubicBezTo>
                  <a:cubicBezTo>
                    <a:pt x="32951" y="93585"/>
                    <a:pt x="34206" y="93659"/>
                    <a:pt x="35223" y="93084"/>
                  </a:cubicBezTo>
                  <a:lnTo>
                    <a:pt x="44663" y="87756"/>
                  </a:lnTo>
                  <a:lnTo>
                    <a:pt x="54104" y="93084"/>
                  </a:lnTo>
                  <a:cubicBezTo>
                    <a:pt x="54560" y="93342"/>
                    <a:pt x="55066" y="93466"/>
                    <a:pt x="55567" y="93466"/>
                  </a:cubicBezTo>
                  <a:cubicBezTo>
                    <a:pt x="56183" y="93466"/>
                    <a:pt x="56798" y="93272"/>
                    <a:pt x="57319" y="92895"/>
                  </a:cubicBezTo>
                  <a:cubicBezTo>
                    <a:pt x="58261" y="92210"/>
                    <a:pt x="58718" y="91040"/>
                    <a:pt x="58484" y="89899"/>
                  </a:cubicBezTo>
                  <a:lnTo>
                    <a:pt x="56336" y="79277"/>
                  </a:lnTo>
                  <a:lnTo>
                    <a:pt x="64319" y="71945"/>
                  </a:lnTo>
                  <a:cubicBezTo>
                    <a:pt x="65177" y="71156"/>
                    <a:pt x="65494" y="69941"/>
                    <a:pt x="65137" y="68835"/>
                  </a:cubicBezTo>
                  <a:cubicBezTo>
                    <a:pt x="64765" y="67733"/>
                    <a:pt x="63793" y="66935"/>
                    <a:pt x="62637" y="66801"/>
                  </a:cubicBezTo>
                  <a:close/>
                  <a:moveTo>
                    <a:pt x="51063" y="76033"/>
                  </a:moveTo>
                  <a:cubicBezTo>
                    <a:pt x="50294" y="76737"/>
                    <a:pt x="49952" y="77794"/>
                    <a:pt x="50160" y="78816"/>
                  </a:cubicBezTo>
                  <a:lnTo>
                    <a:pt x="51351" y="84705"/>
                  </a:lnTo>
                  <a:lnTo>
                    <a:pt x="46122" y="81753"/>
                  </a:lnTo>
                  <a:cubicBezTo>
                    <a:pt x="45665" y="81495"/>
                    <a:pt x="45164" y="81371"/>
                    <a:pt x="44658" y="81371"/>
                  </a:cubicBezTo>
                  <a:cubicBezTo>
                    <a:pt x="44152" y="81371"/>
                    <a:pt x="43651" y="81500"/>
                    <a:pt x="43195" y="81753"/>
                  </a:cubicBezTo>
                  <a:lnTo>
                    <a:pt x="37966" y="84705"/>
                  </a:lnTo>
                  <a:lnTo>
                    <a:pt x="39157" y="78816"/>
                  </a:lnTo>
                  <a:cubicBezTo>
                    <a:pt x="39365" y="77794"/>
                    <a:pt x="39023" y="76737"/>
                    <a:pt x="38254" y="76033"/>
                  </a:cubicBezTo>
                  <a:lnTo>
                    <a:pt x="33829" y="71970"/>
                  </a:lnTo>
                  <a:lnTo>
                    <a:pt x="39797" y="71285"/>
                  </a:lnTo>
                  <a:cubicBezTo>
                    <a:pt x="40833" y="71166"/>
                    <a:pt x="41731" y="70511"/>
                    <a:pt x="42163" y="69564"/>
                  </a:cubicBezTo>
                  <a:lnTo>
                    <a:pt x="44658" y="64102"/>
                  </a:lnTo>
                  <a:lnTo>
                    <a:pt x="47154" y="69564"/>
                  </a:lnTo>
                  <a:cubicBezTo>
                    <a:pt x="47585" y="70511"/>
                    <a:pt x="48483" y="71166"/>
                    <a:pt x="49520" y="71285"/>
                  </a:cubicBezTo>
                  <a:lnTo>
                    <a:pt x="55488" y="71970"/>
                  </a:lnTo>
                  <a:close/>
                  <a:moveTo>
                    <a:pt x="196979" y="53967"/>
                  </a:moveTo>
                  <a:cubicBezTo>
                    <a:pt x="195813" y="53967"/>
                    <a:pt x="194756" y="54646"/>
                    <a:pt x="194270" y="55708"/>
                  </a:cubicBezTo>
                  <a:lnTo>
                    <a:pt x="189766" y="65565"/>
                  </a:lnTo>
                  <a:lnTo>
                    <a:pt x="179001" y="66806"/>
                  </a:lnTo>
                  <a:cubicBezTo>
                    <a:pt x="177845" y="66939"/>
                    <a:pt x="176872" y="67733"/>
                    <a:pt x="176510" y="68844"/>
                  </a:cubicBezTo>
                  <a:cubicBezTo>
                    <a:pt x="176148" y="69951"/>
                    <a:pt x="176470" y="71171"/>
                    <a:pt x="177329" y="71955"/>
                  </a:cubicBezTo>
                  <a:lnTo>
                    <a:pt x="185311" y="79287"/>
                  </a:lnTo>
                  <a:lnTo>
                    <a:pt x="183163" y="89909"/>
                  </a:lnTo>
                  <a:cubicBezTo>
                    <a:pt x="182930" y="91050"/>
                    <a:pt x="183386" y="92220"/>
                    <a:pt x="184329" y="92905"/>
                  </a:cubicBezTo>
                  <a:cubicBezTo>
                    <a:pt x="185271" y="93590"/>
                    <a:pt x="186526" y="93664"/>
                    <a:pt x="187543" y="93089"/>
                  </a:cubicBezTo>
                  <a:lnTo>
                    <a:pt x="196984" y="87761"/>
                  </a:lnTo>
                  <a:lnTo>
                    <a:pt x="206425" y="93089"/>
                  </a:lnTo>
                  <a:cubicBezTo>
                    <a:pt x="206881" y="93347"/>
                    <a:pt x="207387" y="93471"/>
                    <a:pt x="207888" y="93471"/>
                  </a:cubicBezTo>
                  <a:cubicBezTo>
                    <a:pt x="208503" y="93471"/>
                    <a:pt x="209118" y="93277"/>
                    <a:pt x="209639" y="92900"/>
                  </a:cubicBezTo>
                  <a:cubicBezTo>
                    <a:pt x="210582" y="92215"/>
                    <a:pt x="211038" y="91045"/>
                    <a:pt x="210805" y="89904"/>
                  </a:cubicBezTo>
                  <a:lnTo>
                    <a:pt x="208657" y="79282"/>
                  </a:lnTo>
                  <a:lnTo>
                    <a:pt x="216639" y="71950"/>
                  </a:lnTo>
                  <a:cubicBezTo>
                    <a:pt x="217497" y="71161"/>
                    <a:pt x="217815" y="69946"/>
                    <a:pt x="217458" y="68840"/>
                  </a:cubicBezTo>
                  <a:cubicBezTo>
                    <a:pt x="217096" y="67733"/>
                    <a:pt x="216123" y="66935"/>
                    <a:pt x="214967" y="66801"/>
                  </a:cubicBezTo>
                  <a:lnTo>
                    <a:pt x="204202" y="65560"/>
                  </a:lnTo>
                  <a:lnTo>
                    <a:pt x="199698" y="55703"/>
                  </a:lnTo>
                  <a:cubicBezTo>
                    <a:pt x="199206" y="54646"/>
                    <a:pt x="198145" y="53967"/>
                    <a:pt x="196979" y="53967"/>
                  </a:cubicBezTo>
                  <a:close/>
                  <a:moveTo>
                    <a:pt x="201846" y="71285"/>
                  </a:moveTo>
                  <a:lnTo>
                    <a:pt x="207814" y="71970"/>
                  </a:lnTo>
                  <a:lnTo>
                    <a:pt x="203389" y="76033"/>
                  </a:lnTo>
                  <a:cubicBezTo>
                    <a:pt x="202620" y="76737"/>
                    <a:pt x="202277" y="77794"/>
                    <a:pt x="202486" y="78816"/>
                  </a:cubicBezTo>
                  <a:lnTo>
                    <a:pt x="203676" y="84705"/>
                  </a:lnTo>
                  <a:lnTo>
                    <a:pt x="198447" y="81753"/>
                  </a:lnTo>
                  <a:cubicBezTo>
                    <a:pt x="197991" y="81495"/>
                    <a:pt x="197490" y="81371"/>
                    <a:pt x="196984" y="81371"/>
                  </a:cubicBezTo>
                  <a:cubicBezTo>
                    <a:pt x="196478" y="81371"/>
                    <a:pt x="195977" y="81500"/>
                    <a:pt x="195520" y="81753"/>
                  </a:cubicBezTo>
                  <a:lnTo>
                    <a:pt x="190292" y="84705"/>
                  </a:lnTo>
                  <a:lnTo>
                    <a:pt x="191482" y="78816"/>
                  </a:lnTo>
                  <a:cubicBezTo>
                    <a:pt x="191691" y="77794"/>
                    <a:pt x="191348" y="76737"/>
                    <a:pt x="190579" y="76033"/>
                  </a:cubicBezTo>
                  <a:lnTo>
                    <a:pt x="186154" y="71970"/>
                  </a:lnTo>
                  <a:lnTo>
                    <a:pt x="192122" y="71285"/>
                  </a:lnTo>
                  <a:cubicBezTo>
                    <a:pt x="193159" y="71166"/>
                    <a:pt x="194057" y="70511"/>
                    <a:pt x="194489" y="69564"/>
                  </a:cubicBezTo>
                  <a:lnTo>
                    <a:pt x="196984" y="64102"/>
                  </a:lnTo>
                  <a:lnTo>
                    <a:pt x="199479" y="69564"/>
                  </a:lnTo>
                  <a:cubicBezTo>
                    <a:pt x="199911" y="70516"/>
                    <a:pt x="200809" y="71166"/>
                    <a:pt x="201846" y="71285"/>
                  </a:cubicBezTo>
                  <a:close/>
                </a:path>
              </a:pathLst>
            </a:custGeom>
            <a:solidFill>
              <a:schemeClr val="bg1"/>
            </a:solidFill>
            <a:ln w="484"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99" name="Group 98">
            <a:extLst>
              <a:ext uri="{FF2B5EF4-FFF2-40B4-BE49-F238E27FC236}">
                <a16:creationId xmlns:a16="http://schemas.microsoft.com/office/drawing/2014/main" id="{6B5F6587-5198-A238-64EB-9F559113EB90}"/>
              </a:ext>
            </a:extLst>
          </p:cNvPr>
          <p:cNvGrpSpPr/>
          <p:nvPr/>
        </p:nvGrpSpPr>
        <p:grpSpPr>
          <a:xfrm>
            <a:off x="7936609" y="3762940"/>
            <a:ext cx="457200" cy="457200"/>
            <a:chOff x="7936609" y="4213236"/>
            <a:chExt cx="457200" cy="457200"/>
          </a:xfrm>
        </p:grpSpPr>
        <p:sp>
          <p:nvSpPr>
            <p:cNvPr id="100" name="Oval 99">
              <a:extLst>
                <a:ext uri="{FF2B5EF4-FFF2-40B4-BE49-F238E27FC236}">
                  <a16:creationId xmlns:a16="http://schemas.microsoft.com/office/drawing/2014/main" id="{EAF06686-E48B-A0D1-E101-27935F1D4B6D}"/>
                </a:ext>
              </a:extLst>
            </p:cNvPr>
            <p:cNvSpPr>
              <a:spLocks noChangeAspect="1"/>
            </p:cNvSpPr>
            <p:nvPr/>
          </p:nvSpPr>
          <p:spPr>
            <a:xfrm>
              <a:off x="7936609" y="4213236"/>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sp>
          <p:nvSpPr>
            <p:cNvPr id="101" name="Pic">
              <a:extLst>
                <a:ext uri="{FF2B5EF4-FFF2-40B4-BE49-F238E27FC236}">
                  <a16:creationId xmlns:a16="http://schemas.microsoft.com/office/drawing/2014/main" id="{3D5239CE-264D-D5DB-7975-25A4F09F93EB}"/>
                </a:ext>
              </a:extLst>
            </p:cNvPr>
            <p:cNvSpPr>
              <a:spLocks noChangeAspect="1"/>
            </p:cNvSpPr>
            <p:nvPr/>
          </p:nvSpPr>
          <p:spPr>
            <a:xfrm>
              <a:off x="8065075" y="4331204"/>
              <a:ext cx="200268" cy="221264"/>
            </a:xfrm>
            <a:custGeom>
              <a:avLst/>
              <a:gdLst>
                <a:gd name="csX0" fmla="*/ 113124 w 200268"/>
                <a:gd name="csY0" fmla="*/ 43550 h 221264"/>
                <a:gd name="csX1" fmla="*/ 96306 w 200268"/>
                <a:gd name="csY1" fmla="*/ 64104 h 221264"/>
                <a:gd name="csX2" fmla="*/ 91189 w 200268"/>
                <a:gd name="csY2" fmla="*/ 64189 h 221264"/>
                <a:gd name="csX3" fmla="*/ 78109 w 200268"/>
                <a:gd name="csY3" fmla="*/ 49240 h 221264"/>
                <a:gd name="csX4" fmla="*/ 78424 w 200268"/>
                <a:gd name="csY4" fmla="*/ 44512 h 221264"/>
                <a:gd name="csX5" fmla="*/ 83155 w 200268"/>
                <a:gd name="csY5" fmla="*/ 44824 h 221264"/>
                <a:gd name="csX6" fmla="*/ 93626 w 200268"/>
                <a:gd name="csY6" fmla="*/ 56795 h 221264"/>
                <a:gd name="csX7" fmla="*/ 107935 w 200268"/>
                <a:gd name="csY7" fmla="*/ 39305 h 221264"/>
                <a:gd name="csX8" fmla="*/ 112653 w 200268"/>
                <a:gd name="csY8" fmla="*/ 38837 h 221264"/>
                <a:gd name="csX9" fmla="*/ 113124 w 200268"/>
                <a:gd name="csY9" fmla="*/ 43550 h 221264"/>
                <a:gd name="csX10" fmla="*/ 124525 w 200268"/>
                <a:gd name="csY10" fmla="*/ 118183 h 221264"/>
                <a:gd name="csX11" fmla="*/ 126686 w 200268"/>
                <a:gd name="csY11" fmla="*/ 117390 h 221264"/>
                <a:gd name="csX12" fmla="*/ 131411 w 200268"/>
                <a:gd name="csY12" fmla="*/ 117619 h 221264"/>
                <a:gd name="csX13" fmla="*/ 147007 w 200268"/>
                <a:gd name="csY13" fmla="*/ 117708 h 221264"/>
                <a:gd name="csX14" fmla="*/ 150213 w 200268"/>
                <a:gd name="csY14" fmla="*/ 117054 h 221264"/>
                <a:gd name="csX15" fmla="*/ 150363 w 200268"/>
                <a:gd name="csY15" fmla="*/ 113653 h 221264"/>
                <a:gd name="csX16" fmla="*/ 150363 w 200268"/>
                <a:gd name="csY16" fmla="*/ 90461 h 221264"/>
                <a:gd name="csX17" fmla="*/ 155093 w 200268"/>
                <a:gd name="csY17" fmla="*/ 85847 h 221264"/>
                <a:gd name="csX18" fmla="*/ 163724 w 200268"/>
                <a:gd name="csY18" fmla="*/ 85847 h 221264"/>
                <a:gd name="csX19" fmla="*/ 146371 w 200268"/>
                <a:gd name="csY19" fmla="*/ 57876 h 221264"/>
                <a:gd name="csX20" fmla="*/ 145868 w 200268"/>
                <a:gd name="csY20" fmla="*/ 56178 h 221264"/>
                <a:gd name="csX21" fmla="*/ 95387 w 200268"/>
                <a:gd name="csY21" fmla="*/ 6703 h 221264"/>
                <a:gd name="csX22" fmla="*/ 44893 w 200268"/>
                <a:gd name="csY22" fmla="*/ 57202 h 221264"/>
                <a:gd name="csX23" fmla="*/ 66889 w 200268"/>
                <a:gd name="csY23" fmla="*/ 98888 h 221264"/>
                <a:gd name="csX24" fmla="*/ 72359 w 200268"/>
                <a:gd name="csY24" fmla="*/ 107924 h 221264"/>
                <a:gd name="csX25" fmla="*/ 72963 w 200268"/>
                <a:gd name="csY25" fmla="*/ 119073 h 221264"/>
                <a:gd name="csX26" fmla="*/ 92229 w 200268"/>
                <a:gd name="csY26" fmla="*/ 138745 h 221264"/>
                <a:gd name="csX27" fmla="*/ 92229 w 200268"/>
                <a:gd name="csY27" fmla="*/ 86527 h 221264"/>
                <a:gd name="csX28" fmla="*/ 60937 w 200268"/>
                <a:gd name="csY28" fmla="*/ 43431 h 221264"/>
                <a:gd name="csX29" fmla="*/ 82150 w 200268"/>
                <a:gd name="csY29" fmla="*/ 22216 h 221264"/>
                <a:gd name="csX30" fmla="*/ 95581 w 200268"/>
                <a:gd name="csY30" fmla="*/ 27010 h 221264"/>
                <a:gd name="csX31" fmla="*/ 109012 w 200268"/>
                <a:gd name="csY31" fmla="*/ 22216 h 221264"/>
                <a:gd name="csX32" fmla="*/ 130225 w 200268"/>
                <a:gd name="csY32" fmla="*/ 43431 h 221264"/>
                <a:gd name="csX33" fmla="*/ 98934 w 200268"/>
                <a:gd name="csY33" fmla="*/ 86527 h 221264"/>
                <a:gd name="csX34" fmla="*/ 98934 w 200268"/>
                <a:gd name="csY34" fmla="*/ 139751 h 221264"/>
                <a:gd name="csX35" fmla="*/ 95580 w 200268"/>
                <a:gd name="csY35" fmla="*/ 80709 h 221264"/>
                <a:gd name="csX36" fmla="*/ 123520 w 200268"/>
                <a:gd name="csY36" fmla="*/ 43431 h 221264"/>
                <a:gd name="csX37" fmla="*/ 109012 w 200268"/>
                <a:gd name="csY37" fmla="*/ 28919 h 221264"/>
                <a:gd name="csX38" fmla="*/ 98102 w 200268"/>
                <a:gd name="csY38" fmla="*/ 33867 h 221264"/>
                <a:gd name="csX39" fmla="*/ 93060 w 200268"/>
                <a:gd name="csY39" fmla="*/ 33867 h 221264"/>
                <a:gd name="csX40" fmla="*/ 82150 w 200268"/>
                <a:gd name="csY40" fmla="*/ 28919 h 221264"/>
                <a:gd name="csX41" fmla="*/ 67642 w 200268"/>
                <a:gd name="csY41" fmla="*/ 43431 h 221264"/>
                <a:gd name="csX42" fmla="*/ 95580 w 200268"/>
                <a:gd name="csY42" fmla="*/ 80709 h 221264"/>
                <a:gd name="csX43" fmla="*/ 130993 w 200268"/>
                <a:gd name="csY43" fmla="*/ 124309 h 221264"/>
                <a:gd name="csX44" fmla="*/ 147880 w 200268"/>
                <a:gd name="csY44" fmla="*/ 124359 h 221264"/>
                <a:gd name="csX45" fmla="*/ 155565 w 200268"/>
                <a:gd name="csY45" fmla="*/ 121160 h 221264"/>
                <a:gd name="csX46" fmla="*/ 157067 w 200268"/>
                <a:gd name="csY46" fmla="*/ 113652 h 221264"/>
                <a:gd name="csX47" fmla="*/ 157067 w 200268"/>
                <a:gd name="csY47" fmla="*/ 92549 h 221264"/>
                <a:gd name="csX48" fmla="*/ 167539 w 200268"/>
                <a:gd name="csY48" fmla="*/ 92549 h 221264"/>
                <a:gd name="csX49" fmla="*/ 171612 w 200268"/>
                <a:gd name="csY49" fmla="*/ 85841 h 221264"/>
                <a:gd name="csX50" fmla="*/ 152545 w 200268"/>
                <a:gd name="csY50" fmla="*/ 55109 h 221264"/>
                <a:gd name="csX51" fmla="*/ 135448 w 200268"/>
                <a:gd name="csY51" fmla="*/ 16377 h 221264"/>
                <a:gd name="csX52" fmla="*/ 95387 w 200268"/>
                <a:gd name="csY52" fmla="*/ 0 h 221264"/>
                <a:gd name="csX53" fmla="*/ 38186 w 200268"/>
                <a:gd name="csY53" fmla="*/ 57202 h 221264"/>
                <a:gd name="csX54" fmla="*/ 63099 w 200268"/>
                <a:gd name="csY54" fmla="*/ 104418 h 221264"/>
                <a:gd name="csX55" fmla="*/ 65663 w 200268"/>
                <a:gd name="csY55" fmla="*/ 108286 h 221264"/>
                <a:gd name="csX56" fmla="*/ 66335 w 200268"/>
                <a:gd name="csY56" fmla="*/ 120694 h 221264"/>
                <a:gd name="csX57" fmla="*/ 67287 w 200268"/>
                <a:gd name="csY57" fmla="*/ 122858 h 221264"/>
                <a:gd name="csX58" fmla="*/ 93185 w 200268"/>
                <a:gd name="csY58" fmla="*/ 149307 h 221264"/>
                <a:gd name="csX59" fmla="*/ 97740 w 200268"/>
                <a:gd name="csY59" fmla="*/ 149521 h 221264"/>
                <a:gd name="csX60" fmla="*/ 127870 w 200268"/>
                <a:gd name="csY60" fmla="*/ 124131 h 221264"/>
                <a:gd name="csX61" fmla="*/ 130993 w 200268"/>
                <a:gd name="csY61" fmla="*/ 124309 h 221264"/>
                <a:gd name="csX62" fmla="*/ 87438 w 200268"/>
                <a:gd name="csY62" fmla="*/ 213808 h 221264"/>
                <a:gd name="csX63" fmla="*/ 86684 w 200268"/>
                <a:gd name="csY63" fmla="*/ 214561 h 221264"/>
                <a:gd name="csX64" fmla="*/ 44443 w 200268"/>
                <a:gd name="csY64" fmla="*/ 214561 h 221264"/>
                <a:gd name="csX65" fmla="*/ 43689 w 200268"/>
                <a:gd name="csY65" fmla="*/ 213808 h 221264"/>
                <a:gd name="csX66" fmla="*/ 43689 w 200268"/>
                <a:gd name="csY66" fmla="*/ 192126 h 221264"/>
                <a:gd name="csX67" fmla="*/ 44443 w 200268"/>
                <a:gd name="csY67" fmla="*/ 191369 h 221264"/>
                <a:gd name="csX68" fmla="*/ 86684 w 200268"/>
                <a:gd name="csY68" fmla="*/ 191369 h 221264"/>
                <a:gd name="csX69" fmla="*/ 87438 w 200268"/>
                <a:gd name="csY69" fmla="*/ 192126 h 221264"/>
                <a:gd name="csX70" fmla="*/ 51587 w 200268"/>
                <a:gd name="csY70" fmla="*/ 184343 h 221264"/>
                <a:gd name="csX71" fmla="*/ 47640 w 200268"/>
                <a:gd name="csY71" fmla="*/ 177530 h 221264"/>
                <a:gd name="csX72" fmla="*/ 18400 w 200268"/>
                <a:gd name="csY72" fmla="*/ 153088 h 221264"/>
                <a:gd name="csX73" fmla="*/ 16755 w 200268"/>
                <a:gd name="csY73" fmla="*/ 150251 h 221264"/>
                <a:gd name="csX74" fmla="*/ 6775 w 200268"/>
                <a:gd name="csY74" fmla="*/ 93996 h 221264"/>
                <a:gd name="csX75" fmla="*/ 10392 w 200268"/>
                <a:gd name="csY75" fmla="*/ 88819 h 221264"/>
                <a:gd name="csX76" fmla="*/ 15569 w 200268"/>
                <a:gd name="csY76" fmla="*/ 92434 h 221264"/>
                <a:gd name="csX77" fmla="*/ 22241 w 200268"/>
                <a:gd name="csY77" fmla="*/ 130041 h 221264"/>
                <a:gd name="csX78" fmla="*/ 31120 w 200268"/>
                <a:gd name="csY78" fmla="*/ 143610 h 221264"/>
                <a:gd name="csX79" fmla="*/ 31184 w 200268"/>
                <a:gd name="csY79" fmla="*/ 143660 h 221264"/>
                <a:gd name="csX80" fmla="*/ 45912 w 200268"/>
                <a:gd name="csY80" fmla="*/ 153952 h 221264"/>
                <a:gd name="csX81" fmla="*/ 50579 w 200268"/>
                <a:gd name="csY81" fmla="*/ 153124 h 221264"/>
                <a:gd name="csX82" fmla="*/ 49751 w 200268"/>
                <a:gd name="csY82" fmla="*/ 148457 h 221264"/>
                <a:gd name="csX83" fmla="*/ 35509 w 200268"/>
                <a:gd name="csY83" fmla="*/ 138507 h 221264"/>
                <a:gd name="csX84" fmla="*/ 35555 w 200268"/>
                <a:gd name="csY84" fmla="*/ 134010 h 221264"/>
                <a:gd name="csX85" fmla="*/ 41133 w 200268"/>
                <a:gd name="csY85" fmla="*/ 133021 h 221264"/>
                <a:gd name="csX86" fmla="*/ 63444 w 200268"/>
                <a:gd name="csY86" fmla="*/ 148608 h 221264"/>
                <a:gd name="csX87" fmla="*/ 72798 w 200268"/>
                <a:gd name="csY87" fmla="*/ 163257 h 221264"/>
                <a:gd name="csX88" fmla="*/ 76595 w 200268"/>
                <a:gd name="csY88" fmla="*/ 184663 h 221264"/>
                <a:gd name="csX89" fmla="*/ 51645 w 200268"/>
                <a:gd name="csY89" fmla="*/ 184663 h 221264"/>
                <a:gd name="csX90" fmla="*/ 86684 w 200268"/>
                <a:gd name="csY90" fmla="*/ 184664 h 221264"/>
                <a:gd name="csX91" fmla="*/ 94144 w 200268"/>
                <a:gd name="csY91" fmla="*/ 192126 h 221264"/>
                <a:gd name="csX92" fmla="*/ 94144 w 200268"/>
                <a:gd name="csY92" fmla="*/ 213808 h 221264"/>
                <a:gd name="csX93" fmla="*/ 86684 w 200268"/>
                <a:gd name="csY93" fmla="*/ 221264 h 221264"/>
                <a:gd name="csX94" fmla="*/ 44443 w 200268"/>
                <a:gd name="csY94" fmla="*/ 221264 h 221264"/>
                <a:gd name="csX95" fmla="*/ 36984 w 200268"/>
                <a:gd name="csY95" fmla="*/ 213808 h 221264"/>
                <a:gd name="csX96" fmla="*/ 36984 w 200268"/>
                <a:gd name="csY96" fmla="*/ 192126 h 221264"/>
                <a:gd name="csX97" fmla="*/ 44443 w 200268"/>
                <a:gd name="csY97" fmla="*/ 184664 h 221264"/>
                <a:gd name="csX98" fmla="*/ 44764 w 200268"/>
                <a:gd name="csY98" fmla="*/ 184664 h 221264"/>
                <a:gd name="csX99" fmla="*/ 43339 w 200268"/>
                <a:gd name="csY99" fmla="*/ 182672 h 221264"/>
                <a:gd name="csX100" fmla="*/ 14100 w 200268"/>
                <a:gd name="csY100" fmla="*/ 158232 h 221264"/>
                <a:gd name="csX101" fmla="*/ 10153 w 200268"/>
                <a:gd name="csY101" fmla="*/ 151420 h 221264"/>
                <a:gd name="csX102" fmla="*/ 173 w 200268"/>
                <a:gd name="csY102" fmla="*/ 95165 h 221264"/>
                <a:gd name="csX103" fmla="*/ 9221 w 200268"/>
                <a:gd name="csY103" fmla="*/ 82217 h 221264"/>
                <a:gd name="csX104" fmla="*/ 22171 w 200268"/>
                <a:gd name="csY104" fmla="*/ 91265 h 221264"/>
                <a:gd name="csX105" fmla="*/ 28842 w 200268"/>
                <a:gd name="csY105" fmla="*/ 128869 h 221264"/>
                <a:gd name="csX106" fmla="*/ 29440 w 200268"/>
                <a:gd name="csY106" fmla="*/ 131173 h 221264"/>
                <a:gd name="csX107" fmla="*/ 44973 w 200268"/>
                <a:gd name="csY107" fmla="*/ 127524 h 221264"/>
                <a:gd name="csX108" fmla="*/ 67284 w 200268"/>
                <a:gd name="csY108" fmla="*/ 143111 h 221264"/>
                <a:gd name="csX109" fmla="*/ 79400 w 200268"/>
                <a:gd name="csY109" fmla="*/ 162086 h 221264"/>
                <a:gd name="csX110" fmla="*/ 83405 w 200268"/>
                <a:gd name="csY110" fmla="*/ 184664 h 221264"/>
                <a:gd name="csX111" fmla="*/ 193492 w 200268"/>
                <a:gd name="csY111" fmla="*/ 93996 h 221264"/>
                <a:gd name="csX112" fmla="*/ 183512 w 200268"/>
                <a:gd name="csY112" fmla="*/ 150251 h 221264"/>
                <a:gd name="csX113" fmla="*/ 181867 w 200268"/>
                <a:gd name="csY113" fmla="*/ 153088 h 221264"/>
                <a:gd name="csX114" fmla="*/ 152628 w 200268"/>
                <a:gd name="csY114" fmla="*/ 177530 h 221264"/>
                <a:gd name="csX115" fmla="*/ 148624 w 200268"/>
                <a:gd name="csY115" fmla="*/ 184664 h 221264"/>
                <a:gd name="csX116" fmla="*/ 123671 w 200268"/>
                <a:gd name="csY116" fmla="*/ 184664 h 221264"/>
                <a:gd name="csX117" fmla="*/ 127470 w 200268"/>
                <a:gd name="csY117" fmla="*/ 163258 h 221264"/>
                <a:gd name="csX118" fmla="*/ 136824 w 200268"/>
                <a:gd name="csY118" fmla="*/ 148609 h 221264"/>
                <a:gd name="csX119" fmla="*/ 159135 w 200268"/>
                <a:gd name="csY119" fmla="*/ 133022 h 221264"/>
                <a:gd name="csX120" fmla="*/ 164713 w 200268"/>
                <a:gd name="csY120" fmla="*/ 134010 h 221264"/>
                <a:gd name="csX121" fmla="*/ 164758 w 200268"/>
                <a:gd name="csY121" fmla="*/ 138508 h 221264"/>
                <a:gd name="csX122" fmla="*/ 150516 w 200268"/>
                <a:gd name="csY122" fmla="*/ 148458 h 221264"/>
                <a:gd name="csX123" fmla="*/ 152439 w 200268"/>
                <a:gd name="csY123" fmla="*/ 154558 h 221264"/>
                <a:gd name="csX124" fmla="*/ 154356 w 200268"/>
                <a:gd name="csY124" fmla="*/ 153952 h 221264"/>
                <a:gd name="csX125" fmla="*/ 169084 w 200268"/>
                <a:gd name="csY125" fmla="*/ 143661 h 221264"/>
                <a:gd name="csX126" fmla="*/ 170415 w 200268"/>
                <a:gd name="csY126" fmla="*/ 142637 h 221264"/>
                <a:gd name="csX127" fmla="*/ 178026 w 200268"/>
                <a:gd name="csY127" fmla="*/ 130042 h 221264"/>
                <a:gd name="csX128" fmla="*/ 184698 w 200268"/>
                <a:gd name="csY128" fmla="*/ 92435 h 221264"/>
                <a:gd name="csX129" fmla="*/ 192749 w 200268"/>
                <a:gd name="csY129" fmla="*/ 90660 h 221264"/>
                <a:gd name="csX130" fmla="*/ 193492 w 200268"/>
                <a:gd name="csY130" fmla="*/ 93996 h 221264"/>
                <a:gd name="csX131" fmla="*/ 156578 w 200268"/>
                <a:gd name="csY131" fmla="*/ 192126 h 221264"/>
                <a:gd name="csX132" fmla="*/ 156578 w 200268"/>
                <a:gd name="csY132" fmla="*/ 213808 h 221264"/>
                <a:gd name="csX133" fmla="*/ 155825 w 200268"/>
                <a:gd name="csY133" fmla="*/ 214561 h 221264"/>
                <a:gd name="csX134" fmla="*/ 113583 w 200268"/>
                <a:gd name="csY134" fmla="*/ 214561 h 221264"/>
                <a:gd name="csX135" fmla="*/ 112829 w 200268"/>
                <a:gd name="csY135" fmla="*/ 213808 h 221264"/>
                <a:gd name="csX136" fmla="*/ 112829 w 200268"/>
                <a:gd name="csY136" fmla="*/ 192126 h 221264"/>
                <a:gd name="csX137" fmla="*/ 113583 w 200268"/>
                <a:gd name="csY137" fmla="*/ 191369 h 221264"/>
                <a:gd name="csX138" fmla="*/ 155825 w 200268"/>
                <a:gd name="csY138" fmla="*/ 191369 h 221264"/>
                <a:gd name="csX139" fmla="*/ 156578 w 200268"/>
                <a:gd name="csY139" fmla="*/ 192126 h 221264"/>
                <a:gd name="csX140" fmla="*/ 198246 w 200268"/>
                <a:gd name="csY140" fmla="*/ 86821 h 221264"/>
                <a:gd name="csX141" fmla="*/ 200095 w 200268"/>
                <a:gd name="csY141" fmla="*/ 95165 h 221264"/>
                <a:gd name="csX142" fmla="*/ 190115 w 200268"/>
                <a:gd name="csY142" fmla="*/ 151420 h 221264"/>
                <a:gd name="csX143" fmla="*/ 186166 w 200268"/>
                <a:gd name="csY143" fmla="*/ 158232 h 221264"/>
                <a:gd name="csX144" fmla="*/ 156927 w 200268"/>
                <a:gd name="csY144" fmla="*/ 182672 h 221264"/>
                <a:gd name="csX145" fmla="*/ 155504 w 200268"/>
                <a:gd name="csY145" fmla="*/ 184664 h 221264"/>
                <a:gd name="csX146" fmla="*/ 155825 w 200268"/>
                <a:gd name="csY146" fmla="*/ 184664 h 221264"/>
                <a:gd name="csX147" fmla="*/ 163283 w 200268"/>
                <a:gd name="csY147" fmla="*/ 192126 h 221264"/>
                <a:gd name="csX148" fmla="*/ 163283 w 200268"/>
                <a:gd name="csY148" fmla="*/ 213808 h 221264"/>
                <a:gd name="csX149" fmla="*/ 155825 w 200268"/>
                <a:gd name="csY149" fmla="*/ 221264 h 221264"/>
                <a:gd name="csX150" fmla="*/ 113583 w 200268"/>
                <a:gd name="csY150" fmla="*/ 221264 h 221264"/>
                <a:gd name="csX151" fmla="*/ 106124 w 200268"/>
                <a:gd name="csY151" fmla="*/ 213808 h 221264"/>
                <a:gd name="csX152" fmla="*/ 106124 w 200268"/>
                <a:gd name="csY152" fmla="*/ 192126 h 221264"/>
                <a:gd name="csX153" fmla="*/ 113583 w 200268"/>
                <a:gd name="csY153" fmla="*/ 184664 h 221264"/>
                <a:gd name="csX154" fmla="*/ 116862 w 200268"/>
                <a:gd name="csY154" fmla="*/ 184664 h 221264"/>
                <a:gd name="csX155" fmla="*/ 120868 w 200268"/>
                <a:gd name="csY155" fmla="*/ 162086 h 221264"/>
                <a:gd name="csX156" fmla="*/ 132983 w 200268"/>
                <a:gd name="csY156" fmla="*/ 143111 h 221264"/>
                <a:gd name="csX157" fmla="*/ 155294 w 200268"/>
                <a:gd name="csY157" fmla="*/ 127524 h 221264"/>
                <a:gd name="csX158" fmla="*/ 170828 w 200268"/>
                <a:gd name="csY158" fmla="*/ 131173 h 221264"/>
                <a:gd name="csX159" fmla="*/ 171425 w 200268"/>
                <a:gd name="csY159" fmla="*/ 128869 h 221264"/>
                <a:gd name="csX160" fmla="*/ 178096 w 200268"/>
                <a:gd name="csY160" fmla="*/ 91265 h 221264"/>
                <a:gd name="csX161" fmla="*/ 198246 w 200268"/>
                <a:gd name="csY161" fmla="*/ 86821 h 22126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Lst>
              <a:rect l="l" t="t" r="r" b="b"/>
              <a:pathLst>
                <a:path w="200268" h="221264">
                  <a:moveTo>
                    <a:pt x="113124" y="43550"/>
                  </a:moveTo>
                  <a:lnTo>
                    <a:pt x="96306" y="64104"/>
                  </a:lnTo>
                  <a:cubicBezTo>
                    <a:pt x="94991" y="65711"/>
                    <a:pt x="92549" y="65743"/>
                    <a:pt x="91189" y="64189"/>
                  </a:cubicBezTo>
                  <a:lnTo>
                    <a:pt x="78109" y="49240"/>
                  </a:lnTo>
                  <a:cubicBezTo>
                    <a:pt x="76889" y="47845"/>
                    <a:pt x="77030" y="45726"/>
                    <a:pt x="78424" y="44512"/>
                  </a:cubicBezTo>
                  <a:cubicBezTo>
                    <a:pt x="79818" y="43292"/>
                    <a:pt x="81935" y="43431"/>
                    <a:pt x="83155" y="44824"/>
                  </a:cubicBezTo>
                  <a:lnTo>
                    <a:pt x="93626" y="56795"/>
                  </a:lnTo>
                  <a:lnTo>
                    <a:pt x="107935" y="39305"/>
                  </a:lnTo>
                  <a:cubicBezTo>
                    <a:pt x="109108" y="37874"/>
                    <a:pt x="111221" y="37658"/>
                    <a:pt x="112653" y="38837"/>
                  </a:cubicBezTo>
                  <a:cubicBezTo>
                    <a:pt x="114085" y="40006"/>
                    <a:pt x="114297" y="42116"/>
                    <a:pt x="113124" y="43550"/>
                  </a:cubicBezTo>
                  <a:close/>
                  <a:moveTo>
                    <a:pt x="124525" y="118183"/>
                  </a:moveTo>
                  <a:cubicBezTo>
                    <a:pt x="125129" y="117672"/>
                    <a:pt x="125895" y="117390"/>
                    <a:pt x="126686" y="117390"/>
                  </a:cubicBezTo>
                  <a:cubicBezTo>
                    <a:pt x="127802" y="117390"/>
                    <a:pt x="129395" y="117494"/>
                    <a:pt x="131411" y="117619"/>
                  </a:cubicBezTo>
                  <a:cubicBezTo>
                    <a:pt x="136079" y="117910"/>
                    <a:pt x="142471" y="118308"/>
                    <a:pt x="147007" y="117708"/>
                  </a:cubicBezTo>
                  <a:cubicBezTo>
                    <a:pt x="149111" y="117434"/>
                    <a:pt x="149911" y="117191"/>
                    <a:pt x="150213" y="117054"/>
                  </a:cubicBezTo>
                  <a:cubicBezTo>
                    <a:pt x="150363" y="116434"/>
                    <a:pt x="150363" y="114781"/>
                    <a:pt x="150363" y="113653"/>
                  </a:cubicBezTo>
                  <a:lnTo>
                    <a:pt x="150363" y="90461"/>
                  </a:lnTo>
                  <a:cubicBezTo>
                    <a:pt x="150363" y="87917"/>
                    <a:pt x="152484" y="85847"/>
                    <a:pt x="155093" y="85847"/>
                  </a:cubicBezTo>
                  <a:lnTo>
                    <a:pt x="163724" y="85847"/>
                  </a:lnTo>
                  <a:lnTo>
                    <a:pt x="146371" y="57876"/>
                  </a:lnTo>
                  <a:cubicBezTo>
                    <a:pt x="146054" y="57368"/>
                    <a:pt x="145880" y="56778"/>
                    <a:pt x="145868" y="56178"/>
                  </a:cubicBezTo>
                  <a:cubicBezTo>
                    <a:pt x="145325" y="28898"/>
                    <a:pt x="122680" y="6703"/>
                    <a:pt x="95387" y="6703"/>
                  </a:cubicBezTo>
                  <a:cubicBezTo>
                    <a:pt x="67544" y="6703"/>
                    <a:pt x="44893" y="29358"/>
                    <a:pt x="44893" y="57202"/>
                  </a:cubicBezTo>
                  <a:cubicBezTo>
                    <a:pt x="44893" y="73870"/>
                    <a:pt x="53116" y="89454"/>
                    <a:pt x="66889" y="98888"/>
                  </a:cubicBezTo>
                  <a:cubicBezTo>
                    <a:pt x="70224" y="101173"/>
                    <a:pt x="72166" y="104382"/>
                    <a:pt x="72359" y="107924"/>
                  </a:cubicBezTo>
                  <a:lnTo>
                    <a:pt x="72963" y="119073"/>
                  </a:lnTo>
                  <a:lnTo>
                    <a:pt x="92229" y="138745"/>
                  </a:lnTo>
                  <a:lnTo>
                    <a:pt x="92229" y="86527"/>
                  </a:lnTo>
                  <a:cubicBezTo>
                    <a:pt x="77034" y="78859"/>
                    <a:pt x="60937" y="60001"/>
                    <a:pt x="60937" y="43431"/>
                  </a:cubicBezTo>
                  <a:cubicBezTo>
                    <a:pt x="60937" y="31733"/>
                    <a:pt x="70453" y="22216"/>
                    <a:pt x="82150" y="22216"/>
                  </a:cubicBezTo>
                  <a:cubicBezTo>
                    <a:pt x="87079" y="22216"/>
                    <a:pt x="91818" y="23934"/>
                    <a:pt x="95581" y="27010"/>
                  </a:cubicBezTo>
                  <a:cubicBezTo>
                    <a:pt x="99346" y="23934"/>
                    <a:pt x="104083" y="22216"/>
                    <a:pt x="109012" y="22216"/>
                  </a:cubicBezTo>
                  <a:cubicBezTo>
                    <a:pt x="120710" y="22216"/>
                    <a:pt x="130225" y="31733"/>
                    <a:pt x="130225" y="43431"/>
                  </a:cubicBezTo>
                  <a:cubicBezTo>
                    <a:pt x="130225" y="59995"/>
                    <a:pt x="114128" y="78859"/>
                    <a:pt x="98934" y="86527"/>
                  </a:cubicBezTo>
                  <a:lnTo>
                    <a:pt x="98934" y="139751"/>
                  </a:lnTo>
                  <a:close/>
                  <a:moveTo>
                    <a:pt x="95580" y="80709"/>
                  </a:moveTo>
                  <a:cubicBezTo>
                    <a:pt x="109044" y="74105"/>
                    <a:pt x="123520" y="57264"/>
                    <a:pt x="123520" y="43431"/>
                  </a:cubicBezTo>
                  <a:cubicBezTo>
                    <a:pt x="123520" y="35428"/>
                    <a:pt x="117011" y="28919"/>
                    <a:pt x="109012" y="28919"/>
                  </a:cubicBezTo>
                  <a:cubicBezTo>
                    <a:pt x="104835" y="28919"/>
                    <a:pt x="100859" y="30727"/>
                    <a:pt x="98102" y="33867"/>
                  </a:cubicBezTo>
                  <a:cubicBezTo>
                    <a:pt x="96766" y="35395"/>
                    <a:pt x="94396" y="35394"/>
                    <a:pt x="93060" y="33867"/>
                  </a:cubicBezTo>
                  <a:cubicBezTo>
                    <a:pt x="90304" y="30727"/>
                    <a:pt x="86327" y="28919"/>
                    <a:pt x="82150" y="28919"/>
                  </a:cubicBezTo>
                  <a:cubicBezTo>
                    <a:pt x="74150" y="28919"/>
                    <a:pt x="67642" y="35429"/>
                    <a:pt x="67642" y="43431"/>
                  </a:cubicBezTo>
                  <a:cubicBezTo>
                    <a:pt x="67641" y="57264"/>
                    <a:pt x="82117" y="74104"/>
                    <a:pt x="95580" y="80709"/>
                  </a:cubicBezTo>
                  <a:close/>
                  <a:moveTo>
                    <a:pt x="130993" y="124309"/>
                  </a:moveTo>
                  <a:cubicBezTo>
                    <a:pt x="135935" y="124618"/>
                    <a:pt x="142702" y="125039"/>
                    <a:pt x="147880" y="124359"/>
                  </a:cubicBezTo>
                  <a:cubicBezTo>
                    <a:pt x="150955" y="123953"/>
                    <a:pt x="153857" y="123404"/>
                    <a:pt x="155565" y="121160"/>
                  </a:cubicBezTo>
                  <a:cubicBezTo>
                    <a:pt x="157067" y="119182"/>
                    <a:pt x="157067" y="116742"/>
                    <a:pt x="157067" y="113652"/>
                  </a:cubicBezTo>
                  <a:lnTo>
                    <a:pt x="157067" y="92549"/>
                  </a:lnTo>
                  <a:lnTo>
                    <a:pt x="167539" y="92549"/>
                  </a:lnTo>
                  <a:cubicBezTo>
                    <a:pt x="171368" y="92549"/>
                    <a:pt x="173365" y="88695"/>
                    <a:pt x="171612" y="85841"/>
                  </a:cubicBezTo>
                  <a:lnTo>
                    <a:pt x="152545" y="55109"/>
                  </a:lnTo>
                  <a:cubicBezTo>
                    <a:pt x="152019" y="40424"/>
                    <a:pt x="145968" y="26701"/>
                    <a:pt x="135448" y="16377"/>
                  </a:cubicBezTo>
                  <a:cubicBezTo>
                    <a:pt x="124691" y="5815"/>
                    <a:pt x="110463" y="0"/>
                    <a:pt x="95387" y="0"/>
                  </a:cubicBezTo>
                  <a:cubicBezTo>
                    <a:pt x="63847" y="0"/>
                    <a:pt x="38186" y="25662"/>
                    <a:pt x="38186" y="57202"/>
                  </a:cubicBezTo>
                  <a:cubicBezTo>
                    <a:pt x="38186" y="76084"/>
                    <a:pt x="47500" y="93735"/>
                    <a:pt x="63099" y="104418"/>
                  </a:cubicBezTo>
                  <a:cubicBezTo>
                    <a:pt x="64013" y="105044"/>
                    <a:pt x="65560" y="106380"/>
                    <a:pt x="65663" y="108286"/>
                  </a:cubicBezTo>
                  <a:lnTo>
                    <a:pt x="66335" y="120694"/>
                  </a:lnTo>
                  <a:cubicBezTo>
                    <a:pt x="66378" y="121507"/>
                    <a:pt x="66718" y="122276"/>
                    <a:pt x="67287" y="122858"/>
                  </a:cubicBezTo>
                  <a:lnTo>
                    <a:pt x="93185" y="149307"/>
                  </a:lnTo>
                  <a:cubicBezTo>
                    <a:pt x="94414" y="150559"/>
                    <a:pt x="96397" y="150657"/>
                    <a:pt x="97740" y="149521"/>
                  </a:cubicBezTo>
                  <a:lnTo>
                    <a:pt x="127870" y="124131"/>
                  </a:lnTo>
                  <a:cubicBezTo>
                    <a:pt x="128730" y="124167"/>
                    <a:pt x="129810" y="124235"/>
                    <a:pt x="130993" y="124309"/>
                  </a:cubicBezTo>
                  <a:close/>
                  <a:moveTo>
                    <a:pt x="87438" y="213808"/>
                  </a:moveTo>
                  <a:cubicBezTo>
                    <a:pt x="87438" y="214217"/>
                    <a:pt x="87093" y="214561"/>
                    <a:pt x="86684" y="214561"/>
                  </a:cubicBezTo>
                  <a:lnTo>
                    <a:pt x="44443" y="214561"/>
                  </a:lnTo>
                  <a:cubicBezTo>
                    <a:pt x="44035" y="214561"/>
                    <a:pt x="43689" y="214217"/>
                    <a:pt x="43689" y="213808"/>
                  </a:cubicBezTo>
                  <a:lnTo>
                    <a:pt x="43689" y="192126"/>
                  </a:lnTo>
                  <a:cubicBezTo>
                    <a:pt x="43689" y="191714"/>
                    <a:pt x="44035" y="191369"/>
                    <a:pt x="44443" y="191369"/>
                  </a:cubicBezTo>
                  <a:lnTo>
                    <a:pt x="86684" y="191369"/>
                  </a:lnTo>
                  <a:cubicBezTo>
                    <a:pt x="87092" y="191369"/>
                    <a:pt x="87438" y="191714"/>
                    <a:pt x="87438" y="192126"/>
                  </a:cubicBezTo>
                  <a:close/>
                  <a:moveTo>
                    <a:pt x="51587" y="184343"/>
                  </a:moveTo>
                  <a:cubicBezTo>
                    <a:pt x="51101" y="181603"/>
                    <a:pt x="49773" y="179314"/>
                    <a:pt x="47640" y="177530"/>
                  </a:cubicBezTo>
                  <a:lnTo>
                    <a:pt x="18400" y="153088"/>
                  </a:lnTo>
                  <a:cubicBezTo>
                    <a:pt x="17473" y="152314"/>
                    <a:pt x="16967" y="151441"/>
                    <a:pt x="16755" y="150251"/>
                  </a:cubicBezTo>
                  <a:lnTo>
                    <a:pt x="6775" y="93996"/>
                  </a:lnTo>
                  <a:cubicBezTo>
                    <a:pt x="6345" y="91574"/>
                    <a:pt x="7967" y="89246"/>
                    <a:pt x="10392" y="88819"/>
                  </a:cubicBezTo>
                  <a:cubicBezTo>
                    <a:pt x="12817" y="88385"/>
                    <a:pt x="15139" y="90009"/>
                    <a:pt x="15569" y="92434"/>
                  </a:cubicBezTo>
                  <a:lnTo>
                    <a:pt x="22241" y="130041"/>
                  </a:lnTo>
                  <a:cubicBezTo>
                    <a:pt x="23307" y="136049"/>
                    <a:pt x="26304" y="140099"/>
                    <a:pt x="31120" y="143610"/>
                  </a:cubicBezTo>
                  <a:cubicBezTo>
                    <a:pt x="31141" y="143631"/>
                    <a:pt x="31161" y="143649"/>
                    <a:pt x="31184" y="143660"/>
                  </a:cubicBezTo>
                  <a:lnTo>
                    <a:pt x="45912" y="153952"/>
                  </a:lnTo>
                  <a:cubicBezTo>
                    <a:pt x="47418" y="155006"/>
                    <a:pt x="49509" y="154655"/>
                    <a:pt x="50579" y="153124"/>
                  </a:cubicBezTo>
                  <a:cubicBezTo>
                    <a:pt x="51640" y="151610"/>
                    <a:pt x="51269" y="149517"/>
                    <a:pt x="49751" y="148457"/>
                  </a:cubicBezTo>
                  <a:lnTo>
                    <a:pt x="35509" y="138507"/>
                  </a:lnTo>
                  <a:cubicBezTo>
                    <a:pt x="34620" y="137148"/>
                    <a:pt x="34616" y="135355"/>
                    <a:pt x="35555" y="134010"/>
                  </a:cubicBezTo>
                  <a:cubicBezTo>
                    <a:pt x="36820" y="132199"/>
                    <a:pt x="39322" y="131757"/>
                    <a:pt x="41133" y="133021"/>
                  </a:cubicBezTo>
                  <a:lnTo>
                    <a:pt x="63444" y="148608"/>
                  </a:lnTo>
                  <a:cubicBezTo>
                    <a:pt x="68632" y="152233"/>
                    <a:pt x="71692" y="157027"/>
                    <a:pt x="72798" y="163257"/>
                  </a:cubicBezTo>
                  <a:lnTo>
                    <a:pt x="76595" y="184663"/>
                  </a:lnTo>
                  <a:lnTo>
                    <a:pt x="51645" y="184663"/>
                  </a:lnTo>
                  <a:close/>
                  <a:moveTo>
                    <a:pt x="86684" y="184664"/>
                  </a:moveTo>
                  <a:cubicBezTo>
                    <a:pt x="90797" y="184664"/>
                    <a:pt x="94144" y="188009"/>
                    <a:pt x="94144" y="192126"/>
                  </a:cubicBezTo>
                  <a:lnTo>
                    <a:pt x="94144" y="213808"/>
                  </a:lnTo>
                  <a:cubicBezTo>
                    <a:pt x="94144" y="217922"/>
                    <a:pt x="90797" y="221264"/>
                    <a:pt x="86684" y="221264"/>
                  </a:cubicBezTo>
                  <a:lnTo>
                    <a:pt x="44443" y="221264"/>
                  </a:lnTo>
                  <a:cubicBezTo>
                    <a:pt x="40330" y="221264"/>
                    <a:pt x="36984" y="217922"/>
                    <a:pt x="36984" y="213808"/>
                  </a:cubicBezTo>
                  <a:lnTo>
                    <a:pt x="36984" y="192126"/>
                  </a:lnTo>
                  <a:cubicBezTo>
                    <a:pt x="36984" y="188009"/>
                    <a:pt x="40330" y="184664"/>
                    <a:pt x="44443" y="184664"/>
                  </a:cubicBezTo>
                  <a:lnTo>
                    <a:pt x="44764" y="184664"/>
                  </a:lnTo>
                  <a:cubicBezTo>
                    <a:pt x="44489" y="183886"/>
                    <a:pt x="44031" y="183251"/>
                    <a:pt x="43339" y="182672"/>
                  </a:cubicBezTo>
                  <a:lnTo>
                    <a:pt x="14100" y="158232"/>
                  </a:lnTo>
                  <a:cubicBezTo>
                    <a:pt x="11968" y="156448"/>
                    <a:pt x="10639" y="154157"/>
                    <a:pt x="10153" y="151420"/>
                  </a:cubicBezTo>
                  <a:lnTo>
                    <a:pt x="173" y="95165"/>
                  </a:lnTo>
                  <a:cubicBezTo>
                    <a:pt x="-903" y="89101"/>
                    <a:pt x="3156" y="83289"/>
                    <a:pt x="9221" y="82217"/>
                  </a:cubicBezTo>
                  <a:cubicBezTo>
                    <a:pt x="15285" y="81139"/>
                    <a:pt x="21095" y="85197"/>
                    <a:pt x="22171" y="91265"/>
                  </a:cubicBezTo>
                  <a:lnTo>
                    <a:pt x="28842" y="128869"/>
                  </a:lnTo>
                  <a:cubicBezTo>
                    <a:pt x="28987" y="129674"/>
                    <a:pt x="29184" y="130442"/>
                    <a:pt x="29440" y="131173"/>
                  </a:cubicBezTo>
                  <a:cubicBezTo>
                    <a:pt x="32459" y="125614"/>
                    <a:pt x="39781" y="123899"/>
                    <a:pt x="44973" y="127524"/>
                  </a:cubicBezTo>
                  <a:lnTo>
                    <a:pt x="67284" y="143111"/>
                  </a:lnTo>
                  <a:cubicBezTo>
                    <a:pt x="73911" y="147742"/>
                    <a:pt x="77988" y="154124"/>
                    <a:pt x="79400" y="162086"/>
                  </a:cubicBezTo>
                  <a:lnTo>
                    <a:pt x="83405" y="184664"/>
                  </a:lnTo>
                  <a:close/>
                  <a:moveTo>
                    <a:pt x="193492" y="93996"/>
                  </a:moveTo>
                  <a:lnTo>
                    <a:pt x="183512" y="150251"/>
                  </a:lnTo>
                  <a:cubicBezTo>
                    <a:pt x="183301" y="151441"/>
                    <a:pt x="182794" y="152314"/>
                    <a:pt x="181867" y="153088"/>
                  </a:cubicBezTo>
                  <a:lnTo>
                    <a:pt x="152628" y="177530"/>
                  </a:lnTo>
                  <a:cubicBezTo>
                    <a:pt x="150309" y="179469"/>
                    <a:pt x="149144" y="181725"/>
                    <a:pt x="148624" y="184664"/>
                  </a:cubicBezTo>
                  <a:lnTo>
                    <a:pt x="123671" y="184664"/>
                  </a:lnTo>
                  <a:lnTo>
                    <a:pt x="127470" y="163258"/>
                  </a:lnTo>
                  <a:cubicBezTo>
                    <a:pt x="128575" y="157027"/>
                    <a:pt x="131635" y="152233"/>
                    <a:pt x="136824" y="148609"/>
                  </a:cubicBezTo>
                  <a:lnTo>
                    <a:pt x="159135" y="133022"/>
                  </a:lnTo>
                  <a:cubicBezTo>
                    <a:pt x="160944" y="131757"/>
                    <a:pt x="163448" y="132199"/>
                    <a:pt x="164713" y="134010"/>
                  </a:cubicBezTo>
                  <a:cubicBezTo>
                    <a:pt x="165651" y="135355"/>
                    <a:pt x="165647" y="137148"/>
                    <a:pt x="164758" y="138508"/>
                  </a:cubicBezTo>
                  <a:lnTo>
                    <a:pt x="150516" y="148458"/>
                  </a:lnTo>
                  <a:cubicBezTo>
                    <a:pt x="147829" y="150334"/>
                    <a:pt x="149183" y="154558"/>
                    <a:pt x="152439" y="154558"/>
                  </a:cubicBezTo>
                  <a:cubicBezTo>
                    <a:pt x="153102" y="154558"/>
                    <a:pt x="153771" y="154362"/>
                    <a:pt x="154356" y="153952"/>
                  </a:cubicBezTo>
                  <a:lnTo>
                    <a:pt x="169084" y="143661"/>
                  </a:lnTo>
                  <a:lnTo>
                    <a:pt x="170415" y="142637"/>
                  </a:lnTo>
                  <a:cubicBezTo>
                    <a:pt x="174551" y="139434"/>
                    <a:pt x="177111" y="135195"/>
                    <a:pt x="178026" y="130042"/>
                  </a:cubicBezTo>
                  <a:lnTo>
                    <a:pt x="184698" y="92435"/>
                  </a:lnTo>
                  <a:cubicBezTo>
                    <a:pt x="185380" y="88589"/>
                    <a:pt x="190447" y="87368"/>
                    <a:pt x="192749" y="90660"/>
                  </a:cubicBezTo>
                  <a:cubicBezTo>
                    <a:pt x="193436" y="91645"/>
                    <a:pt x="193700" y="92829"/>
                    <a:pt x="193492" y="93996"/>
                  </a:cubicBezTo>
                  <a:close/>
                  <a:moveTo>
                    <a:pt x="156578" y="192126"/>
                  </a:moveTo>
                  <a:lnTo>
                    <a:pt x="156578" y="213808"/>
                  </a:lnTo>
                  <a:cubicBezTo>
                    <a:pt x="156578" y="214217"/>
                    <a:pt x="156233" y="214561"/>
                    <a:pt x="155825" y="214561"/>
                  </a:cubicBezTo>
                  <a:lnTo>
                    <a:pt x="113583" y="214561"/>
                  </a:lnTo>
                  <a:cubicBezTo>
                    <a:pt x="113175" y="214561"/>
                    <a:pt x="112829" y="214217"/>
                    <a:pt x="112829" y="213808"/>
                  </a:cubicBezTo>
                  <a:lnTo>
                    <a:pt x="112829" y="192126"/>
                  </a:lnTo>
                  <a:cubicBezTo>
                    <a:pt x="112829" y="191714"/>
                    <a:pt x="113175" y="191369"/>
                    <a:pt x="113583" y="191369"/>
                  </a:cubicBezTo>
                  <a:lnTo>
                    <a:pt x="155825" y="191369"/>
                  </a:lnTo>
                  <a:cubicBezTo>
                    <a:pt x="156233" y="191369"/>
                    <a:pt x="156578" y="191714"/>
                    <a:pt x="156578" y="192126"/>
                  </a:cubicBezTo>
                  <a:close/>
                  <a:moveTo>
                    <a:pt x="198246" y="86821"/>
                  </a:moveTo>
                  <a:cubicBezTo>
                    <a:pt x="199957" y="89273"/>
                    <a:pt x="200614" y="92238"/>
                    <a:pt x="200095" y="95165"/>
                  </a:cubicBezTo>
                  <a:lnTo>
                    <a:pt x="190115" y="151420"/>
                  </a:lnTo>
                  <a:cubicBezTo>
                    <a:pt x="189628" y="154157"/>
                    <a:pt x="188300" y="156449"/>
                    <a:pt x="186166" y="158232"/>
                  </a:cubicBezTo>
                  <a:lnTo>
                    <a:pt x="156927" y="182672"/>
                  </a:lnTo>
                  <a:cubicBezTo>
                    <a:pt x="156237" y="183250"/>
                    <a:pt x="155779" y="183886"/>
                    <a:pt x="155504" y="184664"/>
                  </a:cubicBezTo>
                  <a:lnTo>
                    <a:pt x="155825" y="184664"/>
                  </a:lnTo>
                  <a:cubicBezTo>
                    <a:pt x="159936" y="184664"/>
                    <a:pt x="163283" y="188009"/>
                    <a:pt x="163283" y="192126"/>
                  </a:cubicBezTo>
                  <a:lnTo>
                    <a:pt x="163283" y="213808"/>
                  </a:lnTo>
                  <a:cubicBezTo>
                    <a:pt x="163283" y="217922"/>
                    <a:pt x="159936" y="221264"/>
                    <a:pt x="155825" y="221264"/>
                  </a:cubicBezTo>
                  <a:lnTo>
                    <a:pt x="113583" y="221264"/>
                  </a:lnTo>
                  <a:cubicBezTo>
                    <a:pt x="109470" y="221264"/>
                    <a:pt x="106124" y="217922"/>
                    <a:pt x="106124" y="213808"/>
                  </a:cubicBezTo>
                  <a:lnTo>
                    <a:pt x="106124" y="192126"/>
                  </a:lnTo>
                  <a:cubicBezTo>
                    <a:pt x="106124" y="188009"/>
                    <a:pt x="109470" y="184664"/>
                    <a:pt x="113583" y="184664"/>
                  </a:cubicBezTo>
                  <a:lnTo>
                    <a:pt x="116862" y="184664"/>
                  </a:lnTo>
                  <a:lnTo>
                    <a:pt x="120868" y="162086"/>
                  </a:lnTo>
                  <a:cubicBezTo>
                    <a:pt x="122280" y="154124"/>
                    <a:pt x="126355" y="147742"/>
                    <a:pt x="132983" y="143111"/>
                  </a:cubicBezTo>
                  <a:lnTo>
                    <a:pt x="155294" y="127524"/>
                  </a:lnTo>
                  <a:cubicBezTo>
                    <a:pt x="160488" y="123898"/>
                    <a:pt x="167806" y="125614"/>
                    <a:pt x="170828" y="131173"/>
                  </a:cubicBezTo>
                  <a:cubicBezTo>
                    <a:pt x="171083" y="130442"/>
                    <a:pt x="171281" y="129674"/>
                    <a:pt x="171425" y="128869"/>
                  </a:cubicBezTo>
                  <a:lnTo>
                    <a:pt x="178096" y="91265"/>
                  </a:lnTo>
                  <a:cubicBezTo>
                    <a:pt x="179821" y="81544"/>
                    <a:pt x="192531" y="78640"/>
                    <a:pt x="198246" y="86821"/>
                  </a:cubicBezTo>
                  <a:close/>
                </a:path>
              </a:pathLst>
            </a:custGeom>
            <a:solidFill>
              <a:schemeClr val="bg1"/>
            </a:solidFill>
            <a:ln w="49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102" name="Group 101">
            <a:extLst>
              <a:ext uri="{FF2B5EF4-FFF2-40B4-BE49-F238E27FC236}">
                <a16:creationId xmlns:a16="http://schemas.microsoft.com/office/drawing/2014/main" id="{27773D55-5A78-9FF7-321B-A7B0E8293FD7}"/>
              </a:ext>
            </a:extLst>
          </p:cNvPr>
          <p:cNvGrpSpPr/>
          <p:nvPr/>
        </p:nvGrpSpPr>
        <p:grpSpPr>
          <a:xfrm>
            <a:off x="7936609" y="4636736"/>
            <a:ext cx="457200" cy="457200"/>
            <a:chOff x="7936609" y="5270076"/>
            <a:chExt cx="457200" cy="457200"/>
          </a:xfrm>
        </p:grpSpPr>
        <p:sp>
          <p:nvSpPr>
            <p:cNvPr id="103" name="Oval 102">
              <a:extLst>
                <a:ext uri="{FF2B5EF4-FFF2-40B4-BE49-F238E27FC236}">
                  <a16:creationId xmlns:a16="http://schemas.microsoft.com/office/drawing/2014/main" id="{656F2DD5-1EE2-7BDE-44C7-EE6B7359EDD1}"/>
                </a:ext>
              </a:extLst>
            </p:cNvPr>
            <p:cNvSpPr>
              <a:spLocks noChangeAspect="1"/>
            </p:cNvSpPr>
            <p:nvPr/>
          </p:nvSpPr>
          <p:spPr>
            <a:xfrm>
              <a:off x="7936609" y="5270076"/>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sp>
          <p:nvSpPr>
            <p:cNvPr id="104" name="Pic">
              <a:extLst>
                <a:ext uri="{FF2B5EF4-FFF2-40B4-BE49-F238E27FC236}">
                  <a16:creationId xmlns:a16="http://schemas.microsoft.com/office/drawing/2014/main" id="{8EC49418-CD40-9DCA-9930-223127970A13}"/>
                </a:ext>
              </a:extLst>
            </p:cNvPr>
            <p:cNvSpPr>
              <a:spLocks noChangeAspect="1"/>
            </p:cNvSpPr>
            <p:nvPr/>
          </p:nvSpPr>
          <p:spPr>
            <a:xfrm>
              <a:off x="8050231" y="5380053"/>
              <a:ext cx="229958" cy="237246"/>
            </a:xfrm>
            <a:custGeom>
              <a:avLst/>
              <a:gdLst>
                <a:gd name="csX0" fmla="*/ 122446 w 190048"/>
                <a:gd name="csY0" fmla="*/ 66654 h 196071"/>
                <a:gd name="csX1" fmla="*/ 106237 w 190048"/>
                <a:gd name="csY1" fmla="*/ 87198 h 196071"/>
                <a:gd name="csX2" fmla="*/ 105664 w 190048"/>
                <a:gd name="csY2" fmla="*/ 87830 h 196071"/>
                <a:gd name="csX3" fmla="*/ 101000 w 190048"/>
                <a:gd name="csY3" fmla="*/ 87466 h 196071"/>
                <a:gd name="csX4" fmla="*/ 92182 w 190048"/>
                <a:gd name="csY4" fmla="*/ 77194 h 196071"/>
                <a:gd name="csX5" fmla="*/ 92548 w 190048"/>
                <a:gd name="csY5" fmla="*/ 72530 h 196071"/>
                <a:gd name="csX6" fmla="*/ 97210 w 190048"/>
                <a:gd name="csY6" fmla="*/ 72890 h 196071"/>
                <a:gd name="csX7" fmla="*/ 103411 w 190048"/>
                <a:gd name="csY7" fmla="*/ 80117 h 196071"/>
                <a:gd name="csX8" fmla="*/ 117264 w 190048"/>
                <a:gd name="csY8" fmla="*/ 62560 h 196071"/>
                <a:gd name="csX9" fmla="*/ 121904 w 190048"/>
                <a:gd name="csY9" fmla="*/ 62018 h 196071"/>
                <a:gd name="csX10" fmla="*/ 122446 w 190048"/>
                <a:gd name="csY10" fmla="*/ 66654 h 196071"/>
                <a:gd name="csX11" fmla="*/ 70968 w 190048"/>
                <a:gd name="csY11" fmla="*/ 186121 h 196071"/>
                <a:gd name="csX12" fmla="*/ 95026 w 190048"/>
                <a:gd name="csY12" fmla="*/ 189435 h 196071"/>
                <a:gd name="csX13" fmla="*/ 102795 w 190048"/>
                <a:gd name="csY13" fmla="*/ 189093 h 196071"/>
                <a:gd name="csX14" fmla="*/ 102795 w 190048"/>
                <a:gd name="csY14" fmla="*/ 154100 h 196071"/>
                <a:gd name="csX15" fmla="*/ 79536 w 190048"/>
                <a:gd name="csY15" fmla="*/ 132934 h 196071"/>
                <a:gd name="csX16" fmla="*/ 62642 w 190048"/>
                <a:gd name="csY16" fmla="*/ 132984 h 196071"/>
                <a:gd name="csX17" fmla="*/ 59337 w 190048"/>
                <a:gd name="csY17" fmla="*/ 129678 h 196071"/>
                <a:gd name="csX18" fmla="*/ 62642 w 190048"/>
                <a:gd name="csY18" fmla="*/ 126376 h 196071"/>
                <a:gd name="csX19" fmla="*/ 80596 w 190048"/>
                <a:gd name="csY19" fmla="*/ 126322 h 196071"/>
                <a:gd name="csX20" fmla="*/ 83052 w 190048"/>
                <a:gd name="csY20" fmla="*/ 127175 h 196071"/>
                <a:gd name="csX21" fmla="*/ 85364 w 190048"/>
                <a:gd name="csY21" fmla="*/ 129281 h 196071"/>
                <a:gd name="csX22" fmla="*/ 85434 w 190048"/>
                <a:gd name="csY22" fmla="*/ 121658 h 196071"/>
                <a:gd name="csX23" fmla="*/ 74551 w 190048"/>
                <a:gd name="csY23" fmla="*/ 113785 h 196071"/>
                <a:gd name="csX24" fmla="*/ 52145 w 190048"/>
                <a:gd name="csY24" fmla="*/ 105164 h 196071"/>
                <a:gd name="csX25" fmla="*/ 50243 w 190048"/>
                <a:gd name="csY25" fmla="*/ 100899 h 196071"/>
                <a:gd name="csX26" fmla="*/ 54505 w 190048"/>
                <a:gd name="csY26" fmla="*/ 98995 h 196071"/>
                <a:gd name="csX27" fmla="*/ 72177 w 190048"/>
                <a:gd name="csY27" fmla="*/ 105799 h 196071"/>
                <a:gd name="csX28" fmla="*/ 70062 w 190048"/>
                <a:gd name="csY28" fmla="*/ 89694 h 196071"/>
                <a:gd name="csX29" fmla="*/ 72915 w 190048"/>
                <a:gd name="csY29" fmla="*/ 85991 h 196071"/>
                <a:gd name="csX30" fmla="*/ 76620 w 190048"/>
                <a:gd name="csY30" fmla="*/ 88841 h 196071"/>
                <a:gd name="csX31" fmla="*/ 79271 w 190048"/>
                <a:gd name="csY31" fmla="*/ 109023 h 196071"/>
                <a:gd name="csX32" fmla="*/ 90698 w 190048"/>
                <a:gd name="csY32" fmla="*/ 117287 h 196071"/>
                <a:gd name="csX33" fmla="*/ 90692 w 190048"/>
                <a:gd name="csY33" fmla="*/ 117298 h 196071"/>
                <a:gd name="csX34" fmla="*/ 92060 w 190048"/>
                <a:gd name="csY34" fmla="*/ 119994 h 196071"/>
                <a:gd name="csX35" fmla="*/ 91911 w 190048"/>
                <a:gd name="csY35" fmla="*/ 135243 h 196071"/>
                <a:gd name="csX36" fmla="*/ 102795 w 190048"/>
                <a:gd name="csY36" fmla="*/ 145143 h 196071"/>
                <a:gd name="csX37" fmla="*/ 102795 w 190048"/>
                <a:gd name="csY37" fmla="*/ 103044 h 196071"/>
                <a:gd name="csX38" fmla="*/ 84727 w 190048"/>
                <a:gd name="csY38" fmla="*/ 94372 h 196071"/>
                <a:gd name="csX39" fmla="*/ 75870 w 190048"/>
                <a:gd name="csY39" fmla="*/ 72987 h 196071"/>
                <a:gd name="csX40" fmla="*/ 84727 w 190048"/>
                <a:gd name="csY40" fmla="*/ 51599 h 196071"/>
                <a:gd name="csX41" fmla="*/ 106112 w 190048"/>
                <a:gd name="csY41" fmla="*/ 42743 h 196071"/>
                <a:gd name="csX42" fmla="*/ 127494 w 190048"/>
                <a:gd name="csY42" fmla="*/ 51599 h 196071"/>
                <a:gd name="csX43" fmla="*/ 136350 w 190048"/>
                <a:gd name="csY43" fmla="*/ 72987 h 196071"/>
                <a:gd name="csX44" fmla="*/ 127494 w 190048"/>
                <a:gd name="csY44" fmla="*/ 94372 h 196071"/>
                <a:gd name="csX45" fmla="*/ 109428 w 190048"/>
                <a:gd name="csY45" fmla="*/ 103044 h 196071"/>
                <a:gd name="csX46" fmla="*/ 109428 w 190048"/>
                <a:gd name="csY46" fmla="*/ 128039 h 196071"/>
                <a:gd name="csX47" fmla="*/ 121356 w 190048"/>
                <a:gd name="csY47" fmla="*/ 121148 h 196071"/>
                <a:gd name="csX48" fmla="*/ 121722 w 190048"/>
                <a:gd name="csY48" fmla="*/ 112200 h 196071"/>
                <a:gd name="csX49" fmla="*/ 122969 w 190048"/>
                <a:gd name="csY49" fmla="*/ 109739 h 196071"/>
                <a:gd name="csX50" fmla="*/ 122966 w 190048"/>
                <a:gd name="csY50" fmla="*/ 109736 h 196071"/>
                <a:gd name="csX51" fmla="*/ 134499 w 190048"/>
                <a:gd name="csY51" fmla="*/ 100564 h 196071"/>
                <a:gd name="csX52" fmla="*/ 139150 w 190048"/>
                <a:gd name="csY52" fmla="*/ 101095 h 196071"/>
                <a:gd name="csX53" fmla="*/ 138621 w 190048"/>
                <a:gd name="csY53" fmla="*/ 105743 h 196071"/>
                <a:gd name="csX54" fmla="*/ 128268 w 190048"/>
                <a:gd name="csY54" fmla="*/ 113982 h 196071"/>
                <a:gd name="csX55" fmla="*/ 127997 w 190048"/>
                <a:gd name="csY55" fmla="*/ 120615 h 196071"/>
                <a:gd name="csX56" fmla="*/ 139337 w 190048"/>
                <a:gd name="csY56" fmla="*/ 123711 h 196071"/>
                <a:gd name="csX57" fmla="*/ 141658 w 190048"/>
                <a:gd name="csY57" fmla="*/ 127766 h 196071"/>
                <a:gd name="csX58" fmla="*/ 137603 w 190048"/>
                <a:gd name="csY58" fmla="*/ 130087 h 196071"/>
                <a:gd name="csX59" fmla="*/ 125052 w 190048"/>
                <a:gd name="csY59" fmla="*/ 126658 h 196071"/>
                <a:gd name="csX60" fmla="*/ 109428 w 190048"/>
                <a:gd name="csY60" fmla="*/ 135680 h 196071"/>
                <a:gd name="csX61" fmla="*/ 109428 w 190048"/>
                <a:gd name="csY61" fmla="*/ 188260 h 196071"/>
                <a:gd name="csX62" fmla="*/ 135674 w 190048"/>
                <a:gd name="csY62" fmla="*/ 179549 h 196071"/>
                <a:gd name="csX63" fmla="*/ 131236 w 190048"/>
                <a:gd name="csY63" fmla="*/ 166243 h 196071"/>
                <a:gd name="csX64" fmla="*/ 131845 w 190048"/>
                <a:gd name="csY64" fmla="*/ 150291 h 196071"/>
                <a:gd name="csX65" fmla="*/ 132200 w 190048"/>
                <a:gd name="csY65" fmla="*/ 149528 h 196071"/>
                <a:gd name="csX66" fmla="*/ 148879 w 190048"/>
                <a:gd name="csY66" fmla="*/ 122981 h 196071"/>
                <a:gd name="csX67" fmla="*/ 153663 w 190048"/>
                <a:gd name="csY67" fmla="*/ 73508 h 196071"/>
                <a:gd name="csX68" fmla="*/ 137885 w 190048"/>
                <a:gd name="csY68" fmla="*/ 47989 h 196071"/>
                <a:gd name="csX69" fmla="*/ 112076 w 190048"/>
                <a:gd name="csY69" fmla="*/ 34922 h 196071"/>
                <a:gd name="csX70" fmla="*/ 69186 w 190048"/>
                <a:gd name="csY70" fmla="*/ 46052 h 196071"/>
                <a:gd name="csX71" fmla="*/ 50869 w 190048"/>
                <a:gd name="csY71" fmla="*/ 75013 h 196071"/>
                <a:gd name="csX72" fmla="*/ 47597 w 190048"/>
                <a:gd name="csY72" fmla="*/ 84102 h 196071"/>
                <a:gd name="csX73" fmla="*/ 47040 w 190048"/>
                <a:gd name="csY73" fmla="*/ 85153 h 196071"/>
                <a:gd name="csX74" fmla="*/ 26687 w 190048"/>
                <a:gd name="csY74" fmla="*/ 111027 h 196071"/>
                <a:gd name="csX75" fmla="*/ 43452 w 190048"/>
                <a:gd name="csY75" fmla="*/ 114075 h 196071"/>
                <a:gd name="csX76" fmla="*/ 46372 w 190048"/>
                <a:gd name="csY76" fmla="*/ 117003 h 196071"/>
                <a:gd name="csX77" fmla="*/ 47725 w 190048"/>
                <a:gd name="csY77" fmla="*/ 130622 h 196071"/>
                <a:gd name="csX78" fmla="*/ 50810 w 190048"/>
                <a:gd name="csY78" fmla="*/ 146989 h 196071"/>
                <a:gd name="csX79" fmla="*/ 65092 w 190048"/>
                <a:gd name="csY79" fmla="*/ 148209 h 196071"/>
                <a:gd name="csX80" fmla="*/ 76999 w 190048"/>
                <a:gd name="csY80" fmla="*/ 147985 h 196071"/>
                <a:gd name="csX81" fmla="*/ 80305 w 190048"/>
                <a:gd name="csY81" fmla="*/ 151288 h 196071"/>
                <a:gd name="csX82" fmla="*/ 80347 w 190048"/>
                <a:gd name="csY82" fmla="*/ 167566 h 196071"/>
                <a:gd name="csX83" fmla="*/ 75864 w 190048"/>
                <a:gd name="csY83" fmla="*/ 181107 h 196071"/>
                <a:gd name="csX84" fmla="*/ 70968 w 190048"/>
                <a:gd name="csY84" fmla="*/ 186121 h 196071"/>
                <a:gd name="csX85" fmla="*/ 106111 w 190048"/>
                <a:gd name="csY85" fmla="*/ 96599 h 196071"/>
                <a:gd name="csX86" fmla="*/ 122806 w 190048"/>
                <a:gd name="csY86" fmla="*/ 89681 h 196071"/>
                <a:gd name="csX87" fmla="*/ 129717 w 190048"/>
                <a:gd name="csY87" fmla="*/ 72989 h 196071"/>
                <a:gd name="csX88" fmla="*/ 122806 w 190048"/>
                <a:gd name="csY88" fmla="*/ 56294 h 196071"/>
                <a:gd name="csX89" fmla="*/ 106111 w 190048"/>
                <a:gd name="csY89" fmla="*/ 49378 h 196071"/>
                <a:gd name="csX90" fmla="*/ 89419 w 190048"/>
                <a:gd name="csY90" fmla="*/ 56294 h 196071"/>
                <a:gd name="csX91" fmla="*/ 82500 w 190048"/>
                <a:gd name="csY91" fmla="*/ 72989 h 196071"/>
                <a:gd name="csX92" fmla="*/ 89419 w 190048"/>
                <a:gd name="csY92" fmla="*/ 89681 h 196071"/>
                <a:gd name="csX93" fmla="*/ 106111 w 190048"/>
                <a:gd name="csY93" fmla="*/ 96599 h 196071"/>
                <a:gd name="csX94" fmla="*/ 162218 w 190048"/>
                <a:gd name="csY94" fmla="*/ 168238 h 196071"/>
                <a:gd name="csX95" fmla="*/ 190048 w 190048"/>
                <a:gd name="csY95" fmla="*/ 101043 h 196071"/>
                <a:gd name="csX96" fmla="*/ 162218 w 190048"/>
                <a:gd name="csY96" fmla="*/ 33851 h 196071"/>
                <a:gd name="csX97" fmla="*/ 95025 w 190048"/>
                <a:gd name="csY97" fmla="*/ 6017 h 196071"/>
                <a:gd name="csX98" fmla="*/ 73294 w 190048"/>
                <a:gd name="csY98" fmla="*/ 8520 h 196071"/>
                <a:gd name="csX99" fmla="*/ 55578 w 190048"/>
                <a:gd name="csY99" fmla="*/ 14583 h 196071"/>
                <a:gd name="csX100" fmla="*/ 61132 w 190048"/>
                <a:gd name="csY100" fmla="*/ 4966 h 196071"/>
                <a:gd name="csX101" fmla="*/ 59926 w 190048"/>
                <a:gd name="csY101" fmla="*/ 447 h 196071"/>
                <a:gd name="csX102" fmla="*/ 55404 w 190048"/>
                <a:gd name="csY102" fmla="*/ 1650 h 196071"/>
                <a:gd name="csX103" fmla="*/ 43659 w 190048"/>
                <a:gd name="csY103" fmla="*/ 21997 h 196071"/>
                <a:gd name="csX104" fmla="*/ 43220 w 190048"/>
                <a:gd name="csY104" fmla="*/ 23655 h 196071"/>
                <a:gd name="csX105" fmla="*/ 46522 w 190048"/>
                <a:gd name="csY105" fmla="*/ 26958 h 196071"/>
                <a:gd name="csX106" fmla="*/ 70013 w 190048"/>
                <a:gd name="csY106" fmla="*/ 26958 h 196071"/>
                <a:gd name="csX107" fmla="*/ 73316 w 190048"/>
                <a:gd name="csY107" fmla="*/ 23655 h 196071"/>
                <a:gd name="csX108" fmla="*/ 70013 w 190048"/>
                <a:gd name="csY108" fmla="*/ 20350 h 196071"/>
                <a:gd name="csX109" fmla="*/ 58894 w 190048"/>
                <a:gd name="csY109" fmla="*/ 20350 h 196071"/>
                <a:gd name="csX110" fmla="*/ 74792 w 190048"/>
                <a:gd name="csY110" fmla="*/ 14972 h 196071"/>
                <a:gd name="csX111" fmla="*/ 95025 w 190048"/>
                <a:gd name="csY111" fmla="*/ 12651 h 196071"/>
                <a:gd name="csX112" fmla="*/ 157527 w 190048"/>
                <a:gd name="csY112" fmla="*/ 38544 h 196071"/>
                <a:gd name="csX113" fmla="*/ 183414 w 190048"/>
                <a:gd name="csY113" fmla="*/ 101043 h 196071"/>
                <a:gd name="csX114" fmla="*/ 157527 w 190048"/>
                <a:gd name="csY114" fmla="*/ 163545 h 196071"/>
                <a:gd name="csX115" fmla="*/ 141461 w 190048"/>
                <a:gd name="csY115" fmla="*/ 176264 h 196071"/>
                <a:gd name="csX116" fmla="*/ 137711 w 190048"/>
                <a:gd name="csY116" fmla="*/ 164899 h 196071"/>
                <a:gd name="csX117" fmla="*/ 137977 w 190048"/>
                <a:gd name="csY117" fmla="*/ 152757 h 196071"/>
                <a:gd name="csX118" fmla="*/ 154507 w 190048"/>
                <a:gd name="csY118" fmla="*/ 126452 h 196071"/>
                <a:gd name="csX119" fmla="*/ 154706 w 190048"/>
                <a:gd name="csY119" fmla="*/ 126117 h 196071"/>
                <a:gd name="csX120" fmla="*/ 159983 w 190048"/>
                <a:gd name="csY120" fmla="*/ 71537 h 196071"/>
                <a:gd name="csX121" fmla="*/ 142418 w 190048"/>
                <a:gd name="csY121" fmla="*/ 43172 h 196071"/>
                <a:gd name="csX122" fmla="*/ 113192 w 190048"/>
                <a:gd name="csY122" fmla="*/ 28390 h 196071"/>
                <a:gd name="csX123" fmla="*/ 65452 w 190048"/>
                <a:gd name="csY123" fmla="*/ 40583 h 196071"/>
                <a:gd name="csX124" fmla="*/ 44624 w 190048"/>
                <a:gd name="csY124" fmla="*/ 72866 h 196071"/>
                <a:gd name="csX125" fmla="*/ 41537 w 190048"/>
                <a:gd name="csY125" fmla="*/ 81434 h 196071"/>
                <a:gd name="csX126" fmla="*/ 18088 w 190048"/>
                <a:gd name="csY126" fmla="*/ 111248 h 196071"/>
                <a:gd name="csX127" fmla="*/ 18091 w 190048"/>
                <a:gd name="csY127" fmla="*/ 111253 h 196071"/>
                <a:gd name="csX128" fmla="*/ 17437 w 190048"/>
                <a:gd name="csY128" fmla="*/ 112713 h 196071"/>
                <a:gd name="csX129" fmla="*/ 20110 w 190048"/>
                <a:gd name="csY129" fmla="*/ 116547 h 196071"/>
                <a:gd name="csX130" fmla="*/ 40058 w 190048"/>
                <a:gd name="csY130" fmla="*/ 120177 h 196071"/>
                <a:gd name="csX131" fmla="*/ 41140 w 190048"/>
                <a:gd name="csY131" fmla="*/ 131220 h 196071"/>
                <a:gd name="csX132" fmla="*/ 46123 w 190048"/>
                <a:gd name="csY132" fmla="*/ 151677 h 196071"/>
                <a:gd name="csX133" fmla="*/ 65274 w 190048"/>
                <a:gd name="csY133" fmla="*/ 154817 h 196071"/>
                <a:gd name="csX134" fmla="*/ 73705 w 190048"/>
                <a:gd name="csY134" fmla="*/ 154622 h 196071"/>
                <a:gd name="csX135" fmla="*/ 73742 w 190048"/>
                <a:gd name="csY135" fmla="*/ 167566 h 196071"/>
                <a:gd name="csX136" fmla="*/ 70607 w 190048"/>
                <a:gd name="csY136" fmla="*/ 177119 h 196071"/>
                <a:gd name="csX137" fmla="*/ 63336 w 190048"/>
                <a:gd name="csY137" fmla="*/ 183580 h 196071"/>
                <a:gd name="csX138" fmla="*/ 32521 w 190048"/>
                <a:gd name="csY138" fmla="*/ 163546 h 196071"/>
                <a:gd name="csX139" fmla="*/ 6634 w 190048"/>
                <a:gd name="csY139" fmla="*/ 101043 h 196071"/>
                <a:gd name="csX140" fmla="*/ 10406 w 190048"/>
                <a:gd name="csY140" fmla="*/ 75357 h 196071"/>
                <a:gd name="csX141" fmla="*/ 21506 w 190048"/>
                <a:gd name="csY141" fmla="*/ 51933 h 196071"/>
                <a:gd name="csX142" fmla="*/ 20599 w 190048"/>
                <a:gd name="csY142" fmla="*/ 47347 h 196071"/>
                <a:gd name="csX143" fmla="*/ 16013 w 190048"/>
                <a:gd name="csY143" fmla="*/ 48256 h 196071"/>
                <a:gd name="csX144" fmla="*/ 4086 w 190048"/>
                <a:gd name="csY144" fmla="*/ 73444 h 196071"/>
                <a:gd name="csX145" fmla="*/ 0 w 190048"/>
                <a:gd name="csY145" fmla="*/ 101043 h 196071"/>
                <a:gd name="csX146" fmla="*/ 27834 w 190048"/>
                <a:gd name="csY146" fmla="*/ 168238 h 196071"/>
                <a:gd name="csX147" fmla="*/ 95025 w 190048"/>
                <a:gd name="csY147" fmla="*/ 196071 h 196071"/>
                <a:gd name="csX148" fmla="*/ 106360 w 190048"/>
                <a:gd name="csY148" fmla="*/ 195395 h 196071"/>
                <a:gd name="csX149" fmla="*/ 106598 w 190048"/>
                <a:gd name="csY149" fmla="*/ 195367 h 196071"/>
                <a:gd name="csX150" fmla="*/ 162218 w 190048"/>
                <a:gd name="csY150" fmla="*/ 168238 h 19607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Lst>
              <a:rect l="l" t="t" r="r" b="b"/>
              <a:pathLst>
                <a:path w="190048" h="196071">
                  <a:moveTo>
                    <a:pt x="122446" y="66654"/>
                  </a:moveTo>
                  <a:lnTo>
                    <a:pt x="106237" y="87198"/>
                  </a:lnTo>
                  <a:cubicBezTo>
                    <a:pt x="106078" y="87427"/>
                    <a:pt x="105888" y="87640"/>
                    <a:pt x="105664" y="87830"/>
                  </a:cubicBezTo>
                  <a:cubicBezTo>
                    <a:pt x="104277" y="89015"/>
                    <a:pt x="102188" y="88856"/>
                    <a:pt x="101000" y="87466"/>
                  </a:cubicBezTo>
                  <a:lnTo>
                    <a:pt x="92182" y="77194"/>
                  </a:lnTo>
                  <a:cubicBezTo>
                    <a:pt x="90997" y="75804"/>
                    <a:pt x="91162" y="73718"/>
                    <a:pt x="92548" y="72530"/>
                  </a:cubicBezTo>
                  <a:cubicBezTo>
                    <a:pt x="93933" y="71339"/>
                    <a:pt x="96025" y="71501"/>
                    <a:pt x="97210" y="72890"/>
                  </a:cubicBezTo>
                  <a:lnTo>
                    <a:pt x="103411" y="80117"/>
                  </a:lnTo>
                  <a:lnTo>
                    <a:pt x="117264" y="62560"/>
                  </a:lnTo>
                  <a:cubicBezTo>
                    <a:pt x="118391" y="61131"/>
                    <a:pt x="120472" y="60891"/>
                    <a:pt x="121904" y="62018"/>
                  </a:cubicBezTo>
                  <a:cubicBezTo>
                    <a:pt x="123332" y="63148"/>
                    <a:pt x="123576" y="65228"/>
                    <a:pt x="122446" y="66654"/>
                  </a:cubicBezTo>
                  <a:close/>
                  <a:moveTo>
                    <a:pt x="70968" y="186121"/>
                  </a:moveTo>
                  <a:cubicBezTo>
                    <a:pt x="78619" y="188280"/>
                    <a:pt x="86684" y="189435"/>
                    <a:pt x="95026" y="189435"/>
                  </a:cubicBezTo>
                  <a:cubicBezTo>
                    <a:pt x="97644" y="189435"/>
                    <a:pt x="100233" y="189314"/>
                    <a:pt x="102795" y="189093"/>
                  </a:cubicBezTo>
                  <a:lnTo>
                    <a:pt x="102795" y="154100"/>
                  </a:lnTo>
                  <a:lnTo>
                    <a:pt x="79536" y="132934"/>
                  </a:lnTo>
                  <a:lnTo>
                    <a:pt x="62642" y="132984"/>
                  </a:lnTo>
                  <a:cubicBezTo>
                    <a:pt x="60814" y="132984"/>
                    <a:pt x="59337" y="131501"/>
                    <a:pt x="59337" y="129678"/>
                  </a:cubicBezTo>
                  <a:cubicBezTo>
                    <a:pt x="59337" y="127855"/>
                    <a:pt x="60814" y="126376"/>
                    <a:pt x="62642" y="126376"/>
                  </a:cubicBezTo>
                  <a:lnTo>
                    <a:pt x="80596" y="126322"/>
                  </a:lnTo>
                  <a:cubicBezTo>
                    <a:pt x="81463" y="126261"/>
                    <a:pt x="82352" y="126543"/>
                    <a:pt x="83052" y="127175"/>
                  </a:cubicBezTo>
                  <a:lnTo>
                    <a:pt x="85364" y="129281"/>
                  </a:lnTo>
                  <a:lnTo>
                    <a:pt x="85434" y="121658"/>
                  </a:lnTo>
                  <a:lnTo>
                    <a:pt x="74551" y="113785"/>
                  </a:lnTo>
                  <a:lnTo>
                    <a:pt x="52145" y="105164"/>
                  </a:lnTo>
                  <a:cubicBezTo>
                    <a:pt x="50442" y="104512"/>
                    <a:pt x="49589" y="102602"/>
                    <a:pt x="50243" y="100899"/>
                  </a:cubicBezTo>
                  <a:cubicBezTo>
                    <a:pt x="50892" y="99196"/>
                    <a:pt x="52799" y="98343"/>
                    <a:pt x="54505" y="98995"/>
                  </a:cubicBezTo>
                  <a:lnTo>
                    <a:pt x="72177" y="105799"/>
                  </a:lnTo>
                  <a:lnTo>
                    <a:pt x="70062" y="89694"/>
                  </a:lnTo>
                  <a:cubicBezTo>
                    <a:pt x="69827" y="87884"/>
                    <a:pt x="71105" y="86226"/>
                    <a:pt x="72915" y="85991"/>
                  </a:cubicBezTo>
                  <a:cubicBezTo>
                    <a:pt x="74724" y="85753"/>
                    <a:pt x="76382" y="87031"/>
                    <a:pt x="76620" y="88841"/>
                  </a:cubicBezTo>
                  <a:lnTo>
                    <a:pt x="79271" y="109023"/>
                  </a:lnTo>
                  <a:lnTo>
                    <a:pt x="90698" y="117287"/>
                  </a:lnTo>
                  <a:lnTo>
                    <a:pt x="90692" y="117298"/>
                  </a:lnTo>
                  <a:cubicBezTo>
                    <a:pt x="91528" y="117902"/>
                    <a:pt x="92068" y="118889"/>
                    <a:pt x="92060" y="119994"/>
                  </a:cubicBezTo>
                  <a:lnTo>
                    <a:pt x="91911" y="135243"/>
                  </a:lnTo>
                  <a:lnTo>
                    <a:pt x="102795" y="145143"/>
                  </a:lnTo>
                  <a:lnTo>
                    <a:pt x="102795" y="103044"/>
                  </a:lnTo>
                  <a:cubicBezTo>
                    <a:pt x="95768" y="102280"/>
                    <a:pt x="89464" y="99109"/>
                    <a:pt x="84727" y="94372"/>
                  </a:cubicBezTo>
                  <a:cubicBezTo>
                    <a:pt x="79251" y="88899"/>
                    <a:pt x="75870" y="81337"/>
                    <a:pt x="75870" y="72987"/>
                  </a:cubicBezTo>
                  <a:cubicBezTo>
                    <a:pt x="75870" y="64637"/>
                    <a:pt x="79252" y="57075"/>
                    <a:pt x="84727" y="51599"/>
                  </a:cubicBezTo>
                  <a:cubicBezTo>
                    <a:pt x="90202" y="46132"/>
                    <a:pt x="97759" y="42743"/>
                    <a:pt x="106112" y="42743"/>
                  </a:cubicBezTo>
                  <a:cubicBezTo>
                    <a:pt x="114462" y="42743"/>
                    <a:pt x="122024" y="46132"/>
                    <a:pt x="127494" y="51599"/>
                  </a:cubicBezTo>
                  <a:cubicBezTo>
                    <a:pt x="132970" y="57075"/>
                    <a:pt x="136350" y="64636"/>
                    <a:pt x="136350" y="72987"/>
                  </a:cubicBezTo>
                  <a:cubicBezTo>
                    <a:pt x="136350" y="81338"/>
                    <a:pt x="132970" y="88899"/>
                    <a:pt x="127494" y="94372"/>
                  </a:cubicBezTo>
                  <a:cubicBezTo>
                    <a:pt x="122757" y="99109"/>
                    <a:pt x="116450" y="102280"/>
                    <a:pt x="109428" y="103044"/>
                  </a:cubicBezTo>
                  <a:lnTo>
                    <a:pt x="109428" y="128039"/>
                  </a:lnTo>
                  <a:lnTo>
                    <a:pt x="121356" y="121148"/>
                  </a:lnTo>
                  <a:lnTo>
                    <a:pt x="121722" y="112200"/>
                  </a:lnTo>
                  <a:cubicBezTo>
                    <a:pt x="121764" y="111198"/>
                    <a:pt x="122240" y="110317"/>
                    <a:pt x="122969" y="109739"/>
                  </a:cubicBezTo>
                  <a:lnTo>
                    <a:pt x="122966" y="109736"/>
                  </a:lnTo>
                  <a:lnTo>
                    <a:pt x="134499" y="100564"/>
                  </a:lnTo>
                  <a:cubicBezTo>
                    <a:pt x="135925" y="99423"/>
                    <a:pt x="138009" y="99661"/>
                    <a:pt x="139150" y="101095"/>
                  </a:cubicBezTo>
                  <a:cubicBezTo>
                    <a:pt x="140288" y="102522"/>
                    <a:pt x="140047" y="104605"/>
                    <a:pt x="138621" y="105743"/>
                  </a:cubicBezTo>
                  <a:lnTo>
                    <a:pt x="128268" y="113982"/>
                  </a:lnTo>
                  <a:lnTo>
                    <a:pt x="127997" y="120615"/>
                  </a:lnTo>
                  <a:lnTo>
                    <a:pt x="139337" y="123711"/>
                  </a:lnTo>
                  <a:cubicBezTo>
                    <a:pt x="141096" y="124189"/>
                    <a:pt x="142136" y="126004"/>
                    <a:pt x="141658" y="127766"/>
                  </a:cubicBezTo>
                  <a:cubicBezTo>
                    <a:pt x="141174" y="129525"/>
                    <a:pt x="139362" y="130565"/>
                    <a:pt x="137603" y="130087"/>
                  </a:cubicBezTo>
                  <a:lnTo>
                    <a:pt x="125052" y="126658"/>
                  </a:lnTo>
                  <a:lnTo>
                    <a:pt x="109428" y="135680"/>
                  </a:lnTo>
                  <a:lnTo>
                    <a:pt x="109428" y="188260"/>
                  </a:lnTo>
                  <a:cubicBezTo>
                    <a:pt x="118747" y="186736"/>
                    <a:pt x="127578" y="183749"/>
                    <a:pt x="135674" y="179549"/>
                  </a:cubicBezTo>
                  <a:cubicBezTo>
                    <a:pt x="133783" y="175085"/>
                    <a:pt x="132158" y="170622"/>
                    <a:pt x="131236" y="166243"/>
                  </a:cubicBezTo>
                  <a:cubicBezTo>
                    <a:pt x="130064" y="160714"/>
                    <a:pt x="130002" y="155342"/>
                    <a:pt x="131845" y="150291"/>
                  </a:cubicBezTo>
                  <a:cubicBezTo>
                    <a:pt x="131927" y="150026"/>
                    <a:pt x="132044" y="149769"/>
                    <a:pt x="132200" y="149528"/>
                  </a:cubicBezTo>
                  <a:lnTo>
                    <a:pt x="148879" y="122981"/>
                  </a:lnTo>
                  <a:cubicBezTo>
                    <a:pt x="157565" y="106188"/>
                    <a:pt x="158370" y="88584"/>
                    <a:pt x="153663" y="73508"/>
                  </a:cubicBezTo>
                  <a:cubicBezTo>
                    <a:pt x="150559" y="63577"/>
                    <a:pt x="145075" y="54751"/>
                    <a:pt x="137885" y="47989"/>
                  </a:cubicBezTo>
                  <a:cubicBezTo>
                    <a:pt x="130743" y="41275"/>
                    <a:pt x="121917" y="36602"/>
                    <a:pt x="112076" y="34922"/>
                  </a:cubicBezTo>
                  <a:cubicBezTo>
                    <a:pt x="99106" y="32701"/>
                    <a:pt x="84310" y="35691"/>
                    <a:pt x="69186" y="46052"/>
                  </a:cubicBezTo>
                  <a:cubicBezTo>
                    <a:pt x="58338" y="53482"/>
                    <a:pt x="54885" y="63444"/>
                    <a:pt x="50869" y="75013"/>
                  </a:cubicBezTo>
                  <a:cubicBezTo>
                    <a:pt x="49839" y="77986"/>
                    <a:pt x="48774" y="81054"/>
                    <a:pt x="47597" y="84102"/>
                  </a:cubicBezTo>
                  <a:cubicBezTo>
                    <a:pt x="47482" y="84473"/>
                    <a:pt x="47295" y="84832"/>
                    <a:pt x="47040" y="85153"/>
                  </a:cubicBezTo>
                  <a:lnTo>
                    <a:pt x="26687" y="111027"/>
                  </a:lnTo>
                  <a:lnTo>
                    <a:pt x="43452" y="114075"/>
                  </a:lnTo>
                  <a:cubicBezTo>
                    <a:pt x="44957" y="114248"/>
                    <a:pt x="46195" y="115436"/>
                    <a:pt x="46372" y="117003"/>
                  </a:cubicBezTo>
                  <a:cubicBezTo>
                    <a:pt x="46934" y="121994"/>
                    <a:pt x="47362" y="126665"/>
                    <a:pt x="47725" y="130622"/>
                  </a:cubicBezTo>
                  <a:cubicBezTo>
                    <a:pt x="48617" y="140365"/>
                    <a:pt x="49065" y="145242"/>
                    <a:pt x="50810" y="146989"/>
                  </a:cubicBezTo>
                  <a:cubicBezTo>
                    <a:pt x="52404" y="148575"/>
                    <a:pt x="56626" y="148458"/>
                    <a:pt x="65092" y="148209"/>
                  </a:cubicBezTo>
                  <a:cubicBezTo>
                    <a:pt x="68403" y="148116"/>
                    <a:pt x="72296" y="148002"/>
                    <a:pt x="76999" y="147985"/>
                  </a:cubicBezTo>
                  <a:cubicBezTo>
                    <a:pt x="78822" y="147985"/>
                    <a:pt x="80305" y="149464"/>
                    <a:pt x="80305" y="151288"/>
                  </a:cubicBezTo>
                  <a:lnTo>
                    <a:pt x="80347" y="167566"/>
                  </a:lnTo>
                  <a:cubicBezTo>
                    <a:pt x="80366" y="173061"/>
                    <a:pt x="78672" y="177409"/>
                    <a:pt x="75864" y="181107"/>
                  </a:cubicBezTo>
                  <a:cubicBezTo>
                    <a:pt x="74466" y="182950"/>
                    <a:pt x="72808" y="184592"/>
                    <a:pt x="70968" y="186121"/>
                  </a:cubicBezTo>
                  <a:close/>
                  <a:moveTo>
                    <a:pt x="106111" y="96599"/>
                  </a:moveTo>
                  <a:cubicBezTo>
                    <a:pt x="112630" y="96599"/>
                    <a:pt x="118533" y="93954"/>
                    <a:pt x="122806" y="89681"/>
                  </a:cubicBezTo>
                  <a:cubicBezTo>
                    <a:pt x="127077" y="85411"/>
                    <a:pt x="129717" y="79507"/>
                    <a:pt x="129717" y="72989"/>
                  </a:cubicBezTo>
                  <a:cubicBezTo>
                    <a:pt x="129717" y="66470"/>
                    <a:pt x="127077" y="60566"/>
                    <a:pt x="122806" y="56294"/>
                  </a:cubicBezTo>
                  <a:cubicBezTo>
                    <a:pt x="118533" y="52023"/>
                    <a:pt x="112630" y="49378"/>
                    <a:pt x="106111" y="49378"/>
                  </a:cubicBezTo>
                  <a:cubicBezTo>
                    <a:pt x="99590" y="49378"/>
                    <a:pt x="93689" y="52023"/>
                    <a:pt x="89419" y="56294"/>
                  </a:cubicBezTo>
                  <a:cubicBezTo>
                    <a:pt x="85143" y="60567"/>
                    <a:pt x="82500" y="66470"/>
                    <a:pt x="82500" y="72989"/>
                  </a:cubicBezTo>
                  <a:cubicBezTo>
                    <a:pt x="82500" y="79507"/>
                    <a:pt x="85143" y="85411"/>
                    <a:pt x="89419" y="89681"/>
                  </a:cubicBezTo>
                  <a:cubicBezTo>
                    <a:pt x="93689" y="93954"/>
                    <a:pt x="99590" y="96599"/>
                    <a:pt x="106111" y="96599"/>
                  </a:cubicBezTo>
                  <a:close/>
                  <a:moveTo>
                    <a:pt x="162218" y="168238"/>
                  </a:moveTo>
                  <a:cubicBezTo>
                    <a:pt x="179413" y="151039"/>
                    <a:pt x="190048" y="127283"/>
                    <a:pt x="190048" y="101043"/>
                  </a:cubicBezTo>
                  <a:cubicBezTo>
                    <a:pt x="190048" y="74806"/>
                    <a:pt x="179413" y="51050"/>
                    <a:pt x="162218" y="33851"/>
                  </a:cubicBezTo>
                  <a:cubicBezTo>
                    <a:pt x="145022" y="16652"/>
                    <a:pt x="121265" y="6017"/>
                    <a:pt x="95025" y="6017"/>
                  </a:cubicBezTo>
                  <a:cubicBezTo>
                    <a:pt x="87559" y="6017"/>
                    <a:pt x="80285" y="6885"/>
                    <a:pt x="73294" y="8520"/>
                  </a:cubicBezTo>
                  <a:cubicBezTo>
                    <a:pt x="67139" y="9963"/>
                    <a:pt x="61219" y="12005"/>
                    <a:pt x="55578" y="14583"/>
                  </a:cubicBezTo>
                  <a:lnTo>
                    <a:pt x="61132" y="4966"/>
                  </a:lnTo>
                  <a:cubicBezTo>
                    <a:pt x="62049" y="3386"/>
                    <a:pt x="61509" y="1362"/>
                    <a:pt x="59926" y="447"/>
                  </a:cubicBezTo>
                  <a:cubicBezTo>
                    <a:pt x="58346" y="-470"/>
                    <a:pt x="56321" y="70"/>
                    <a:pt x="55404" y="1650"/>
                  </a:cubicBezTo>
                  <a:lnTo>
                    <a:pt x="43659" y="21997"/>
                  </a:lnTo>
                  <a:cubicBezTo>
                    <a:pt x="43382" y="22484"/>
                    <a:pt x="43220" y="23049"/>
                    <a:pt x="43220" y="23655"/>
                  </a:cubicBezTo>
                  <a:cubicBezTo>
                    <a:pt x="43220" y="25476"/>
                    <a:pt x="44696" y="26958"/>
                    <a:pt x="46522" y="26958"/>
                  </a:cubicBezTo>
                  <a:lnTo>
                    <a:pt x="70013" y="26958"/>
                  </a:lnTo>
                  <a:cubicBezTo>
                    <a:pt x="71839" y="26958"/>
                    <a:pt x="73316" y="25475"/>
                    <a:pt x="73316" y="23655"/>
                  </a:cubicBezTo>
                  <a:cubicBezTo>
                    <a:pt x="73316" y="21829"/>
                    <a:pt x="71839" y="20350"/>
                    <a:pt x="70013" y="20350"/>
                  </a:cubicBezTo>
                  <a:lnTo>
                    <a:pt x="58894" y="20350"/>
                  </a:lnTo>
                  <a:cubicBezTo>
                    <a:pt x="63959" y="18082"/>
                    <a:pt x="69274" y="16264"/>
                    <a:pt x="74792" y="14972"/>
                  </a:cubicBezTo>
                  <a:cubicBezTo>
                    <a:pt x="81281" y="13456"/>
                    <a:pt x="88051" y="12651"/>
                    <a:pt x="95025" y="12651"/>
                  </a:cubicBezTo>
                  <a:cubicBezTo>
                    <a:pt x="119436" y="12651"/>
                    <a:pt x="141531" y="22545"/>
                    <a:pt x="157527" y="38544"/>
                  </a:cubicBezTo>
                  <a:cubicBezTo>
                    <a:pt x="173523" y="54537"/>
                    <a:pt x="183414" y="76635"/>
                    <a:pt x="183414" y="101043"/>
                  </a:cubicBezTo>
                  <a:cubicBezTo>
                    <a:pt x="183414" y="125454"/>
                    <a:pt x="173523" y="147552"/>
                    <a:pt x="157527" y="163545"/>
                  </a:cubicBezTo>
                  <a:cubicBezTo>
                    <a:pt x="152695" y="168380"/>
                    <a:pt x="147303" y="172651"/>
                    <a:pt x="141461" y="176264"/>
                  </a:cubicBezTo>
                  <a:cubicBezTo>
                    <a:pt x="139848" y="172396"/>
                    <a:pt x="138486" y="168565"/>
                    <a:pt x="137711" y="164899"/>
                  </a:cubicBezTo>
                  <a:cubicBezTo>
                    <a:pt x="136794" y="160562"/>
                    <a:pt x="136691" y="156448"/>
                    <a:pt x="137977" y="152757"/>
                  </a:cubicBezTo>
                  <a:lnTo>
                    <a:pt x="154507" y="126452"/>
                  </a:lnTo>
                  <a:cubicBezTo>
                    <a:pt x="154580" y="126346"/>
                    <a:pt x="154644" y="126237"/>
                    <a:pt x="154706" y="126117"/>
                  </a:cubicBezTo>
                  <a:cubicBezTo>
                    <a:pt x="164303" y="107637"/>
                    <a:pt x="165187" y="88204"/>
                    <a:pt x="159983" y="71537"/>
                  </a:cubicBezTo>
                  <a:cubicBezTo>
                    <a:pt x="156543" y="60522"/>
                    <a:pt x="150436" y="50709"/>
                    <a:pt x="142418" y="43172"/>
                  </a:cubicBezTo>
                  <a:cubicBezTo>
                    <a:pt x="134350" y="35585"/>
                    <a:pt x="124352" y="30300"/>
                    <a:pt x="113192" y="28390"/>
                  </a:cubicBezTo>
                  <a:cubicBezTo>
                    <a:pt x="98622" y="25901"/>
                    <a:pt x="82125" y="29159"/>
                    <a:pt x="65452" y="40583"/>
                  </a:cubicBezTo>
                  <a:cubicBezTo>
                    <a:pt x="52818" y="49241"/>
                    <a:pt x="49029" y="60172"/>
                    <a:pt x="44624" y="72866"/>
                  </a:cubicBezTo>
                  <a:cubicBezTo>
                    <a:pt x="43673" y="75598"/>
                    <a:pt x="42697" y="78422"/>
                    <a:pt x="41537" y="81434"/>
                  </a:cubicBezTo>
                  <a:lnTo>
                    <a:pt x="18088" y="111248"/>
                  </a:lnTo>
                  <a:lnTo>
                    <a:pt x="18091" y="111253"/>
                  </a:lnTo>
                  <a:cubicBezTo>
                    <a:pt x="17769" y="111664"/>
                    <a:pt x="17540" y="112159"/>
                    <a:pt x="17437" y="112713"/>
                  </a:cubicBezTo>
                  <a:cubicBezTo>
                    <a:pt x="17118" y="114508"/>
                    <a:pt x="18312" y="116228"/>
                    <a:pt x="20110" y="116547"/>
                  </a:cubicBezTo>
                  <a:lnTo>
                    <a:pt x="40058" y="120177"/>
                  </a:lnTo>
                  <a:cubicBezTo>
                    <a:pt x="40533" y="124581"/>
                    <a:pt x="40857" y="128138"/>
                    <a:pt x="41140" y="131220"/>
                  </a:cubicBezTo>
                  <a:cubicBezTo>
                    <a:pt x="42183" y="142576"/>
                    <a:pt x="42706" y="148262"/>
                    <a:pt x="46123" y="151677"/>
                  </a:cubicBezTo>
                  <a:cubicBezTo>
                    <a:pt x="49711" y="155267"/>
                    <a:pt x="54893" y="155116"/>
                    <a:pt x="65274" y="154817"/>
                  </a:cubicBezTo>
                  <a:cubicBezTo>
                    <a:pt x="67757" y="154748"/>
                    <a:pt x="70568" y="154666"/>
                    <a:pt x="73705" y="154622"/>
                  </a:cubicBezTo>
                  <a:lnTo>
                    <a:pt x="73742" y="167566"/>
                  </a:lnTo>
                  <a:cubicBezTo>
                    <a:pt x="73753" y="171467"/>
                    <a:pt x="72570" y="174530"/>
                    <a:pt x="70607" y="177119"/>
                  </a:cubicBezTo>
                  <a:cubicBezTo>
                    <a:pt x="68789" y="179511"/>
                    <a:pt x="66255" y="181594"/>
                    <a:pt x="63336" y="183580"/>
                  </a:cubicBezTo>
                  <a:cubicBezTo>
                    <a:pt x="51674" y="179100"/>
                    <a:pt x="41199" y="172223"/>
                    <a:pt x="32521" y="163546"/>
                  </a:cubicBezTo>
                  <a:cubicBezTo>
                    <a:pt x="16528" y="147552"/>
                    <a:pt x="6634" y="125454"/>
                    <a:pt x="6634" y="101043"/>
                  </a:cubicBezTo>
                  <a:cubicBezTo>
                    <a:pt x="6634" y="92081"/>
                    <a:pt x="7951" y="83461"/>
                    <a:pt x="10406" y="75357"/>
                  </a:cubicBezTo>
                  <a:cubicBezTo>
                    <a:pt x="12954" y="66957"/>
                    <a:pt x="16726" y="59082"/>
                    <a:pt x="21506" y="51933"/>
                  </a:cubicBezTo>
                  <a:cubicBezTo>
                    <a:pt x="22524" y="50418"/>
                    <a:pt x="22118" y="48360"/>
                    <a:pt x="20599" y="47347"/>
                  </a:cubicBezTo>
                  <a:cubicBezTo>
                    <a:pt x="19084" y="46332"/>
                    <a:pt x="17031" y="46738"/>
                    <a:pt x="16013" y="48256"/>
                  </a:cubicBezTo>
                  <a:cubicBezTo>
                    <a:pt x="10879" y="55927"/>
                    <a:pt x="6830" y="64400"/>
                    <a:pt x="4086" y="73444"/>
                  </a:cubicBezTo>
                  <a:cubicBezTo>
                    <a:pt x="1429" y="82209"/>
                    <a:pt x="0" y="91476"/>
                    <a:pt x="0" y="101043"/>
                  </a:cubicBezTo>
                  <a:cubicBezTo>
                    <a:pt x="0" y="127283"/>
                    <a:pt x="10635" y="151039"/>
                    <a:pt x="27834" y="168238"/>
                  </a:cubicBezTo>
                  <a:cubicBezTo>
                    <a:pt x="45027" y="185430"/>
                    <a:pt x="68783" y="196071"/>
                    <a:pt x="95025" y="196071"/>
                  </a:cubicBezTo>
                  <a:cubicBezTo>
                    <a:pt x="98859" y="196071"/>
                    <a:pt x="102640" y="195837"/>
                    <a:pt x="106360" y="195395"/>
                  </a:cubicBezTo>
                  <a:cubicBezTo>
                    <a:pt x="106438" y="195386"/>
                    <a:pt x="106519" y="195378"/>
                    <a:pt x="106598" y="195367"/>
                  </a:cubicBezTo>
                  <a:cubicBezTo>
                    <a:pt x="128215" y="192741"/>
                    <a:pt x="147587" y="182866"/>
                    <a:pt x="162218" y="168238"/>
                  </a:cubicBezTo>
                  <a:close/>
                </a:path>
              </a:pathLst>
            </a:custGeom>
            <a:solidFill>
              <a:schemeClr val="bg1"/>
            </a:solidFill>
            <a:ln w="49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spTree>
    <p:extLst>
      <p:ext uri="{BB962C8B-B14F-4D97-AF65-F5344CB8AC3E}">
        <p14:creationId xmlns:p14="http://schemas.microsoft.com/office/powerpoint/2010/main" val="42617384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74A36F-04D9-D371-B289-EA269D7C2838}"/>
              </a:ext>
            </a:extLst>
          </p:cNvPr>
          <p:cNvSpPr/>
          <p:nvPr/>
        </p:nvSpPr>
        <p:spPr>
          <a:xfrm>
            <a:off x="515938" y="123025"/>
            <a:ext cx="7494206" cy="597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b"/>
          <a:lstStyle/>
          <a:p>
            <a:r>
              <a:rPr lang="en-US" b="1" dirty="0">
                <a:solidFill>
                  <a:schemeClr val="tx1"/>
                </a:solidFill>
                <a:latin typeface="Moderat" pitchFamily="2" charset="77"/>
              </a:rPr>
              <a:t>Storytelling</a:t>
            </a:r>
          </a:p>
        </p:txBody>
      </p:sp>
      <p:sp>
        <p:nvSpPr>
          <p:cNvPr id="4" name="Text 1">
            <a:extLst>
              <a:ext uri="{FF2B5EF4-FFF2-40B4-BE49-F238E27FC236}">
                <a16:creationId xmlns:a16="http://schemas.microsoft.com/office/drawing/2014/main" id="{9928747D-A291-F562-30AF-004D6223FB71}"/>
              </a:ext>
            </a:extLst>
          </p:cNvPr>
          <p:cNvSpPr/>
          <p:nvPr/>
        </p:nvSpPr>
        <p:spPr>
          <a:xfrm>
            <a:off x="515938" y="1068714"/>
            <a:ext cx="11223390" cy="208006"/>
          </a:xfrm>
          <a:prstGeom prst="rect">
            <a:avLst/>
          </a:prstGeom>
          <a:noFill/>
          <a:ln/>
        </p:spPr>
        <p:txBody>
          <a:bodyPr wrap="square" lIns="0" tIns="0" rIns="0" bIns="0" rtlCol="0" anchor="t">
            <a:spAutoFit/>
          </a:bodyPr>
          <a:lstStyle/>
          <a:p>
            <a:pPr defTabSz="571500">
              <a:lnSpc>
                <a:spcPts val="1563"/>
              </a:lnSpc>
            </a:pPr>
            <a:r>
              <a:rPr lang="en-US" sz="1600" b="1" dirty="0">
                <a:solidFill>
                  <a:schemeClr val="accent1"/>
                </a:solidFill>
                <a:latin typeface="Moderat" pitchFamily="2" charset="77"/>
                <a:ea typeface="Source Serif 4" pitchFamily="34" charset="-122"/>
                <a:cs typeface="Source Serif 4" pitchFamily="34" charset="-120"/>
              </a:rPr>
              <a:t>Signal Shift: Building communication and storytelling as a capability</a:t>
            </a:r>
          </a:p>
        </p:txBody>
      </p:sp>
      <p:sp>
        <p:nvSpPr>
          <p:cNvPr id="9" name="Text 4">
            <a:extLst>
              <a:ext uri="{FF2B5EF4-FFF2-40B4-BE49-F238E27FC236}">
                <a16:creationId xmlns:a16="http://schemas.microsoft.com/office/drawing/2014/main" id="{CA4B5174-FA0B-A4C5-3BCD-22A8A11CC335}"/>
              </a:ext>
            </a:extLst>
          </p:cNvPr>
          <p:cNvSpPr/>
          <p:nvPr/>
        </p:nvSpPr>
        <p:spPr>
          <a:xfrm>
            <a:off x="530181" y="1399089"/>
            <a:ext cx="2965494" cy="207694"/>
          </a:xfrm>
          <a:prstGeom prst="rect">
            <a:avLst/>
          </a:prstGeom>
          <a:noFill/>
          <a:ln/>
        </p:spPr>
        <p:txBody>
          <a:bodyPr wrap="square" lIns="0" tIns="0" rIns="0" bIns="0" rtlCol="0" anchor="t">
            <a:spAutoFit/>
          </a:bodyPr>
          <a:lstStyle/>
          <a:p>
            <a:r>
              <a:rPr lang="en-US" sz="1600" b="1" dirty="0">
                <a:solidFill>
                  <a:schemeClr val="accent6"/>
                </a:solidFill>
                <a:latin typeface="Moderat" pitchFamily="2" charset="77"/>
                <a:ea typeface="Raleway" pitchFamily="34" charset="-122"/>
                <a:cs typeface="Raleway" pitchFamily="34" charset="-120"/>
              </a:rPr>
              <a:t>Business challenge</a:t>
            </a:r>
          </a:p>
        </p:txBody>
      </p:sp>
      <p:sp>
        <p:nvSpPr>
          <p:cNvPr id="10" name="Text 4">
            <a:extLst>
              <a:ext uri="{FF2B5EF4-FFF2-40B4-BE49-F238E27FC236}">
                <a16:creationId xmlns:a16="http://schemas.microsoft.com/office/drawing/2014/main" id="{C0819788-6AF2-0C01-391B-8837A38C4D8C}"/>
              </a:ext>
            </a:extLst>
          </p:cNvPr>
          <p:cNvSpPr/>
          <p:nvPr/>
        </p:nvSpPr>
        <p:spPr>
          <a:xfrm>
            <a:off x="7852789" y="1399089"/>
            <a:ext cx="2965494" cy="207694"/>
          </a:xfrm>
          <a:prstGeom prst="rect">
            <a:avLst/>
          </a:prstGeom>
          <a:noFill/>
          <a:ln/>
        </p:spPr>
        <p:txBody>
          <a:bodyPr wrap="square" lIns="0" tIns="0" rIns="0" bIns="0" rtlCol="0" anchor="t">
            <a:spAutoFit/>
          </a:bodyPr>
          <a:lstStyle/>
          <a:p>
            <a:r>
              <a:rPr lang="en-US" sz="1600" b="1" dirty="0">
                <a:solidFill>
                  <a:schemeClr val="accent6"/>
                </a:solidFill>
                <a:latin typeface="Moderat" pitchFamily="2" charset="77"/>
                <a:ea typeface="Raleway" pitchFamily="34" charset="-122"/>
                <a:cs typeface="Raleway" pitchFamily="34" charset="-120"/>
              </a:rPr>
              <a:t>Business impact</a:t>
            </a:r>
          </a:p>
        </p:txBody>
      </p:sp>
      <p:sp>
        <p:nvSpPr>
          <p:cNvPr id="11" name="Rectangle 10">
            <a:extLst>
              <a:ext uri="{FF2B5EF4-FFF2-40B4-BE49-F238E27FC236}">
                <a16:creationId xmlns:a16="http://schemas.microsoft.com/office/drawing/2014/main" id="{50C66AD0-2BE3-F221-901C-62B15C02670F}"/>
              </a:ext>
            </a:extLst>
          </p:cNvPr>
          <p:cNvSpPr/>
          <p:nvPr/>
        </p:nvSpPr>
        <p:spPr>
          <a:xfrm>
            <a:off x="533400" y="1654681"/>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Rectangle 11">
            <a:extLst>
              <a:ext uri="{FF2B5EF4-FFF2-40B4-BE49-F238E27FC236}">
                <a16:creationId xmlns:a16="http://schemas.microsoft.com/office/drawing/2014/main" id="{0A2C65B9-F808-9191-E798-D14103F0E5EC}"/>
              </a:ext>
            </a:extLst>
          </p:cNvPr>
          <p:cNvSpPr/>
          <p:nvPr/>
        </p:nvSpPr>
        <p:spPr>
          <a:xfrm>
            <a:off x="533400" y="2887299"/>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Rectangle 12">
            <a:extLst>
              <a:ext uri="{FF2B5EF4-FFF2-40B4-BE49-F238E27FC236}">
                <a16:creationId xmlns:a16="http://schemas.microsoft.com/office/drawing/2014/main" id="{F2458F21-4DFB-1A1F-B818-8313314D0018}"/>
              </a:ext>
            </a:extLst>
          </p:cNvPr>
          <p:cNvSpPr/>
          <p:nvPr/>
        </p:nvSpPr>
        <p:spPr>
          <a:xfrm>
            <a:off x="533400" y="4119916"/>
            <a:ext cx="3277091" cy="11474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Rectangle: Rounded Corners 13">
            <a:extLst>
              <a:ext uri="{FF2B5EF4-FFF2-40B4-BE49-F238E27FC236}">
                <a16:creationId xmlns:a16="http://schemas.microsoft.com/office/drawing/2014/main" id="{956DBF33-B410-B303-04F4-1A039BB34251}"/>
              </a:ext>
            </a:extLst>
          </p:cNvPr>
          <p:cNvSpPr/>
          <p:nvPr/>
        </p:nvSpPr>
        <p:spPr>
          <a:xfrm>
            <a:off x="3920004" y="1536593"/>
            <a:ext cx="3823272" cy="3730732"/>
          </a:xfrm>
          <a:prstGeom prst="roundRect">
            <a:avLst>
              <a:gd name="adj" fmla="val 2478"/>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Text 8">
            <a:extLst>
              <a:ext uri="{FF2B5EF4-FFF2-40B4-BE49-F238E27FC236}">
                <a16:creationId xmlns:a16="http://schemas.microsoft.com/office/drawing/2014/main" id="{E131BB09-A0D3-C19F-389F-D7EC13B08D9F}"/>
              </a:ext>
            </a:extLst>
          </p:cNvPr>
          <p:cNvSpPr/>
          <p:nvPr/>
        </p:nvSpPr>
        <p:spPr>
          <a:xfrm>
            <a:off x="723900" y="2012940"/>
            <a:ext cx="2914650" cy="430887"/>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Strong technical work, but unclear, misaligned communication</a:t>
            </a:r>
          </a:p>
        </p:txBody>
      </p:sp>
      <p:sp>
        <p:nvSpPr>
          <p:cNvPr id="16" name="Text 8">
            <a:extLst>
              <a:ext uri="{FF2B5EF4-FFF2-40B4-BE49-F238E27FC236}">
                <a16:creationId xmlns:a16="http://schemas.microsoft.com/office/drawing/2014/main" id="{01792F18-B7D3-8DAD-E1C3-C2B02BD704EE}"/>
              </a:ext>
            </a:extLst>
          </p:cNvPr>
          <p:cNvSpPr/>
          <p:nvPr/>
        </p:nvSpPr>
        <p:spPr>
          <a:xfrm>
            <a:off x="723900" y="3245560"/>
            <a:ext cx="2914650" cy="430887"/>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Data-heavy updates slowed decisions and increased rework</a:t>
            </a:r>
          </a:p>
        </p:txBody>
      </p:sp>
      <p:sp>
        <p:nvSpPr>
          <p:cNvPr id="17" name="Text 8">
            <a:extLst>
              <a:ext uri="{FF2B5EF4-FFF2-40B4-BE49-F238E27FC236}">
                <a16:creationId xmlns:a16="http://schemas.microsoft.com/office/drawing/2014/main" id="{8F81B015-C0EC-3031-8CF8-9937AC0DF430}"/>
              </a:ext>
            </a:extLst>
          </p:cNvPr>
          <p:cNvSpPr/>
          <p:nvPr/>
        </p:nvSpPr>
        <p:spPr>
          <a:xfrm>
            <a:off x="723899" y="4478176"/>
            <a:ext cx="2949003" cy="430887"/>
          </a:xfrm>
          <a:prstGeom prst="rect">
            <a:avLst/>
          </a:prstGeom>
          <a:noFill/>
          <a:ln/>
        </p:spPr>
        <p:txBody>
          <a:bodyPr wrap="square" lIns="0" tIns="0" rIns="0" bIns="0" rtlCol="0" anchor="ctr">
            <a:spAutoFit/>
          </a:bodyPr>
          <a:lstStyle/>
          <a:p>
            <a:pPr>
              <a:spcBef>
                <a:spcPts val="400"/>
              </a:spcBef>
              <a:spcAft>
                <a:spcPts val="400"/>
              </a:spcAft>
            </a:pPr>
            <a:r>
              <a:rPr lang="en-US" sz="1400" dirty="0">
                <a:solidFill>
                  <a:schemeClr val="bg2">
                    <a:lumMod val="25000"/>
                  </a:schemeClr>
                </a:solidFill>
                <a:latin typeface="Moderat" panose="020B0604020202020204"/>
                <a:ea typeface="Lato" pitchFamily="34" charset="-122"/>
                <a:cs typeface="Lato" pitchFamily="34" charset="-120"/>
              </a:rPr>
              <a:t>Managers struggled to influence across a growing matrix</a:t>
            </a:r>
          </a:p>
        </p:txBody>
      </p:sp>
      <p:sp>
        <p:nvSpPr>
          <p:cNvPr id="18" name="Rectangle 17">
            <a:extLst>
              <a:ext uri="{FF2B5EF4-FFF2-40B4-BE49-F238E27FC236}">
                <a16:creationId xmlns:a16="http://schemas.microsoft.com/office/drawing/2014/main" id="{5AA48C58-113C-DF13-2390-A4A92F7900E1}"/>
              </a:ext>
            </a:extLst>
          </p:cNvPr>
          <p:cNvSpPr/>
          <p:nvPr/>
        </p:nvSpPr>
        <p:spPr>
          <a:xfrm>
            <a:off x="533400" y="1654681"/>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19" name="Rectangle 18">
            <a:extLst>
              <a:ext uri="{FF2B5EF4-FFF2-40B4-BE49-F238E27FC236}">
                <a16:creationId xmlns:a16="http://schemas.microsoft.com/office/drawing/2014/main" id="{759393D7-7EE0-3887-6AF6-1501C0E380E2}"/>
              </a:ext>
            </a:extLst>
          </p:cNvPr>
          <p:cNvSpPr/>
          <p:nvPr/>
        </p:nvSpPr>
        <p:spPr>
          <a:xfrm rot="10800000">
            <a:off x="533400" y="2887299"/>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65" name="Rectangle 64">
            <a:extLst>
              <a:ext uri="{FF2B5EF4-FFF2-40B4-BE49-F238E27FC236}">
                <a16:creationId xmlns:a16="http://schemas.microsoft.com/office/drawing/2014/main" id="{300BAF94-E030-3F28-BA79-8A3411164AD7}"/>
              </a:ext>
            </a:extLst>
          </p:cNvPr>
          <p:cNvSpPr/>
          <p:nvPr/>
        </p:nvSpPr>
        <p:spPr>
          <a:xfrm>
            <a:off x="533400" y="4119916"/>
            <a:ext cx="72979" cy="11474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dirty="0">
              <a:solidFill>
                <a:srgbClr val="FFFFFF"/>
              </a:solidFill>
              <a:latin typeface="Moderat" pitchFamily="2" charset="77"/>
            </a:endParaRPr>
          </a:p>
        </p:txBody>
      </p:sp>
      <p:sp>
        <p:nvSpPr>
          <p:cNvPr id="66" name="Text 5">
            <a:extLst>
              <a:ext uri="{FF2B5EF4-FFF2-40B4-BE49-F238E27FC236}">
                <a16:creationId xmlns:a16="http://schemas.microsoft.com/office/drawing/2014/main" id="{EA8A0099-7818-9828-7DEE-A19B1EAA3250}"/>
              </a:ext>
            </a:extLst>
          </p:cNvPr>
          <p:cNvSpPr/>
          <p:nvPr/>
        </p:nvSpPr>
        <p:spPr>
          <a:xfrm>
            <a:off x="4083049" y="1766489"/>
            <a:ext cx="3413126" cy="1673141"/>
          </a:xfrm>
          <a:prstGeom prst="rect">
            <a:avLst/>
          </a:prstGeom>
          <a:noFill/>
          <a:ln/>
        </p:spPr>
        <p:txBody>
          <a:bodyPr wrap="square" lIns="0" tIns="36000" rIns="90000" bIns="36000" rtlCol="0" anchor="t">
            <a:spAutoFit/>
          </a:bodyPr>
          <a:lstStyle/>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Structured communication and clarity frameworks</a:t>
            </a:r>
          </a:p>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Data-to-storytelling capability for analysts and managers</a:t>
            </a:r>
          </a:p>
          <a:p>
            <a:pPr marL="171450" indent="-171450" defTabSz="571500">
              <a:spcBef>
                <a:spcPts val="600"/>
              </a:spcBef>
              <a:spcAft>
                <a:spcPts val="600"/>
              </a:spcAft>
              <a:buClr>
                <a:schemeClr val="accent5"/>
              </a:buClr>
              <a:buSzPct val="100000"/>
              <a:buFont typeface="Arial" panose="020B0604020202020204" pitchFamily="34" charset="0"/>
              <a:buChar char="•"/>
            </a:pPr>
            <a:r>
              <a:rPr lang="en-US" sz="1400" dirty="0">
                <a:solidFill>
                  <a:srgbClr val="4A4A45"/>
                </a:solidFill>
                <a:latin typeface="Moderat" pitchFamily="2" charset="77"/>
              </a:rPr>
              <a:t>Leadership reinforcement for feedback, alignment, and decision framing</a:t>
            </a:r>
          </a:p>
        </p:txBody>
      </p:sp>
      <p:sp>
        <p:nvSpPr>
          <p:cNvPr id="67" name="Rectangle: Rounded Corners 66">
            <a:extLst>
              <a:ext uri="{FF2B5EF4-FFF2-40B4-BE49-F238E27FC236}">
                <a16:creationId xmlns:a16="http://schemas.microsoft.com/office/drawing/2014/main" id="{AF7E435E-AB32-F57B-9878-A34CB9A5969E}"/>
              </a:ext>
            </a:extLst>
          </p:cNvPr>
          <p:cNvSpPr/>
          <p:nvPr/>
        </p:nvSpPr>
        <p:spPr>
          <a:xfrm>
            <a:off x="4083049" y="1414467"/>
            <a:ext cx="1955801" cy="253358"/>
          </a:xfrm>
          <a:prstGeom prst="roundRect">
            <a:avLst>
              <a:gd name="adj" fmla="val 2618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36000" bIns="36000" rtlCol="0" anchor="ctr"/>
          <a:lstStyle/>
          <a:p>
            <a:r>
              <a:rPr lang="en-US" sz="1600" b="1" dirty="0">
                <a:latin typeface="Moderat" pitchFamily="2" charset="77"/>
              </a:rPr>
              <a:t>Intervention</a:t>
            </a:r>
          </a:p>
        </p:txBody>
      </p:sp>
      <p:sp>
        <p:nvSpPr>
          <p:cNvPr id="68" name="Rectangle: Rounded Corners 67">
            <a:extLst>
              <a:ext uri="{FF2B5EF4-FFF2-40B4-BE49-F238E27FC236}">
                <a16:creationId xmlns:a16="http://schemas.microsoft.com/office/drawing/2014/main" id="{4CA47BA4-5D2D-057A-71EB-95A9935DF09A}"/>
              </a:ext>
            </a:extLst>
          </p:cNvPr>
          <p:cNvSpPr/>
          <p:nvPr/>
        </p:nvSpPr>
        <p:spPr>
          <a:xfrm>
            <a:off x="533400" y="5391150"/>
            <a:ext cx="11131831" cy="594362"/>
          </a:xfrm>
          <a:prstGeom prst="roundRect">
            <a:avLst>
              <a:gd name="adj" fmla="val 181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36000" bIns="36000" rtlCol="0" anchor="ctr"/>
          <a:lstStyle/>
          <a:p>
            <a:r>
              <a:rPr lang="en-US" sz="1400" dirty="0">
                <a:latin typeface="Moderat" pitchFamily="2" charset="77"/>
              </a:rPr>
              <a:t>When </a:t>
            </a:r>
            <a:r>
              <a:rPr lang="en-US" sz="1400" b="1" dirty="0">
                <a:latin typeface="Moderat" pitchFamily="2" charset="77"/>
              </a:rPr>
              <a:t>communication</a:t>
            </a:r>
            <a:r>
              <a:rPr lang="en-US" sz="1400" dirty="0">
                <a:latin typeface="Moderat" pitchFamily="2" charset="77"/>
              </a:rPr>
              <a:t> becomes a capability rather than a soft skill, </a:t>
            </a:r>
            <a:r>
              <a:rPr lang="en-US" sz="1400" b="1" dirty="0">
                <a:latin typeface="Moderat" pitchFamily="2" charset="77"/>
              </a:rPr>
              <a:t>execution speed and trust increase</a:t>
            </a:r>
            <a:r>
              <a:rPr lang="en-US" sz="1400" dirty="0">
                <a:latin typeface="Moderat" pitchFamily="2" charset="77"/>
              </a:rPr>
              <a:t>.</a:t>
            </a:r>
          </a:p>
        </p:txBody>
      </p:sp>
      <p:sp>
        <p:nvSpPr>
          <p:cNvPr id="69" name="Rectangle: Rounded Corners 68">
            <a:extLst>
              <a:ext uri="{FF2B5EF4-FFF2-40B4-BE49-F238E27FC236}">
                <a16:creationId xmlns:a16="http://schemas.microsoft.com/office/drawing/2014/main" id="{8CA3B171-616E-ADE5-E802-91D67A680C58}"/>
              </a:ext>
            </a:extLst>
          </p:cNvPr>
          <p:cNvSpPr/>
          <p:nvPr/>
        </p:nvSpPr>
        <p:spPr>
          <a:xfrm>
            <a:off x="7852789" y="1841960"/>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dirty="0">
                <a:solidFill>
                  <a:srgbClr val="4A4A45"/>
                </a:solidFill>
                <a:latin typeface="Moderat" panose="020B0604020202020204"/>
              </a:rPr>
              <a:t>Rework ↓ </a:t>
            </a:r>
            <a:r>
              <a:rPr lang="en-US" sz="1400" b="1" dirty="0">
                <a:solidFill>
                  <a:srgbClr val="4A4A45"/>
                </a:solidFill>
                <a:latin typeface="Moderat" panose="020B0604020202020204"/>
              </a:rPr>
              <a:t>32%</a:t>
            </a:r>
          </a:p>
        </p:txBody>
      </p:sp>
      <p:sp>
        <p:nvSpPr>
          <p:cNvPr id="70" name="Rectangle: Rounded Corners 69">
            <a:extLst>
              <a:ext uri="{FF2B5EF4-FFF2-40B4-BE49-F238E27FC236}">
                <a16:creationId xmlns:a16="http://schemas.microsoft.com/office/drawing/2014/main" id="{D950268D-7674-3F8B-2BCC-DEE166343FE2}"/>
              </a:ext>
            </a:extLst>
          </p:cNvPr>
          <p:cNvSpPr/>
          <p:nvPr/>
        </p:nvSpPr>
        <p:spPr>
          <a:xfrm>
            <a:off x="7852789" y="2715755"/>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dirty="0">
                <a:solidFill>
                  <a:srgbClr val="4A4A45"/>
                </a:solidFill>
                <a:latin typeface="Moderat" panose="020B0604020202020204"/>
              </a:rPr>
              <a:t>Project cycle times ↓ </a:t>
            </a:r>
            <a:r>
              <a:rPr lang="en-US" sz="1400" b="1" dirty="0">
                <a:solidFill>
                  <a:srgbClr val="4A4A45"/>
                </a:solidFill>
                <a:latin typeface="Moderat" panose="020B0604020202020204"/>
              </a:rPr>
              <a:t>28%</a:t>
            </a:r>
          </a:p>
        </p:txBody>
      </p:sp>
      <p:sp>
        <p:nvSpPr>
          <p:cNvPr id="71" name="Rectangle: Rounded Corners 70">
            <a:extLst>
              <a:ext uri="{FF2B5EF4-FFF2-40B4-BE49-F238E27FC236}">
                <a16:creationId xmlns:a16="http://schemas.microsoft.com/office/drawing/2014/main" id="{12A2759C-ACE8-9AF9-C8DE-2FE5D6EB7045}"/>
              </a:ext>
            </a:extLst>
          </p:cNvPr>
          <p:cNvSpPr/>
          <p:nvPr/>
        </p:nvSpPr>
        <p:spPr>
          <a:xfrm>
            <a:off x="7852789" y="3589551"/>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dirty="0">
                <a:solidFill>
                  <a:srgbClr val="4A4A45"/>
                </a:solidFill>
                <a:latin typeface="Moderat" panose="020B0604020202020204"/>
              </a:rPr>
              <a:t>Decision cycles ↓ </a:t>
            </a:r>
            <a:r>
              <a:rPr lang="en-US" sz="1400" b="1" dirty="0">
                <a:solidFill>
                  <a:srgbClr val="4A4A45"/>
                </a:solidFill>
                <a:latin typeface="Moderat" panose="020B0604020202020204"/>
              </a:rPr>
              <a:t>30%</a:t>
            </a:r>
          </a:p>
        </p:txBody>
      </p:sp>
      <p:sp>
        <p:nvSpPr>
          <p:cNvPr id="72" name="Rectangle: Rounded Corners 71">
            <a:extLst>
              <a:ext uri="{FF2B5EF4-FFF2-40B4-BE49-F238E27FC236}">
                <a16:creationId xmlns:a16="http://schemas.microsoft.com/office/drawing/2014/main" id="{D516CF88-721B-6DC7-B1AF-0E5F68755132}"/>
              </a:ext>
            </a:extLst>
          </p:cNvPr>
          <p:cNvSpPr/>
          <p:nvPr/>
        </p:nvSpPr>
        <p:spPr>
          <a:xfrm>
            <a:off x="7852789" y="4463347"/>
            <a:ext cx="3823274" cy="803978"/>
          </a:xfrm>
          <a:prstGeom prst="roundRect">
            <a:avLst>
              <a:gd name="adj" fmla="val 7036"/>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648000" rIns="72000" rtlCol="0" anchor="ctr"/>
          <a:lstStyle/>
          <a:p>
            <a:pPr defTabSz="304770"/>
            <a:r>
              <a:rPr lang="en-US" sz="1400" dirty="0">
                <a:solidFill>
                  <a:srgbClr val="4A4A45"/>
                </a:solidFill>
                <a:latin typeface="Moderat" panose="020B0604020202020204"/>
              </a:rPr>
              <a:t>Turnover ↓ </a:t>
            </a:r>
            <a:r>
              <a:rPr lang="en-US" sz="1400" b="1" dirty="0">
                <a:solidFill>
                  <a:srgbClr val="4A4A45"/>
                </a:solidFill>
                <a:latin typeface="Moderat" panose="020B0604020202020204"/>
              </a:rPr>
              <a:t>18% </a:t>
            </a:r>
            <a:r>
              <a:rPr lang="en-US" sz="1400" dirty="0">
                <a:solidFill>
                  <a:srgbClr val="4A4A45"/>
                </a:solidFill>
                <a:latin typeface="Moderat" panose="020B0604020202020204"/>
              </a:rPr>
              <a:t>in high-pressure roles</a:t>
            </a:r>
          </a:p>
        </p:txBody>
      </p:sp>
      <p:grpSp>
        <p:nvGrpSpPr>
          <p:cNvPr id="120" name="Group 119">
            <a:extLst>
              <a:ext uri="{FF2B5EF4-FFF2-40B4-BE49-F238E27FC236}">
                <a16:creationId xmlns:a16="http://schemas.microsoft.com/office/drawing/2014/main" id="{DD5F3957-7B81-F183-0954-079F9BB9C687}"/>
              </a:ext>
            </a:extLst>
          </p:cNvPr>
          <p:cNvGrpSpPr/>
          <p:nvPr/>
        </p:nvGrpSpPr>
        <p:grpSpPr>
          <a:xfrm>
            <a:off x="7936609" y="2015349"/>
            <a:ext cx="457200" cy="457200"/>
            <a:chOff x="7936609" y="2099558"/>
            <a:chExt cx="457200" cy="457200"/>
          </a:xfrm>
        </p:grpSpPr>
        <p:sp>
          <p:nvSpPr>
            <p:cNvPr id="121" name="Oval 120">
              <a:extLst>
                <a:ext uri="{FF2B5EF4-FFF2-40B4-BE49-F238E27FC236}">
                  <a16:creationId xmlns:a16="http://schemas.microsoft.com/office/drawing/2014/main" id="{2AE164A5-8055-2B1F-4431-5F22F1AA77B1}"/>
                </a:ext>
              </a:extLst>
            </p:cNvPr>
            <p:cNvSpPr>
              <a:spLocks noChangeAspect="1"/>
            </p:cNvSpPr>
            <p:nvPr/>
          </p:nvSpPr>
          <p:spPr>
            <a:xfrm>
              <a:off x="7936609" y="2099558"/>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grpSp>
          <p:nvGrpSpPr>
            <p:cNvPr id="122" name="Group 121">
              <a:extLst>
                <a:ext uri="{FF2B5EF4-FFF2-40B4-BE49-F238E27FC236}">
                  <a16:creationId xmlns:a16="http://schemas.microsoft.com/office/drawing/2014/main" id="{2A41770A-B651-E372-783D-79E17E86A646}"/>
                </a:ext>
              </a:extLst>
            </p:cNvPr>
            <p:cNvGrpSpPr>
              <a:grpSpLocks noChangeAspect="1"/>
            </p:cNvGrpSpPr>
            <p:nvPr/>
          </p:nvGrpSpPr>
          <p:grpSpPr>
            <a:xfrm>
              <a:off x="8042474" y="2201182"/>
              <a:ext cx="245471" cy="253953"/>
              <a:chOff x="10240433" y="490538"/>
              <a:chExt cx="245471" cy="253953"/>
            </a:xfrm>
            <a:solidFill>
              <a:schemeClr val="bg1"/>
            </a:solidFill>
          </p:grpSpPr>
          <p:sp>
            <p:nvSpPr>
              <p:cNvPr id="123" name="Freeform: Shape 122">
                <a:extLst>
                  <a:ext uri="{FF2B5EF4-FFF2-40B4-BE49-F238E27FC236}">
                    <a16:creationId xmlns:a16="http://schemas.microsoft.com/office/drawing/2014/main" id="{C61F108D-439F-F4C0-483F-624ABD3B04D2}"/>
                  </a:ext>
                </a:extLst>
              </p:cNvPr>
              <p:cNvSpPr/>
              <p:nvPr/>
            </p:nvSpPr>
            <p:spPr>
              <a:xfrm>
                <a:off x="10299700" y="549804"/>
                <a:ext cx="126999" cy="135466"/>
              </a:xfrm>
              <a:custGeom>
                <a:avLst/>
                <a:gdLst>
                  <a:gd name="csX0" fmla="*/ 80433 w 126999"/>
                  <a:gd name="csY0" fmla="*/ 0 h 135466"/>
                  <a:gd name="csX1" fmla="*/ 46567 w 126999"/>
                  <a:gd name="csY1" fmla="*/ 0 h 135466"/>
                  <a:gd name="csX2" fmla="*/ 25400 w 126999"/>
                  <a:gd name="csY2" fmla="*/ 21167 h 135466"/>
                  <a:gd name="csX3" fmla="*/ 25400 w 126999"/>
                  <a:gd name="csY3" fmla="*/ 33867 h 135466"/>
                  <a:gd name="csX4" fmla="*/ 16933 w 126999"/>
                  <a:gd name="csY4" fmla="*/ 33867 h 135466"/>
                  <a:gd name="csX5" fmla="*/ 0 w 126999"/>
                  <a:gd name="csY5" fmla="*/ 50800 h 135466"/>
                  <a:gd name="csX6" fmla="*/ 0 w 126999"/>
                  <a:gd name="csY6" fmla="*/ 118533 h 135466"/>
                  <a:gd name="csX7" fmla="*/ 16933 w 126999"/>
                  <a:gd name="csY7" fmla="*/ 135467 h 135466"/>
                  <a:gd name="csX8" fmla="*/ 110067 w 126999"/>
                  <a:gd name="csY8" fmla="*/ 135467 h 135466"/>
                  <a:gd name="csX9" fmla="*/ 127000 w 126999"/>
                  <a:gd name="csY9" fmla="*/ 118533 h 135466"/>
                  <a:gd name="csX10" fmla="*/ 127000 w 126999"/>
                  <a:gd name="csY10" fmla="*/ 50800 h 135466"/>
                  <a:gd name="csX11" fmla="*/ 110067 w 126999"/>
                  <a:gd name="csY11" fmla="*/ 33867 h 135466"/>
                  <a:gd name="csX12" fmla="*/ 101600 w 126999"/>
                  <a:gd name="csY12" fmla="*/ 33867 h 135466"/>
                  <a:gd name="csX13" fmla="*/ 101600 w 126999"/>
                  <a:gd name="csY13" fmla="*/ 21167 h 135466"/>
                  <a:gd name="csX14" fmla="*/ 80433 w 126999"/>
                  <a:gd name="csY14" fmla="*/ 0 h 135466"/>
                  <a:gd name="csX15" fmla="*/ 33867 w 126999"/>
                  <a:gd name="csY15" fmla="*/ 21167 h 135466"/>
                  <a:gd name="csX16" fmla="*/ 46567 w 126999"/>
                  <a:gd name="csY16" fmla="*/ 8467 h 135466"/>
                  <a:gd name="csX17" fmla="*/ 80433 w 126999"/>
                  <a:gd name="csY17" fmla="*/ 8467 h 135466"/>
                  <a:gd name="csX18" fmla="*/ 93133 w 126999"/>
                  <a:gd name="csY18" fmla="*/ 21167 h 135466"/>
                  <a:gd name="csX19" fmla="*/ 93133 w 126999"/>
                  <a:gd name="csY19" fmla="*/ 33867 h 135466"/>
                  <a:gd name="csX20" fmla="*/ 84667 w 126999"/>
                  <a:gd name="csY20" fmla="*/ 33867 h 135466"/>
                  <a:gd name="csX21" fmla="*/ 84667 w 126999"/>
                  <a:gd name="csY21" fmla="*/ 25400 h 135466"/>
                  <a:gd name="csX22" fmla="*/ 76200 w 126999"/>
                  <a:gd name="csY22" fmla="*/ 16933 h 135466"/>
                  <a:gd name="csX23" fmla="*/ 50800 w 126999"/>
                  <a:gd name="csY23" fmla="*/ 16933 h 135466"/>
                  <a:gd name="csX24" fmla="*/ 42333 w 126999"/>
                  <a:gd name="csY24" fmla="*/ 25400 h 135466"/>
                  <a:gd name="csX25" fmla="*/ 42333 w 126999"/>
                  <a:gd name="csY25" fmla="*/ 33867 h 135466"/>
                  <a:gd name="csX26" fmla="*/ 33867 w 126999"/>
                  <a:gd name="csY26" fmla="*/ 33867 h 135466"/>
                  <a:gd name="csX27" fmla="*/ 76200 w 126999"/>
                  <a:gd name="csY27" fmla="*/ 33867 h 135466"/>
                  <a:gd name="csX28" fmla="*/ 50800 w 126999"/>
                  <a:gd name="csY28" fmla="*/ 33867 h 135466"/>
                  <a:gd name="csX29" fmla="*/ 50800 w 126999"/>
                  <a:gd name="csY29" fmla="*/ 25400 h 135466"/>
                  <a:gd name="csX30" fmla="*/ 76200 w 126999"/>
                  <a:gd name="csY30" fmla="*/ 25400 h 135466"/>
                  <a:gd name="csX31" fmla="*/ 110067 w 126999"/>
                  <a:gd name="csY31" fmla="*/ 127000 h 135466"/>
                  <a:gd name="csX32" fmla="*/ 16933 w 126999"/>
                  <a:gd name="csY32" fmla="*/ 127000 h 135466"/>
                  <a:gd name="csX33" fmla="*/ 8467 w 126999"/>
                  <a:gd name="csY33" fmla="*/ 118533 h 135466"/>
                  <a:gd name="csX34" fmla="*/ 8467 w 126999"/>
                  <a:gd name="csY34" fmla="*/ 86546 h 135466"/>
                  <a:gd name="csX35" fmla="*/ 16933 w 126999"/>
                  <a:gd name="csY35" fmla="*/ 88900 h 135466"/>
                  <a:gd name="csX36" fmla="*/ 42333 w 126999"/>
                  <a:gd name="csY36" fmla="*/ 88900 h 135466"/>
                  <a:gd name="csX37" fmla="*/ 42333 w 126999"/>
                  <a:gd name="csY37" fmla="*/ 93133 h 135466"/>
                  <a:gd name="csX38" fmla="*/ 55033 w 126999"/>
                  <a:gd name="csY38" fmla="*/ 105833 h 135466"/>
                  <a:gd name="csX39" fmla="*/ 71967 w 126999"/>
                  <a:gd name="csY39" fmla="*/ 105833 h 135466"/>
                  <a:gd name="csX40" fmla="*/ 84667 w 126999"/>
                  <a:gd name="csY40" fmla="*/ 93133 h 135466"/>
                  <a:gd name="csX41" fmla="*/ 84667 w 126999"/>
                  <a:gd name="csY41" fmla="*/ 88900 h 135466"/>
                  <a:gd name="csX42" fmla="*/ 110067 w 126999"/>
                  <a:gd name="csY42" fmla="*/ 88900 h 135466"/>
                  <a:gd name="csX43" fmla="*/ 118533 w 126999"/>
                  <a:gd name="csY43" fmla="*/ 86546 h 135466"/>
                  <a:gd name="csX44" fmla="*/ 118533 w 126999"/>
                  <a:gd name="csY44" fmla="*/ 118533 h 135466"/>
                  <a:gd name="csX45" fmla="*/ 110067 w 126999"/>
                  <a:gd name="csY45" fmla="*/ 127000 h 135466"/>
                  <a:gd name="csX46" fmla="*/ 50800 w 126999"/>
                  <a:gd name="csY46" fmla="*/ 88900 h 135466"/>
                  <a:gd name="csX47" fmla="*/ 76200 w 126999"/>
                  <a:gd name="csY47" fmla="*/ 88900 h 135466"/>
                  <a:gd name="csX48" fmla="*/ 76200 w 126999"/>
                  <a:gd name="csY48" fmla="*/ 93133 h 135466"/>
                  <a:gd name="csX49" fmla="*/ 71967 w 126999"/>
                  <a:gd name="csY49" fmla="*/ 97367 h 135466"/>
                  <a:gd name="csX50" fmla="*/ 55033 w 126999"/>
                  <a:gd name="csY50" fmla="*/ 97367 h 135466"/>
                  <a:gd name="csX51" fmla="*/ 50800 w 126999"/>
                  <a:gd name="csY51" fmla="*/ 93133 h 135466"/>
                  <a:gd name="csX52" fmla="*/ 118533 w 126999"/>
                  <a:gd name="csY52" fmla="*/ 50800 h 135466"/>
                  <a:gd name="csX53" fmla="*/ 118533 w 126999"/>
                  <a:gd name="csY53" fmla="*/ 71967 h 135466"/>
                  <a:gd name="csX54" fmla="*/ 110067 w 126999"/>
                  <a:gd name="csY54" fmla="*/ 80433 h 135466"/>
                  <a:gd name="csX55" fmla="*/ 16933 w 126999"/>
                  <a:gd name="csY55" fmla="*/ 80433 h 135466"/>
                  <a:gd name="csX56" fmla="*/ 8467 w 126999"/>
                  <a:gd name="csY56" fmla="*/ 71967 h 135466"/>
                  <a:gd name="csX57" fmla="*/ 8467 w 126999"/>
                  <a:gd name="csY57" fmla="*/ 50800 h 135466"/>
                  <a:gd name="csX58" fmla="*/ 16933 w 126999"/>
                  <a:gd name="csY58" fmla="*/ 42333 h 135466"/>
                  <a:gd name="csX59" fmla="*/ 110067 w 126999"/>
                  <a:gd name="csY59" fmla="*/ 42333 h 135466"/>
                  <a:gd name="csX60" fmla="*/ 118533 w 126999"/>
                  <a:gd name="csY60" fmla="*/ 50800 h 13546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Lst>
                <a:rect l="l" t="t" r="r" b="b"/>
                <a:pathLst>
                  <a:path w="126999" h="135466">
                    <a:moveTo>
                      <a:pt x="80433" y="0"/>
                    </a:moveTo>
                    <a:lnTo>
                      <a:pt x="46567" y="0"/>
                    </a:lnTo>
                    <a:cubicBezTo>
                      <a:pt x="34882" y="14"/>
                      <a:pt x="25414" y="9482"/>
                      <a:pt x="25400" y="21167"/>
                    </a:cubicBezTo>
                    <a:lnTo>
                      <a:pt x="25400" y="33867"/>
                    </a:lnTo>
                    <a:lnTo>
                      <a:pt x="16933" y="33867"/>
                    </a:lnTo>
                    <a:cubicBezTo>
                      <a:pt x="7581" y="33867"/>
                      <a:pt x="0" y="41448"/>
                      <a:pt x="0" y="50800"/>
                    </a:cubicBezTo>
                    <a:lnTo>
                      <a:pt x="0" y="118533"/>
                    </a:lnTo>
                    <a:cubicBezTo>
                      <a:pt x="0" y="127885"/>
                      <a:pt x="7581" y="135467"/>
                      <a:pt x="16933" y="135467"/>
                    </a:cubicBezTo>
                    <a:lnTo>
                      <a:pt x="110067" y="135467"/>
                    </a:lnTo>
                    <a:cubicBezTo>
                      <a:pt x="119419" y="135467"/>
                      <a:pt x="127000" y="127885"/>
                      <a:pt x="127000" y="118533"/>
                    </a:cubicBezTo>
                    <a:lnTo>
                      <a:pt x="127000" y="50800"/>
                    </a:lnTo>
                    <a:cubicBezTo>
                      <a:pt x="127000" y="41448"/>
                      <a:pt x="119419" y="33867"/>
                      <a:pt x="110067" y="33867"/>
                    </a:cubicBezTo>
                    <a:lnTo>
                      <a:pt x="101600" y="33867"/>
                    </a:lnTo>
                    <a:lnTo>
                      <a:pt x="101600" y="21167"/>
                    </a:lnTo>
                    <a:cubicBezTo>
                      <a:pt x="101586" y="9482"/>
                      <a:pt x="92118" y="14"/>
                      <a:pt x="80433" y="0"/>
                    </a:cubicBezTo>
                    <a:close/>
                    <a:moveTo>
                      <a:pt x="33867" y="21167"/>
                    </a:moveTo>
                    <a:cubicBezTo>
                      <a:pt x="33867" y="14153"/>
                      <a:pt x="39553" y="8467"/>
                      <a:pt x="46567" y="8467"/>
                    </a:cubicBezTo>
                    <a:lnTo>
                      <a:pt x="80433" y="8467"/>
                    </a:lnTo>
                    <a:cubicBezTo>
                      <a:pt x="87447" y="8467"/>
                      <a:pt x="93133" y="14153"/>
                      <a:pt x="93133" y="21167"/>
                    </a:cubicBezTo>
                    <a:lnTo>
                      <a:pt x="93133" y="33867"/>
                    </a:lnTo>
                    <a:lnTo>
                      <a:pt x="84667" y="33867"/>
                    </a:lnTo>
                    <a:lnTo>
                      <a:pt x="84667" y="25400"/>
                    </a:lnTo>
                    <a:cubicBezTo>
                      <a:pt x="84667" y="20724"/>
                      <a:pt x="80876" y="16933"/>
                      <a:pt x="76200" y="16933"/>
                    </a:cubicBezTo>
                    <a:lnTo>
                      <a:pt x="50800" y="16933"/>
                    </a:lnTo>
                    <a:cubicBezTo>
                      <a:pt x="46124" y="16933"/>
                      <a:pt x="42333" y="20724"/>
                      <a:pt x="42333" y="25400"/>
                    </a:cubicBezTo>
                    <a:lnTo>
                      <a:pt x="42333" y="33867"/>
                    </a:lnTo>
                    <a:lnTo>
                      <a:pt x="33867" y="33867"/>
                    </a:lnTo>
                    <a:close/>
                    <a:moveTo>
                      <a:pt x="76200" y="33867"/>
                    </a:moveTo>
                    <a:lnTo>
                      <a:pt x="50800" y="33867"/>
                    </a:lnTo>
                    <a:lnTo>
                      <a:pt x="50800" y="25400"/>
                    </a:lnTo>
                    <a:lnTo>
                      <a:pt x="76200" y="25400"/>
                    </a:lnTo>
                    <a:close/>
                    <a:moveTo>
                      <a:pt x="110067" y="127000"/>
                    </a:moveTo>
                    <a:lnTo>
                      <a:pt x="16933" y="127000"/>
                    </a:lnTo>
                    <a:cubicBezTo>
                      <a:pt x="12257" y="127000"/>
                      <a:pt x="8467" y="123209"/>
                      <a:pt x="8467" y="118533"/>
                    </a:cubicBezTo>
                    <a:lnTo>
                      <a:pt x="8467" y="86546"/>
                    </a:lnTo>
                    <a:cubicBezTo>
                      <a:pt x="11029" y="88070"/>
                      <a:pt x="13952" y="88882"/>
                      <a:pt x="16933" y="88900"/>
                    </a:cubicBezTo>
                    <a:lnTo>
                      <a:pt x="42333" y="88900"/>
                    </a:lnTo>
                    <a:lnTo>
                      <a:pt x="42333" y="93133"/>
                    </a:lnTo>
                    <a:cubicBezTo>
                      <a:pt x="42333" y="100147"/>
                      <a:pt x="48019" y="105833"/>
                      <a:pt x="55033" y="105833"/>
                    </a:cubicBezTo>
                    <a:lnTo>
                      <a:pt x="71967" y="105833"/>
                    </a:lnTo>
                    <a:cubicBezTo>
                      <a:pt x="78981" y="105833"/>
                      <a:pt x="84667" y="100147"/>
                      <a:pt x="84667" y="93133"/>
                    </a:cubicBezTo>
                    <a:lnTo>
                      <a:pt x="84667" y="88900"/>
                    </a:lnTo>
                    <a:lnTo>
                      <a:pt x="110067" y="88900"/>
                    </a:lnTo>
                    <a:cubicBezTo>
                      <a:pt x="113048" y="88882"/>
                      <a:pt x="115971" y="88070"/>
                      <a:pt x="118533" y="86546"/>
                    </a:cubicBezTo>
                    <a:lnTo>
                      <a:pt x="118533" y="118533"/>
                    </a:lnTo>
                    <a:cubicBezTo>
                      <a:pt x="118533" y="123209"/>
                      <a:pt x="114743" y="127000"/>
                      <a:pt x="110067" y="127000"/>
                    </a:cubicBezTo>
                    <a:close/>
                    <a:moveTo>
                      <a:pt x="50800" y="88900"/>
                    </a:moveTo>
                    <a:lnTo>
                      <a:pt x="76200" y="88900"/>
                    </a:lnTo>
                    <a:lnTo>
                      <a:pt x="76200" y="93133"/>
                    </a:lnTo>
                    <a:cubicBezTo>
                      <a:pt x="76200" y="95471"/>
                      <a:pt x="74305" y="97367"/>
                      <a:pt x="71967" y="97367"/>
                    </a:cubicBezTo>
                    <a:lnTo>
                      <a:pt x="55033" y="97367"/>
                    </a:lnTo>
                    <a:cubicBezTo>
                      <a:pt x="52695" y="97367"/>
                      <a:pt x="50800" y="95471"/>
                      <a:pt x="50800" y="93133"/>
                    </a:cubicBezTo>
                    <a:close/>
                    <a:moveTo>
                      <a:pt x="118533" y="50800"/>
                    </a:moveTo>
                    <a:lnTo>
                      <a:pt x="118533" y="71967"/>
                    </a:lnTo>
                    <a:cubicBezTo>
                      <a:pt x="118533" y="76643"/>
                      <a:pt x="114743" y="80433"/>
                      <a:pt x="110067" y="80433"/>
                    </a:cubicBezTo>
                    <a:lnTo>
                      <a:pt x="16933" y="80433"/>
                    </a:lnTo>
                    <a:cubicBezTo>
                      <a:pt x="12257" y="80433"/>
                      <a:pt x="8467" y="76643"/>
                      <a:pt x="8467" y="71967"/>
                    </a:cubicBezTo>
                    <a:lnTo>
                      <a:pt x="8467" y="50800"/>
                    </a:lnTo>
                    <a:cubicBezTo>
                      <a:pt x="8467" y="46124"/>
                      <a:pt x="12257" y="42333"/>
                      <a:pt x="16933" y="42333"/>
                    </a:cubicBezTo>
                    <a:lnTo>
                      <a:pt x="110067" y="42333"/>
                    </a:lnTo>
                    <a:cubicBezTo>
                      <a:pt x="114743" y="42333"/>
                      <a:pt x="118533" y="46124"/>
                      <a:pt x="118533" y="50800"/>
                    </a:cubicBezTo>
                    <a:close/>
                  </a:path>
                </a:pathLst>
              </a:custGeom>
              <a:grpFill/>
              <a:ln w="4128"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4" name="Freeform: Shape 123">
                <a:extLst>
                  <a:ext uri="{FF2B5EF4-FFF2-40B4-BE49-F238E27FC236}">
                    <a16:creationId xmlns:a16="http://schemas.microsoft.com/office/drawing/2014/main" id="{5B5B66D4-F797-6DF9-514F-D20BC84DC5FD}"/>
                  </a:ext>
                </a:extLst>
              </p:cNvPr>
              <p:cNvSpPr/>
              <p:nvPr/>
            </p:nvSpPr>
            <p:spPr>
              <a:xfrm>
                <a:off x="10401649" y="511590"/>
                <a:ext cx="84255" cy="195465"/>
              </a:xfrm>
              <a:custGeom>
                <a:avLst/>
                <a:gdLst>
                  <a:gd name="csX0" fmla="*/ 22875 w 84255"/>
                  <a:gd name="csY0" fmla="*/ 3835 h 195465"/>
                  <a:gd name="csX1" fmla="*/ 18641 w 84255"/>
                  <a:gd name="csY1" fmla="*/ 1469 h 195465"/>
                  <a:gd name="csX2" fmla="*/ 1469 w 84255"/>
                  <a:gd name="csY2" fmla="*/ 6788 h 195465"/>
                  <a:gd name="csX3" fmla="*/ 6788 w 84255"/>
                  <a:gd name="csY3" fmla="*/ 23960 h 195465"/>
                  <a:gd name="csX4" fmla="*/ 10221 w 84255"/>
                  <a:gd name="csY4" fmla="*/ 25882 h 195465"/>
                  <a:gd name="csX5" fmla="*/ 45845 w 84255"/>
                  <a:gd name="csY5" fmla="*/ 158839 h 195465"/>
                  <a:gd name="csX6" fmla="*/ 44778 w 84255"/>
                  <a:gd name="csY6" fmla="*/ 158225 h 195465"/>
                  <a:gd name="csX7" fmla="*/ 37234 w 84255"/>
                  <a:gd name="csY7" fmla="*/ 158470 h 195465"/>
                  <a:gd name="csX8" fmla="*/ 33907 w 84255"/>
                  <a:gd name="csY8" fmla="*/ 165430 h 195465"/>
                  <a:gd name="csX9" fmla="*/ 36362 w 84255"/>
                  <a:gd name="csY9" fmla="*/ 189014 h 195465"/>
                  <a:gd name="csX10" fmla="*/ 43478 w 84255"/>
                  <a:gd name="csY10" fmla="*/ 195465 h 195465"/>
                  <a:gd name="csX11" fmla="*/ 46442 w 84255"/>
                  <a:gd name="csY11" fmla="*/ 194805 h 195465"/>
                  <a:gd name="csX12" fmla="*/ 68032 w 84255"/>
                  <a:gd name="csY12" fmla="*/ 185225 h 195465"/>
                  <a:gd name="csX13" fmla="*/ 72472 w 84255"/>
                  <a:gd name="csY13" fmla="*/ 178875 h 195465"/>
                  <a:gd name="csX14" fmla="*/ 68899 w 84255"/>
                  <a:gd name="csY14" fmla="*/ 172140 h 195465"/>
                  <a:gd name="csX15" fmla="*/ 67845 w 84255"/>
                  <a:gd name="csY15" fmla="*/ 171543 h 195465"/>
                  <a:gd name="csX16" fmla="*/ 22875 w 84255"/>
                  <a:gd name="csY16" fmla="*/ 3835 h 195465"/>
                  <a:gd name="csX17" fmla="*/ 60551 w 84255"/>
                  <a:gd name="csY17" fmla="*/ 167293 h 195465"/>
                  <a:gd name="csX18" fmla="*/ 58435 w 84255"/>
                  <a:gd name="csY18" fmla="*/ 170781 h 195465"/>
                  <a:gd name="csX19" fmla="*/ 59772 w 84255"/>
                  <a:gd name="csY19" fmla="*/ 176684 h 195465"/>
                  <a:gd name="csX20" fmla="*/ 59895 w 84255"/>
                  <a:gd name="csY20" fmla="*/ 176758 h 195465"/>
                  <a:gd name="csX21" fmla="*/ 62689 w 84255"/>
                  <a:gd name="csY21" fmla="*/ 178346 h 195465"/>
                  <a:gd name="csX22" fmla="*/ 44596 w 84255"/>
                  <a:gd name="csY22" fmla="*/ 186381 h 195465"/>
                  <a:gd name="csX23" fmla="*/ 42555 w 84255"/>
                  <a:gd name="csY23" fmla="*/ 166738 h 195465"/>
                  <a:gd name="csX24" fmla="*/ 45218 w 84255"/>
                  <a:gd name="csY24" fmla="*/ 168287 h 195465"/>
                  <a:gd name="csX25" fmla="*/ 50967 w 84255"/>
                  <a:gd name="csY25" fmla="*/ 166823 h 195465"/>
                  <a:gd name="csX26" fmla="*/ 53173 w 84255"/>
                  <a:gd name="csY26" fmla="*/ 163102 h 195465"/>
                  <a:gd name="csX27" fmla="*/ 14438 w 84255"/>
                  <a:gd name="csY27" fmla="*/ 18559 h 195465"/>
                  <a:gd name="csX28" fmla="*/ 10750 w 84255"/>
                  <a:gd name="csY28" fmla="*/ 16497 h 195465"/>
                  <a:gd name="csX29" fmla="*/ 9171 w 84255"/>
                  <a:gd name="csY29" fmla="*/ 10748 h 195465"/>
                  <a:gd name="csX30" fmla="*/ 14624 w 84255"/>
                  <a:gd name="csY30" fmla="*/ 8945 h 195465"/>
                  <a:gd name="csX31" fmla="*/ 18688 w 84255"/>
                  <a:gd name="csY31" fmla="*/ 11210 h 195465"/>
                  <a:gd name="csX32" fmla="*/ 60539 w 84255"/>
                  <a:gd name="csY32" fmla="*/ 167310 h 19546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Lst>
                <a:rect l="l" t="t" r="r" b="b"/>
                <a:pathLst>
                  <a:path w="84255" h="195465">
                    <a:moveTo>
                      <a:pt x="22875" y="3835"/>
                    </a:moveTo>
                    <a:lnTo>
                      <a:pt x="18641" y="1469"/>
                    </a:lnTo>
                    <a:cubicBezTo>
                      <a:pt x="12430" y="-1805"/>
                      <a:pt x="4742" y="577"/>
                      <a:pt x="1469" y="6788"/>
                    </a:cubicBezTo>
                    <a:cubicBezTo>
                      <a:pt x="-1805" y="12999"/>
                      <a:pt x="577" y="20687"/>
                      <a:pt x="6788" y="23960"/>
                    </a:cubicBezTo>
                    <a:cubicBezTo>
                      <a:pt x="7935" y="24570"/>
                      <a:pt x="9087" y="25230"/>
                      <a:pt x="10221" y="25882"/>
                    </a:cubicBezTo>
                    <a:cubicBezTo>
                      <a:pt x="56728" y="52795"/>
                      <a:pt x="72666" y="112279"/>
                      <a:pt x="45845" y="158839"/>
                    </a:cubicBezTo>
                    <a:lnTo>
                      <a:pt x="44778" y="158225"/>
                    </a:lnTo>
                    <a:cubicBezTo>
                      <a:pt x="42419" y="156876"/>
                      <a:pt x="39501" y="156971"/>
                      <a:pt x="37234" y="158470"/>
                    </a:cubicBezTo>
                    <a:cubicBezTo>
                      <a:pt x="34905" y="159980"/>
                      <a:pt x="33619" y="162669"/>
                      <a:pt x="33907" y="165430"/>
                    </a:cubicBezTo>
                    <a:lnTo>
                      <a:pt x="36362" y="189014"/>
                    </a:lnTo>
                    <a:cubicBezTo>
                      <a:pt x="36714" y="192679"/>
                      <a:pt x="39797" y="195474"/>
                      <a:pt x="43478" y="195465"/>
                    </a:cubicBezTo>
                    <a:cubicBezTo>
                      <a:pt x="44503" y="195470"/>
                      <a:pt x="45516" y="195244"/>
                      <a:pt x="46442" y="194805"/>
                    </a:cubicBezTo>
                    <a:lnTo>
                      <a:pt x="68032" y="185225"/>
                    </a:lnTo>
                    <a:cubicBezTo>
                      <a:pt x="70602" y="184129"/>
                      <a:pt x="72325" y="181666"/>
                      <a:pt x="72472" y="178875"/>
                    </a:cubicBezTo>
                    <a:cubicBezTo>
                      <a:pt x="72666" y="176132"/>
                      <a:pt x="71279" y="173518"/>
                      <a:pt x="68899" y="172140"/>
                    </a:cubicBezTo>
                    <a:lnTo>
                      <a:pt x="67845" y="171543"/>
                    </a:lnTo>
                    <a:cubicBezTo>
                      <a:pt x="101661" y="112803"/>
                      <a:pt x="81543" y="37775"/>
                      <a:pt x="22875" y="3835"/>
                    </a:cubicBezTo>
                    <a:close/>
                    <a:moveTo>
                      <a:pt x="60551" y="167293"/>
                    </a:moveTo>
                    <a:cubicBezTo>
                      <a:pt x="59865" y="168474"/>
                      <a:pt x="59175" y="169646"/>
                      <a:pt x="58435" y="170781"/>
                    </a:cubicBezTo>
                    <a:cubicBezTo>
                      <a:pt x="57174" y="172780"/>
                      <a:pt x="57773" y="175423"/>
                      <a:pt x="59772" y="176684"/>
                    </a:cubicBezTo>
                    <a:cubicBezTo>
                      <a:pt x="59813" y="176709"/>
                      <a:pt x="59854" y="176734"/>
                      <a:pt x="59895" y="176758"/>
                    </a:cubicBezTo>
                    <a:lnTo>
                      <a:pt x="62689" y="178346"/>
                    </a:lnTo>
                    <a:lnTo>
                      <a:pt x="44596" y="186381"/>
                    </a:lnTo>
                    <a:lnTo>
                      <a:pt x="42555" y="166738"/>
                    </a:lnTo>
                    <a:lnTo>
                      <a:pt x="45218" y="168287"/>
                    </a:lnTo>
                    <a:cubicBezTo>
                      <a:pt x="47213" y="169448"/>
                      <a:pt x="49770" y="168797"/>
                      <a:pt x="50967" y="166823"/>
                    </a:cubicBezTo>
                    <a:cubicBezTo>
                      <a:pt x="51695" y="165620"/>
                      <a:pt x="52427" y="164372"/>
                      <a:pt x="53173" y="163102"/>
                    </a:cubicBezTo>
                    <a:cubicBezTo>
                      <a:pt x="82346" y="112485"/>
                      <a:pt x="65013" y="47804"/>
                      <a:pt x="14438" y="18559"/>
                    </a:cubicBezTo>
                    <a:cubicBezTo>
                      <a:pt x="13218" y="17860"/>
                      <a:pt x="11995" y="17162"/>
                      <a:pt x="10750" y="16497"/>
                    </a:cubicBezTo>
                    <a:cubicBezTo>
                      <a:pt x="8735" y="15339"/>
                      <a:pt x="8030" y="12773"/>
                      <a:pt x="9171" y="10748"/>
                    </a:cubicBezTo>
                    <a:cubicBezTo>
                      <a:pt x="10269" y="8852"/>
                      <a:pt x="12612" y="8077"/>
                      <a:pt x="14624" y="8945"/>
                    </a:cubicBezTo>
                    <a:lnTo>
                      <a:pt x="18688" y="11210"/>
                    </a:lnTo>
                    <a:cubicBezTo>
                      <a:pt x="73340" y="42767"/>
                      <a:pt x="92074" y="112645"/>
                      <a:pt x="60539" y="167310"/>
                    </a:cubicBezTo>
                    <a:close/>
                  </a:path>
                </a:pathLst>
              </a:custGeom>
              <a:grpFill/>
              <a:ln w="4128"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5" name="Freeform: Shape 124">
                <a:extLst>
                  <a:ext uri="{FF2B5EF4-FFF2-40B4-BE49-F238E27FC236}">
                    <a16:creationId xmlns:a16="http://schemas.microsoft.com/office/drawing/2014/main" id="{2C977D6C-06E7-8E73-A4E4-CEE7411E236F}"/>
                  </a:ext>
                </a:extLst>
              </p:cNvPr>
              <p:cNvSpPr/>
              <p:nvPr/>
            </p:nvSpPr>
            <p:spPr>
              <a:xfrm>
                <a:off x="10240433" y="490538"/>
                <a:ext cx="156628" cy="148165"/>
              </a:xfrm>
              <a:custGeom>
                <a:avLst/>
                <a:gdLst>
                  <a:gd name="csX0" fmla="*/ 153611 w 156628"/>
                  <a:gd name="csY0" fmla="*/ 15379 h 148165"/>
                  <a:gd name="csX1" fmla="*/ 134472 w 156628"/>
                  <a:gd name="csY1" fmla="*/ 1434 h 148165"/>
                  <a:gd name="csX2" fmla="*/ 126780 w 156628"/>
                  <a:gd name="csY2" fmla="*/ 799 h 148165"/>
                  <a:gd name="csX3" fmla="*/ 122767 w 156628"/>
                  <a:gd name="csY3" fmla="*/ 7247 h 148165"/>
                  <a:gd name="csX4" fmla="*/ 122767 w 156628"/>
                  <a:gd name="csY4" fmla="*/ 8466 h 148165"/>
                  <a:gd name="csX5" fmla="*/ 0 w 156628"/>
                  <a:gd name="csY5" fmla="*/ 131232 h 148165"/>
                  <a:gd name="csX6" fmla="*/ 89 w 156628"/>
                  <a:gd name="csY6" fmla="*/ 136092 h 148165"/>
                  <a:gd name="csX7" fmla="*/ 12785 w 156628"/>
                  <a:gd name="csY7" fmla="*/ 148166 h 148165"/>
                  <a:gd name="csX8" fmla="*/ 25486 w 156628"/>
                  <a:gd name="csY8" fmla="*/ 135307 h 148165"/>
                  <a:gd name="csX9" fmla="*/ 25485 w 156628"/>
                  <a:gd name="csY9" fmla="*/ 135169 h 148165"/>
                  <a:gd name="csX10" fmla="*/ 25400 w 156628"/>
                  <a:gd name="csY10" fmla="*/ 131232 h 148165"/>
                  <a:gd name="csX11" fmla="*/ 122767 w 156628"/>
                  <a:gd name="csY11" fmla="*/ 33866 h 148165"/>
                  <a:gd name="csX12" fmla="*/ 122767 w 156628"/>
                  <a:gd name="csY12" fmla="*/ 35093 h 148165"/>
                  <a:gd name="csX13" fmla="*/ 126742 w 156628"/>
                  <a:gd name="csY13" fmla="*/ 41537 h 148165"/>
                  <a:gd name="csX14" fmla="*/ 134442 w 156628"/>
                  <a:gd name="csY14" fmla="*/ 40931 h 148165"/>
                  <a:gd name="csX15" fmla="*/ 153556 w 156628"/>
                  <a:gd name="csY15" fmla="*/ 27050 h 148165"/>
                  <a:gd name="csX16" fmla="*/ 155363 w 156628"/>
                  <a:gd name="csY16" fmla="*/ 17138 h 148165"/>
                  <a:gd name="csX17" fmla="*/ 153619 w 156628"/>
                  <a:gd name="csY17" fmla="*/ 15375 h 148165"/>
                  <a:gd name="csX18" fmla="*/ 131233 w 156628"/>
                  <a:gd name="csY18" fmla="*/ 32799 h 148165"/>
                  <a:gd name="csX19" fmla="*/ 131233 w 156628"/>
                  <a:gd name="csY19" fmla="*/ 29721 h 148165"/>
                  <a:gd name="csX20" fmla="*/ 127123 w 156628"/>
                  <a:gd name="csY20" fmla="*/ 25488 h 148165"/>
                  <a:gd name="csX21" fmla="*/ 122767 w 156628"/>
                  <a:gd name="csY21" fmla="*/ 25399 h 148165"/>
                  <a:gd name="csX22" fmla="*/ 16933 w 156628"/>
                  <a:gd name="csY22" fmla="*/ 131232 h 148165"/>
                  <a:gd name="csX23" fmla="*/ 17022 w 156628"/>
                  <a:gd name="csY23" fmla="*/ 135466 h 148165"/>
                  <a:gd name="csX24" fmla="*/ 12643 w 156628"/>
                  <a:gd name="csY24" fmla="*/ 139661 h 148165"/>
                  <a:gd name="csX25" fmla="*/ 9851 w 156628"/>
                  <a:gd name="csY25" fmla="*/ 138548 h 148165"/>
                  <a:gd name="csX26" fmla="*/ 8551 w 156628"/>
                  <a:gd name="csY26" fmla="*/ 135838 h 148165"/>
                  <a:gd name="csX27" fmla="*/ 8467 w 156628"/>
                  <a:gd name="csY27" fmla="*/ 131232 h 148165"/>
                  <a:gd name="csX28" fmla="*/ 122767 w 156628"/>
                  <a:gd name="csY28" fmla="*/ 16932 h 148165"/>
                  <a:gd name="csX29" fmla="*/ 126877 w 156628"/>
                  <a:gd name="csY29" fmla="*/ 17017 h 148165"/>
                  <a:gd name="csX30" fmla="*/ 131233 w 156628"/>
                  <a:gd name="csY30" fmla="*/ 12789 h 148165"/>
                  <a:gd name="csX31" fmla="*/ 131233 w 156628"/>
                  <a:gd name="csY31" fmla="*/ 12784 h 148165"/>
                  <a:gd name="csX32" fmla="*/ 131233 w 156628"/>
                  <a:gd name="csY32" fmla="*/ 9545 h 148165"/>
                  <a:gd name="csX33" fmla="*/ 147218 w 156628"/>
                  <a:gd name="csY33" fmla="*/ 21191 h 14816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Lst>
                <a:rect l="l" t="t" r="r" b="b"/>
                <a:pathLst>
                  <a:path w="156628" h="148165">
                    <a:moveTo>
                      <a:pt x="153611" y="15379"/>
                    </a:moveTo>
                    <a:lnTo>
                      <a:pt x="134472" y="1434"/>
                    </a:lnTo>
                    <a:cubicBezTo>
                      <a:pt x="132235" y="-216"/>
                      <a:pt x="129257" y="-462"/>
                      <a:pt x="126780" y="799"/>
                    </a:cubicBezTo>
                    <a:cubicBezTo>
                      <a:pt x="124325" y="2010"/>
                      <a:pt x="122769" y="4509"/>
                      <a:pt x="122767" y="7247"/>
                    </a:cubicBezTo>
                    <a:lnTo>
                      <a:pt x="122767" y="8466"/>
                    </a:lnTo>
                    <a:cubicBezTo>
                      <a:pt x="54995" y="8540"/>
                      <a:pt x="75" y="63461"/>
                      <a:pt x="0" y="131232"/>
                    </a:cubicBezTo>
                    <a:cubicBezTo>
                      <a:pt x="0" y="132833"/>
                      <a:pt x="42" y="134437"/>
                      <a:pt x="89" y="136092"/>
                    </a:cubicBezTo>
                    <a:cubicBezTo>
                      <a:pt x="477" y="142834"/>
                      <a:pt x="6032" y="148117"/>
                      <a:pt x="12785" y="148166"/>
                    </a:cubicBezTo>
                    <a:cubicBezTo>
                      <a:pt x="19843" y="148122"/>
                      <a:pt x="25530" y="142365"/>
                      <a:pt x="25486" y="135307"/>
                    </a:cubicBezTo>
                    <a:cubicBezTo>
                      <a:pt x="25486" y="135261"/>
                      <a:pt x="25485" y="135215"/>
                      <a:pt x="25485" y="135169"/>
                    </a:cubicBezTo>
                    <a:cubicBezTo>
                      <a:pt x="25442" y="133849"/>
                      <a:pt x="25400" y="132541"/>
                      <a:pt x="25400" y="131232"/>
                    </a:cubicBezTo>
                    <a:cubicBezTo>
                      <a:pt x="25454" y="77481"/>
                      <a:pt x="69015" y="33919"/>
                      <a:pt x="122767" y="33866"/>
                    </a:cubicBezTo>
                    <a:lnTo>
                      <a:pt x="122767" y="35093"/>
                    </a:lnTo>
                    <a:cubicBezTo>
                      <a:pt x="122764" y="37821"/>
                      <a:pt x="124303" y="40316"/>
                      <a:pt x="126742" y="41537"/>
                    </a:cubicBezTo>
                    <a:cubicBezTo>
                      <a:pt x="129216" y="42808"/>
                      <a:pt x="132197" y="42573"/>
                      <a:pt x="134442" y="40931"/>
                    </a:cubicBezTo>
                    <a:lnTo>
                      <a:pt x="153556" y="27050"/>
                    </a:lnTo>
                    <a:cubicBezTo>
                      <a:pt x="156792" y="24812"/>
                      <a:pt x="157601" y="20374"/>
                      <a:pt x="155363" y="17138"/>
                    </a:cubicBezTo>
                    <a:cubicBezTo>
                      <a:pt x="154889" y="16453"/>
                      <a:pt x="154299" y="15856"/>
                      <a:pt x="153619" y="15375"/>
                    </a:cubicBezTo>
                    <a:close/>
                    <a:moveTo>
                      <a:pt x="131233" y="32799"/>
                    </a:moveTo>
                    <a:lnTo>
                      <a:pt x="131233" y="29721"/>
                    </a:lnTo>
                    <a:cubicBezTo>
                      <a:pt x="131234" y="27430"/>
                      <a:pt x="129413" y="25554"/>
                      <a:pt x="127123" y="25488"/>
                    </a:cubicBezTo>
                    <a:cubicBezTo>
                      <a:pt x="125679" y="25446"/>
                      <a:pt x="124240" y="25399"/>
                      <a:pt x="122767" y="25399"/>
                    </a:cubicBezTo>
                    <a:cubicBezTo>
                      <a:pt x="64342" y="25460"/>
                      <a:pt x="16994" y="72807"/>
                      <a:pt x="16933" y="131232"/>
                    </a:cubicBezTo>
                    <a:cubicBezTo>
                      <a:pt x="16933" y="132625"/>
                      <a:pt x="16976" y="134026"/>
                      <a:pt x="17022" y="135466"/>
                    </a:cubicBezTo>
                    <a:cubicBezTo>
                      <a:pt x="16971" y="137834"/>
                      <a:pt x="15011" y="139712"/>
                      <a:pt x="12643" y="139661"/>
                    </a:cubicBezTo>
                    <a:cubicBezTo>
                      <a:pt x="11608" y="139639"/>
                      <a:pt x="10617" y="139244"/>
                      <a:pt x="9851" y="138548"/>
                    </a:cubicBezTo>
                    <a:cubicBezTo>
                      <a:pt x="9080" y="137849"/>
                      <a:pt x="8614" y="136877"/>
                      <a:pt x="8551" y="135838"/>
                    </a:cubicBezTo>
                    <a:cubicBezTo>
                      <a:pt x="8509" y="134285"/>
                      <a:pt x="8467" y="132752"/>
                      <a:pt x="8467" y="131232"/>
                    </a:cubicBezTo>
                    <a:cubicBezTo>
                      <a:pt x="8532" y="68133"/>
                      <a:pt x="59668" y="16998"/>
                      <a:pt x="122767" y="16932"/>
                    </a:cubicBezTo>
                    <a:cubicBezTo>
                      <a:pt x="124037" y="16932"/>
                      <a:pt x="125341" y="16975"/>
                      <a:pt x="126877" y="17017"/>
                    </a:cubicBezTo>
                    <a:cubicBezTo>
                      <a:pt x="129248" y="17052"/>
                      <a:pt x="131198" y="15159"/>
                      <a:pt x="131233" y="12789"/>
                    </a:cubicBezTo>
                    <a:cubicBezTo>
                      <a:pt x="131233" y="12787"/>
                      <a:pt x="131233" y="12785"/>
                      <a:pt x="131233" y="12784"/>
                    </a:cubicBezTo>
                    <a:lnTo>
                      <a:pt x="131233" y="9545"/>
                    </a:lnTo>
                    <a:lnTo>
                      <a:pt x="147218" y="21191"/>
                    </a:lnTo>
                    <a:close/>
                  </a:path>
                </a:pathLst>
              </a:custGeom>
              <a:grpFill/>
              <a:ln w="4128"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26" name="Freeform: Shape 125">
                <a:extLst>
                  <a:ext uri="{FF2B5EF4-FFF2-40B4-BE49-F238E27FC236}">
                    <a16:creationId xmlns:a16="http://schemas.microsoft.com/office/drawing/2014/main" id="{29BA2095-8280-509A-B488-9AABEC26AFF4}"/>
                  </a:ext>
                </a:extLst>
              </p:cNvPr>
              <p:cNvSpPr/>
              <p:nvPr/>
            </p:nvSpPr>
            <p:spPr>
              <a:xfrm>
                <a:off x="10244908" y="646479"/>
                <a:ext cx="189790" cy="98012"/>
              </a:xfrm>
              <a:custGeom>
                <a:avLst/>
                <a:gdLst>
                  <a:gd name="csX0" fmla="*/ 118478 w 189790"/>
                  <a:gd name="csY0" fmla="*/ 98012 h 98012"/>
                  <a:gd name="csX1" fmla="*/ 179713 w 189790"/>
                  <a:gd name="csY1" fmla="*/ 81549 h 98012"/>
                  <a:gd name="csX2" fmla="*/ 183858 w 189790"/>
                  <a:gd name="csY2" fmla="*/ 79064 h 98012"/>
                  <a:gd name="csX3" fmla="*/ 187833 w 189790"/>
                  <a:gd name="csY3" fmla="*/ 61542 h 98012"/>
                  <a:gd name="csX4" fmla="*/ 170311 w 189790"/>
                  <a:gd name="csY4" fmla="*/ 57567 h 98012"/>
                  <a:gd name="csX5" fmla="*/ 166975 w 189790"/>
                  <a:gd name="csY5" fmla="*/ 59561 h 98012"/>
                  <a:gd name="csX6" fmla="*/ 33994 w 189790"/>
                  <a:gd name="csY6" fmla="*/ 23933 h 98012"/>
                  <a:gd name="csX7" fmla="*/ 35056 w 189790"/>
                  <a:gd name="csY7" fmla="*/ 23323 h 98012"/>
                  <a:gd name="csX8" fmla="*/ 38625 w 189790"/>
                  <a:gd name="csY8" fmla="*/ 16639 h 98012"/>
                  <a:gd name="csX9" fmla="*/ 34256 w 189790"/>
                  <a:gd name="csY9" fmla="*/ 10289 h 98012"/>
                  <a:gd name="csX10" fmla="*/ 12624 w 189790"/>
                  <a:gd name="csY10" fmla="*/ 637 h 98012"/>
                  <a:gd name="csX11" fmla="*/ 5990 w 189790"/>
                  <a:gd name="csY11" fmla="*/ 992 h 98012"/>
                  <a:gd name="csX12" fmla="*/ 2544 w 189790"/>
                  <a:gd name="csY12" fmla="*/ 6470 h 98012"/>
                  <a:gd name="csX13" fmla="*/ 51 w 189790"/>
                  <a:gd name="csY13" fmla="*/ 29991 h 98012"/>
                  <a:gd name="csX14" fmla="*/ 3344 w 189790"/>
                  <a:gd name="csY14" fmla="*/ 36993 h 98012"/>
                  <a:gd name="csX15" fmla="*/ 10909 w 189790"/>
                  <a:gd name="csY15" fmla="*/ 37251 h 98012"/>
                  <a:gd name="csX16" fmla="*/ 11980 w 189790"/>
                  <a:gd name="csY16" fmla="*/ 36633 h 98012"/>
                  <a:gd name="csX17" fmla="*/ 118478 w 189790"/>
                  <a:gd name="csY17" fmla="*/ 98012 h 98012"/>
                  <a:gd name="csX18" fmla="*/ 11481 w 189790"/>
                  <a:gd name="csY18" fmla="*/ 27159 h 98012"/>
                  <a:gd name="csX19" fmla="*/ 8682 w 189790"/>
                  <a:gd name="csY19" fmla="*/ 28776 h 98012"/>
                  <a:gd name="csX20" fmla="*/ 10765 w 189790"/>
                  <a:gd name="csY20" fmla="*/ 9116 h 98012"/>
                  <a:gd name="csX21" fmla="*/ 28791 w 189790"/>
                  <a:gd name="csY21" fmla="*/ 17160 h 98012"/>
                  <a:gd name="csX22" fmla="*/ 26136 w 189790"/>
                  <a:gd name="csY22" fmla="*/ 18675 h 98012"/>
                  <a:gd name="csX23" fmla="*/ 24541 w 189790"/>
                  <a:gd name="csY23" fmla="*/ 24399 h 98012"/>
                  <a:gd name="csX24" fmla="*/ 26657 w 189790"/>
                  <a:gd name="csY24" fmla="*/ 28209 h 98012"/>
                  <a:gd name="csX25" fmla="*/ 171179 w 189790"/>
                  <a:gd name="csY25" fmla="*/ 66935 h 98012"/>
                  <a:gd name="csX26" fmla="*/ 174815 w 189790"/>
                  <a:gd name="csY26" fmla="*/ 64763 h 98012"/>
                  <a:gd name="csX27" fmla="*/ 180602 w 189790"/>
                  <a:gd name="csY27" fmla="*/ 66287 h 98012"/>
                  <a:gd name="csX28" fmla="*/ 179332 w 189790"/>
                  <a:gd name="csY28" fmla="*/ 71926 h 98012"/>
                  <a:gd name="csX29" fmla="*/ 175417 w 189790"/>
                  <a:gd name="csY29" fmla="*/ 74280 h 98012"/>
                  <a:gd name="csX30" fmla="*/ 19338 w 189790"/>
                  <a:gd name="csY30" fmla="*/ 32501 h 98012"/>
                  <a:gd name="csX31" fmla="*/ 18851 w 189790"/>
                  <a:gd name="csY31" fmla="*/ 31621 h 98012"/>
                  <a:gd name="csX32" fmla="*/ 17357 w 189790"/>
                  <a:gd name="csY32" fmla="*/ 28873 h 98012"/>
                  <a:gd name="csX33" fmla="*/ 11581 w 189790"/>
                  <a:gd name="csY33" fmla="*/ 27104 h 98012"/>
                  <a:gd name="csX34" fmla="*/ 11481 w 189790"/>
                  <a:gd name="csY34" fmla="*/ 27159 h 9801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Lst>
                <a:rect l="l" t="t" r="r" b="b"/>
                <a:pathLst>
                  <a:path w="189790" h="98012">
                    <a:moveTo>
                      <a:pt x="118478" y="98012"/>
                    </a:moveTo>
                    <a:cubicBezTo>
                      <a:pt x="139983" y="98010"/>
                      <a:pt x="161107" y="92331"/>
                      <a:pt x="179713" y="81549"/>
                    </a:cubicBezTo>
                    <a:cubicBezTo>
                      <a:pt x="181102" y="80733"/>
                      <a:pt x="182483" y="79905"/>
                      <a:pt x="183858" y="79064"/>
                    </a:cubicBezTo>
                    <a:cubicBezTo>
                      <a:pt x="189794" y="75323"/>
                      <a:pt x="191574" y="67478"/>
                      <a:pt x="187833" y="61542"/>
                    </a:cubicBezTo>
                    <a:cubicBezTo>
                      <a:pt x="184092" y="55606"/>
                      <a:pt x="176247" y="53826"/>
                      <a:pt x="170311" y="57567"/>
                    </a:cubicBezTo>
                    <a:cubicBezTo>
                      <a:pt x="169215" y="58257"/>
                      <a:pt x="168127" y="58904"/>
                      <a:pt x="166975" y="59561"/>
                    </a:cubicBezTo>
                    <a:cubicBezTo>
                      <a:pt x="120409" y="86396"/>
                      <a:pt x="60907" y="70454"/>
                      <a:pt x="33994" y="23933"/>
                    </a:cubicBezTo>
                    <a:lnTo>
                      <a:pt x="35056" y="23323"/>
                    </a:lnTo>
                    <a:cubicBezTo>
                      <a:pt x="37410" y="21945"/>
                      <a:pt x="38790" y="19361"/>
                      <a:pt x="38625" y="16639"/>
                    </a:cubicBezTo>
                    <a:cubicBezTo>
                      <a:pt x="38482" y="13868"/>
                      <a:pt x="36793" y="11412"/>
                      <a:pt x="34256" y="10289"/>
                    </a:cubicBezTo>
                    <a:lnTo>
                      <a:pt x="12624" y="637"/>
                    </a:lnTo>
                    <a:cubicBezTo>
                      <a:pt x="10485" y="-324"/>
                      <a:pt x="8014" y="-191"/>
                      <a:pt x="5990" y="992"/>
                    </a:cubicBezTo>
                    <a:cubicBezTo>
                      <a:pt x="4029" y="2159"/>
                      <a:pt x="2747" y="4197"/>
                      <a:pt x="2544" y="6470"/>
                    </a:cubicBezTo>
                    <a:lnTo>
                      <a:pt x="51" y="29991"/>
                    </a:lnTo>
                    <a:cubicBezTo>
                      <a:pt x="-277" y="32762"/>
                      <a:pt x="1001" y="35478"/>
                      <a:pt x="3344" y="36993"/>
                    </a:cubicBezTo>
                    <a:cubicBezTo>
                      <a:pt x="5613" y="38505"/>
                      <a:pt x="8542" y="38605"/>
                      <a:pt x="10909" y="37251"/>
                    </a:cubicBezTo>
                    <a:lnTo>
                      <a:pt x="11980" y="36633"/>
                    </a:lnTo>
                    <a:cubicBezTo>
                      <a:pt x="33950" y="74664"/>
                      <a:pt x="74557" y="98067"/>
                      <a:pt x="118478" y="98012"/>
                    </a:cubicBezTo>
                    <a:close/>
                    <a:moveTo>
                      <a:pt x="11481" y="27159"/>
                    </a:moveTo>
                    <a:lnTo>
                      <a:pt x="8682" y="28776"/>
                    </a:lnTo>
                    <a:lnTo>
                      <a:pt x="10765" y="9116"/>
                    </a:lnTo>
                    <a:lnTo>
                      <a:pt x="28791" y="17160"/>
                    </a:lnTo>
                    <a:lnTo>
                      <a:pt x="26136" y="18675"/>
                    </a:lnTo>
                    <a:cubicBezTo>
                      <a:pt x="24130" y="19826"/>
                      <a:pt x="23419" y="22375"/>
                      <a:pt x="24541" y="24399"/>
                    </a:cubicBezTo>
                    <a:cubicBezTo>
                      <a:pt x="24541" y="24399"/>
                      <a:pt x="26120" y="27273"/>
                      <a:pt x="26657" y="28209"/>
                    </a:cubicBezTo>
                    <a:cubicBezTo>
                      <a:pt x="55908" y="78764"/>
                      <a:pt x="120569" y="96091"/>
                      <a:pt x="171179" y="66935"/>
                    </a:cubicBezTo>
                    <a:cubicBezTo>
                      <a:pt x="172419" y="66228"/>
                      <a:pt x="173609" y="65521"/>
                      <a:pt x="174815" y="64763"/>
                    </a:cubicBezTo>
                    <a:cubicBezTo>
                      <a:pt x="176834" y="63587"/>
                      <a:pt x="179425" y="64269"/>
                      <a:pt x="180602" y="66287"/>
                    </a:cubicBezTo>
                    <a:cubicBezTo>
                      <a:pt x="181691" y="68214"/>
                      <a:pt x="181142" y="70652"/>
                      <a:pt x="179332" y="71926"/>
                    </a:cubicBezTo>
                    <a:cubicBezTo>
                      <a:pt x="178062" y="72773"/>
                      <a:pt x="176733" y="73518"/>
                      <a:pt x="175417" y="74280"/>
                    </a:cubicBezTo>
                    <a:cubicBezTo>
                      <a:pt x="120767" y="105743"/>
                      <a:pt x="50962" y="87058"/>
                      <a:pt x="19338" y="32501"/>
                    </a:cubicBezTo>
                    <a:lnTo>
                      <a:pt x="18851" y="31621"/>
                    </a:lnTo>
                    <a:cubicBezTo>
                      <a:pt x="18343" y="30702"/>
                      <a:pt x="17826" y="29775"/>
                      <a:pt x="17357" y="28873"/>
                    </a:cubicBezTo>
                    <a:cubicBezTo>
                      <a:pt x="16250" y="26790"/>
                      <a:pt x="13664" y="25998"/>
                      <a:pt x="11581" y="27104"/>
                    </a:cubicBezTo>
                    <a:cubicBezTo>
                      <a:pt x="11547" y="27122"/>
                      <a:pt x="11514" y="27140"/>
                      <a:pt x="11481" y="27159"/>
                    </a:cubicBezTo>
                    <a:close/>
                  </a:path>
                </a:pathLst>
              </a:custGeom>
              <a:grpFill/>
              <a:ln w="4128"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27" name="Group 126">
            <a:extLst>
              <a:ext uri="{FF2B5EF4-FFF2-40B4-BE49-F238E27FC236}">
                <a16:creationId xmlns:a16="http://schemas.microsoft.com/office/drawing/2014/main" id="{CECF41C1-2DC6-3714-0C0E-38625C0557F1}"/>
              </a:ext>
            </a:extLst>
          </p:cNvPr>
          <p:cNvGrpSpPr/>
          <p:nvPr/>
        </p:nvGrpSpPr>
        <p:grpSpPr>
          <a:xfrm>
            <a:off x="7936609" y="2889144"/>
            <a:ext cx="457200" cy="457200"/>
            <a:chOff x="7936609" y="3156397"/>
            <a:chExt cx="457200" cy="457200"/>
          </a:xfrm>
        </p:grpSpPr>
        <p:sp>
          <p:nvSpPr>
            <p:cNvPr id="128" name="Oval 127">
              <a:extLst>
                <a:ext uri="{FF2B5EF4-FFF2-40B4-BE49-F238E27FC236}">
                  <a16:creationId xmlns:a16="http://schemas.microsoft.com/office/drawing/2014/main" id="{F519DF46-7BBF-DCB6-6E56-5ADBFBB17A2E}"/>
                </a:ext>
              </a:extLst>
            </p:cNvPr>
            <p:cNvSpPr>
              <a:spLocks noChangeAspect="1"/>
            </p:cNvSpPr>
            <p:nvPr/>
          </p:nvSpPr>
          <p:spPr>
            <a:xfrm>
              <a:off x="7936609" y="3156397"/>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grpSp>
          <p:nvGrpSpPr>
            <p:cNvPr id="129" name="Pic">
              <a:extLst>
                <a:ext uri="{FF2B5EF4-FFF2-40B4-BE49-F238E27FC236}">
                  <a16:creationId xmlns:a16="http://schemas.microsoft.com/office/drawing/2014/main" id="{50658C93-6D8B-B068-33E1-A91D2084F038}"/>
                </a:ext>
              </a:extLst>
            </p:cNvPr>
            <p:cNvGrpSpPr>
              <a:grpSpLocks noChangeAspect="1"/>
            </p:cNvGrpSpPr>
            <p:nvPr/>
          </p:nvGrpSpPr>
          <p:grpSpPr>
            <a:xfrm>
              <a:off x="8038323" y="3257946"/>
              <a:ext cx="253773" cy="254102"/>
              <a:chOff x="10236364" y="846138"/>
              <a:chExt cx="253773" cy="254102"/>
            </a:xfrm>
            <a:solidFill>
              <a:schemeClr val="bg1"/>
            </a:solidFill>
          </p:grpSpPr>
          <p:sp>
            <p:nvSpPr>
              <p:cNvPr id="130" name="Freeform: Shape 129">
                <a:extLst>
                  <a:ext uri="{FF2B5EF4-FFF2-40B4-BE49-F238E27FC236}">
                    <a16:creationId xmlns:a16="http://schemas.microsoft.com/office/drawing/2014/main" id="{31B5003B-2D7B-71AF-4E1B-5CD4B69D796F}"/>
                  </a:ext>
                </a:extLst>
              </p:cNvPr>
              <p:cNvSpPr/>
              <p:nvPr/>
            </p:nvSpPr>
            <p:spPr>
              <a:xfrm>
                <a:off x="10308609" y="923843"/>
                <a:ext cx="66955" cy="69649"/>
              </a:xfrm>
              <a:custGeom>
                <a:avLst/>
                <a:gdLst>
                  <a:gd name="csX0" fmla="*/ 0 w 66955"/>
                  <a:gd name="csY0" fmla="*/ 56951 h 69649"/>
                  <a:gd name="csX1" fmla="*/ 3848 w 66955"/>
                  <a:gd name="csY1" fmla="*/ 60799 h 69649"/>
                  <a:gd name="csX2" fmla="*/ 43098 w 66955"/>
                  <a:gd name="csY2" fmla="*/ 61183 h 69649"/>
                  <a:gd name="csX3" fmla="*/ 54642 w 66955"/>
                  <a:gd name="csY3" fmla="*/ 69649 h 69649"/>
                  <a:gd name="csX4" fmla="*/ 66955 w 66955"/>
                  <a:gd name="csY4" fmla="*/ 57336 h 69649"/>
                  <a:gd name="csX5" fmla="*/ 58490 w 66955"/>
                  <a:gd name="csY5" fmla="*/ 45792 h 69649"/>
                  <a:gd name="csX6" fmla="*/ 58490 w 66955"/>
                  <a:gd name="csY6" fmla="*/ 3848 h 69649"/>
                  <a:gd name="csX7" fmla="*/ 54642 w 66955"/>
                  <a:gd name="csY7" fmla="*/ 0 h 69649"/>
                  <a:gd name="csX8" fmla="*/ 50794 w 66955"/>
                  <a:gd name="csY8" fmla="*/ 3848 h 69649"/>
                  <a:gd name="csX9" fmla="*/ 50794 w 66955"/>
                  <a:gd name="csY9" fmla="*/ 45792 h 69649"/>
                  <a:gd name="csX10" fmla="*/ 43098 w 66955"/>
                  <a:gd name="csY10" fmla="*/ 53488 h 69649"/>
                  <a:gd name="csX11" fmla="*/ 3848 w 66955"/>
                  <a:gd name="csY11" fmla="*/ 53103 h 69649"/>
                  <a:gd name="csX12" fmla="*/ 0 w 66955"/>
                  <a:gd name="csY12" fmla="*/ 56951 h 69649"/>
                  <a:gd name="csX13" fmla="*/ 54642 w 66955"/>
                  <a:gd name="csY13" fmla="*/ 52718 h 69649"/>
                  <a:gd name="csX14" fmla="*/ 59260 w 66955"/>
                  <a:gd name="csY14" fmla="*/ 57336 h 69649"/>
                  <a:gd name="csX15" fmla="*/ 54642 w 66955"/>
                  <a:gd name="csY15" fmla="*/ 61953 h 69649"/>
                  <a:gd name="csX16" fmla="*/ 50025 w 66955"/>
                  <a:gd name="csY16" fmla="*/ 57336 h 69649"/>
                  <a:gd name="csX17" fmla="*/ 54642 w 66955"/>
                  <a:gd name="csY17" fmla="*/ 52718 h 6964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66955" h="69649">
                    <a:moveTo>
                      <a:pt x="0" y="56951"/>
                    </a:moveTo>
                    <a:cubicBezTo>
                      <a:pt x="0" y="59260"/>
                      <a:pt x="1539" y="60799"/>
                      <a:pt x="3848" y="60799"/>
                    </a:cubicBezTo>
                    <a:lnTo>
                      <a:pt x="43098" y="61183"/>
                    </a:lnTo>
                    <a:cubicBezTo>
                      <a:pt x="44637" y="66186"/>
                      <a:pt x="49255" y="69649"/>
                      <a:pt x="54642" y="69649"/>
                    </a:cubicBezTo>
                    <a:cubicBezTo>
                      <a:pt x="61568" y="69649"/>
                      <a:pt x="66955" y="64262"/>
                      <a:pt x="66955" y="57336"/>
                    </a:cubicBezTo>
                    <a:cubicBezTo>
                      <a:pt x="66955" y="51948"/>
                      <a:pt x="63492" y="47331"/>
                      <a:pt x="58490" y="45792"/>
                    </a:cubicBezTo>
                    <a:lnTo>
                      <a:pt x="58490" y="3848"/>
                    </a:lnTo>
                    <a:cubicBezTo>
                      <a:pt x="58490" y="1539"/>
                      <a:pt x="56950" y="0"/>
                      <a:pt x="54642" y="0"/>
                    </a:cubicBezTo>
                    <a:cubicBezTo>
                      <a:pt x="52333" y="0"/>
                      <a:pt x="50794" y="1924"/>
                      <a:pt x="50794" y="3848"/>
                    </a:cubicBezTo>
                    <a:lnTo>
                      <a:pt x="50794" y="45792"/>
                    </a:lnTo>
                    <a:cubicBezTo>
                      <a:pt x="46946" y="46946"/>
                      <a:pt x="44252" y="50024"/>
                      <a:pt x="43098" y="53488"/>
                    </a:cubicBezTo>
                    <a:lnTo>
                      <a:pt x="3848" y="53103"/>
                    </a:lnTo>
                    <a:cubicBezTo>
                      <a:pt x="1924" y="53103"/>
                      <a:pt x="0" y="54642"/>
                      <a:pt x="0" y="56951"/>
                    </a:cubicBezTo>
                    <a:close/>
                    <a:moveTo>
                      <a:pt x="54642" y="52718"/>
                    </a:moveTo>
                    <a:cubicBezTo>
                      <a:pt x="57336" y="52718"/>
                      <a:pt x="59260" y="54642"/>
                      <a:pt x="59260" y="57336"/>
                    </a:cubicBezTo>
                    <a:cubicBezTo>
                      <a:pt x="59260" y="60029"/>
                      <a:pt x="57336" y="61953"/>
                      <a:pt x="54642" y="61953"/>
                    </a:cubicBezTo>
                    <a:cubicBezTo>
                      <a:pt x="51949" y="61953"/>
                      <a:pt x="50025" y="60029"/>
                      <a:pt x="50025" y="57336"/>
                    </a:cubicBezTo>
                    <a:cubicBezTo>
                      <a:pt x="50024" y="54642"/>
                      <a:pt x="52333" y="52718"/>
                      <a:pt x="54642" y="52718"/>
                    </a:cubicBezTo>
                    <a:close/>
                  </a:path>
                </a:pathLst>
              </a:custGeom>
              <a:grpFill/>
              <a:ln w="498"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1" name="Freeform: Shape 130">
                <a:extLst>
                  <a:ext uri="{FF2B5EF4-FFF2-40B4-BE49-F238E27FC236}">
                    <a16:creationId xmlns:a16="http://schemas.microsoft.com/office/drawing/2014/main" id="{8315C88F-9AA2-95FD-6EDB-B83964DBE642}"/>
                  </a:ext>
                </a:extLst>
              </p:cNvPr>
              <p:cNvSpPr/>
              <p:nvPr/>
            </p:nvSpPr>
            <p:spPr>
              <a:xfrm>
                <a:off x="10282442" y="884594"/>
                <a:ext cx="161617" cy="177008"/>
              </a:xfrm>
              <a:custGeom>
                <a:avLst/>
                <a:gdLst>
                  <a:gd name="csX0" fmla="*/ 64262 w 161617"/>
                  <a:gd name="csY0" fmla="*/ 3847 h 177008"/>
                  <a:gd name="csX1" fmla="*/ 68110 w 161617"/>
                  <a:gd name="csY1" fmla="*/ 7695 h 177008"/>
                  <a:gd name="csX2" fmla="*/ 76960 w 161617"/>
                  <a:gd name="csY2" fmla="*/ 7695 h 177008"/>
                  <a:gd name="csX3" fmla="*/ 76960 w 161617"/>
                  <a:gd name="csY3" fmla="*/ 15776 h 177008"/>
                  <a:gd name="csX4" fmla="*/ 0 w 161617"/>
                  <a:gd name="csY4" fmla="*/ 96200 h 177008"/>
                  <a:gd name="csX5" fmla="*/ 80809 w 161617"/>
                  <a:gd name="csY5" fmla="*/ 177009 h 177008"/>
                  <a:gd name="csX6" fmla="*/ 161618 w 161617"/>
                  <a:gd name="csY6" fmla="*/ 96200 h 177008"/>
                  <a:gd name="csX7" fmla="*/ 140068 w 161617"/>
                  <a:gd name="csY7" fmla="*/ 41558 h 177008"/>
                  <a:gd name="csX8" fmla="*/ 143531 w 161617"/>
                  <a:gd name="csY8" fmla="*/ 38095 h 177008"/>
                  <a:gd name="csX9" fmla="*/ 145840 w 161617"/>
                  <a:gd name="csY9" fmla="*/ 40404 h 177008"/>
                  <a:gd name="csX10" fmla="*/ 148534 w 161617"/>
                  <a:gd name="csY10" fmla="*/ 41558 h 177008"/>
                  <a:gd name="csX11" fmla="*/ 151228 w 161617"/>
                  <a:gd name="csY11" fmla="*/ 40404 h 177008"/>
                  <a:gd name="csX12" fmla="*/ 151228 w 161617"/>
                  <a:gd name="csY12" fmla="*/ 35017 h 177008"/>
                  <a:gd name="csX13" fmla="*/ 141608 w 161617"/>
                  <a:gd name="csY13" fmla="*/ 25012 h 177008"/>
                  <a:gd name="csX14" fmla="*/ 136221 w 161617"/>
                  <a:gd name="csY14" fmla="*/ 25012 h 177008"/>
                  <a:gd name="csX15" fmla="*/ 136221 w 161617"/>
                  <a:gd name="csY15" fmla="*/ 30399 h 177008"/>
                  <a:gd name="csX16" fmla="*/ 138530 w 161617"/>
                  <a:gd name="csY16" fmla="*/ 32708 h 177008"/>
                  <a:gd name="csX17" fmla="*/ 134682 w 161617"/>
                  <a:gd name="csY17" fmla="*/ 36171 h 177008"/>
                  <a:gd name="csX18" fmla="*/ 84658 w 161617"/>
                  <a:gd name="csY18" fmla="*/ 15777 h 177008"/>
                  <a:gd name="csX19" fmla="*/ 84658 w 161617"/>
                  <a:gd name="csY19" fmla="*/ 7696 h 177008"/>
                  <a:gd name="csX20" fmla="*/ 93508 w 161617"/>
                  <a:gd name="csY20" fmla="*/ 7696 h 177008"/>
                  <a:gd name="csX21" fmla="*/ 97356 w 161617"/>
                  <a:gd name="csY21" fmla="*/ 3848 h 177008"/>
                  <a:gd name="csX22" fmla="*/ 93508 w 161617"/>
                  <a:gd name="csY22" fmla="*/ 0 h 177008"/>
                  <a:gd name="csX23" fmla="*/ 67727 w 161617"/>
                  <a:gd name="csY23" fmla="*/ 0 h 177008"/>
                  <a:gd name="csX24" fmla="*/ 64262 w 161617"/>
                  <a:gd name="csY24" fmla="*/ 3847 h 177008"/>
                  <a:gd name="csX25" fmla="*/ 153921 w 161617"/>
                  <a:gd name="csY25" fmla="*/ 96200 h 177008"/>
                  <a:gd name="csX26" fmla="*/ 80809 w 161617"/>
                  <a:gd name="csY26" fmla="*/ 169313 h 177008"/>
                  <a:gd name="csX27" fmla="*/ 7696 w 161617"/>
                  <a:gd name="csY27" fmla="*/ 96200 h 177008"/>
                  <a:gd name="csX28" fmla="*/ 80809 w 161617"/>
                  <a:gd name="csY28" fmla="*/ 23087 h 177008"/>
                  <a:gd name="csX29" fmla="*/ 153921 w 161617"/>
                  <a:gd name="csY29" fmla="*/ 96200 h 17700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161617" h="177008">
                    <a:moveTo>
                      <a:pt x="64262" y="3847"/>
                    </a:moveTo>
                    <a:cubicBezTo>
                      <a:pt x="64262" y="6156"/>
                      <a:pt x="65801" y="7695"/>
                      <a:pt x="68110" y="7695"/>
                    </a:cubicBezTo>
                    <a:lnTo>
                      <a:pt x="76960" y="7695"/>
                    </a:lnTo>
                    <a:lnTo>
                      <a:pt x="76960" y="15776"/>
                    </a:lnTo>
                    <a:cubicBezTo>
                      <a:pt x="34248" y="17700"/>
                      <a:pt x="0" y="53102"/>
                      <a:pt x="0" y="96200"/>
                    </a:cubicBezTo>
                    <a:cubicBezTo>
                      <a:pt x="0" y="140837"/>
                      <a:pt x="36171" y="177009"/>
                      <a:pt x="80809" y="177009"/>
                    </a:cubicBezTo>
                    <a:cubicBezTo>
                      <a:pt x="125446" y="177009"/>
                      <a:pt x="161618" y="140838"/>
                      <a:pt x="161618" y="96200"/>
                    </a:cubicBezTo>
                    <a:cubicBezTo>
                      <a:pt x="161618" y="75036"/>
                      <a:pt x="153537" y="55796"/>
                      <a:pt x="140068" y="41558"/>
                    </a:cubicBezTo>
                    <a:lnTo>
                      <a:pt x="143531" y="38095"/>
                    </a:lnTo>
                    <a:lnTo>
                      <a:pt x="145840" y="40404"/>
                    </a:lnTo>
                    <a:cubicBezTo>
                      <a:pt x="146610" y="41174"/>
                      <a:pt x="147765" y="41558"/>
                      <a:pt x="148534" y="41558"/>
                    </a:cubicBezTo>
                    <a:cubicBezTo>
                      <a:pt x="149689" y="41558"/>
                      <a:pt x="150458" y="41174"/>
                      <a:pt x="151228" y="40404"/>
                    </a:cubicBezTo>
                    <a:cubicBezTo>
                      <a:pt x="152767" y="38865"/>
                      <a:pt x="152767" y="36556"/>
                      <a:pt x="151228" y="35017"/>
                    </a:cubicBezTo>
                    <a:lnTo>
                      <a:pt x="141608" y="25012"/>
                    </a:lnTo>
                    <a:cubicBezTo>
                      <a:pt x="140068" y="23473"/>
                      <a:pt x="137760" y="23473"/>
                      <a:pt x="136221" y="25012"/>
                    </a:cubicBezTo>
                    <a:cubicBezTo>
                      <a:pt x="134681" y="26551"/>
                      <a:pt x="134681" y="28860"/>
                      <a:pt x="136221" y="30399"/>
                    </a:cubicBezTo>
                    <a:lnTo>
                      <a:pt x="138530" y="32708"/>
                    </a:lnTo>
                    <a:lnTo>
                      <a:pt x="134682" y="36171"/>
                    </a:lnTo>
                    <a:cubicBezTo>
                      <a:pt x="121214" y="24242"/>
                      <a:pt x="103898" y="16546"/>
                      <a:pt x="84658" y="15777"/>
                    </a:cubicBezTo>
                    <a:lnTo>
                      <a:pt x="84658" y="7696"/>
                    </a:lnTo>
                    <a:lnTo>
                      <a:pt x="93508" y="7696"/>
                    </a:lnTo>
                    <a:cubicBezTo>
                      <a:pt x="95817" y="7696"/>
                      <a:pt x="97356" y="6156"/>
                      <a:pt x="97356" y="3848"/>
                    </a:cubicBezTo>
                    <a:cubicBezTo>
                      <a:pt x="97356" y="1539"/>
                      <a:pt x="95817" y="0"/>
                      <a:pt x="93508" y="0"/>
                    </a:cubicBezTo>
                    <a:lnTo>
                      <a:pt x="67727" y="0"/>
                    </a:lnTo>
                    <a:cubicBezTo>
                      <a:pt x="65801" y="-1"/>
                      <a:pt x="64262" y="1539"/>
                      <a:pt x="64262" y="3847"/>
                    </a:cubicBezTo>
                    <a:close/>
                    <a:moveTo>
                      <a:pt x="153921" y="96200"/>
                    </a:moveTo>
                    <a:cubicBezTo>
                      <a:pt x="153921" y="136604"/>
                      <a:pt x="121213" y="169313"/>
                      <a:pt x="80809" y="169313"/>
                    </a:cubicBezTo>
                    <a:cubicBezTo>
                      <a:pt x="40404" y="169313"/>
                      <a:pt x="7696" y="136604"/>
                      <a:pt x="7696" y="96200"/>
                    </a:cubicBezTo>
                    <a:cubicBezTo>
                      <a:pt x="7696" y="55796"/>
                      <a:pt x="40404" y="23087"/>
                      <a:pt x="80809" y="23087"/>
                    </a:cubicBezTo>
                    <a:cubicBezTo>
                      <a:pt x="121213" y="23087"/>
                      <a:pt x="153921" y="55796"/>
                      <a:pt x="153921" y="96200"/>
                    </a:cubicBezTo>
                    <a:close/>
                  </a:path>
                </a:pathLst>
              </a:custGeom>
              <a:grpFill/>
              <a:ln w="498"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2" name="Freeform: Shape 131">
                <a:extLst>
                  <a:ext uri="{FF2B5EF4-FFF2-40B4-BE49-F238E27FC236}">
                    <a16:creationId xmlns:a16="http://schemas.microsoft.com/office/drawing/2014/main" id="{AA57C7A1-1074-B02E-80A7-E2EF2ABC1972}"/>
                  </a:ext>
                </a:extLst>
              </p:cNvPr>
              <p:cNvSpPr/>
              <p:nvPr/>
            </p:nvSpPr>
            <p:spPr>
              <a:xfrm>
                <a:off x="10359248" y="846138"/>
                <a:ext cx="117578" cy="115031"/>
              </a:xfrm>
              <a:custGeom>
                <a:avLst/>
                <a:gdLst>
                  <a:gd name="csX0" fmla="*/ 15932 w 117578"/>
                  <a:gd name="csY0" fmla="*/ 33068 h 115031"/>
                  <a:gd name="csX1" fmla="*/ 21319 w 117578"/>
                  <a:gd name="csY1" fmla="*/ 33068 h 115031"/>
                  <a:gd name="csX2" fmla="*/ 21319 w 117578"/>
                  <a:gd name="csY2" fmla="*/ 27681 h 115031"/>
                  <a:gd name="csX3" fmla="*/ 13238 w 117578"/>
                  <a:gd name="csY3" fmla="*/ 19600 h 115031"/>
                  <a:gd name="csX4" fmla="*/ 110209 w 117578"/>
                  <a:gd name="csY4" fmla="*/ 111568 h 115031"/>
                  <a:gd name="csX5" fmla="*/ 114056 w 117578"/>
                  <a:gd name="csY5" fmla="*/ 115031 h 115031"/>
                  <a:gd name="csX6" fmla="*/ 114441 w 117578"/>
                  <a:gd name="csY6" fmla="*/ 115031 h 115031"/>
                  <a:gd name="csX7" fmla="*/ 117519 w 117578"/>
                  <a:gd name="csY7" fmla="*/ 110799 h 115031"/>
                  <a:gd name="csX8" fmla="*/ 17086 w 117578"/>
                  <a:gd name="csY8" fmla="*/ 12674 h 115031"/>
                  <a:gd name="csX9" fmla="*/ 26705 w 117578"/>
                  <a:gd name="csY9" fmla="*/ 7672 h 115031"/>
                  <a:gd name="csX10" fmla="*/ 28245 w 117578"/>
                  <a:gd name="csY10" fmla="*/ 2284 h 115031"/>
                  <a:gd name="csX11" fmla="*/ 23242 w 117578"/>
                  <a:gd name="csY11" fmla="*/ 360 h 115031"/>
                  <a:gd name="csX12" fmla="*/ 2078 w 117578"/>
                  <a:gd name="csY12" fmla="*/ 11904 h 115031"/>
                  <a:gd name="csX13" fmla="*/ 924 w 117578"/>
                  <a:gd name="csY13" fmla="*/ 18061 h 115031"/>
                  <a:gd name="csX14" fmla="*/ 15932 w 117578"/>
                  <a:gd name="csY14" fmla="*/ 33068 h 11503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Lst>
                <a:rect l="l" t="t" r="r" b="b"/>
                <a:pathLst>
                  <a:path w="117578" h="115031">
                    <a:moveTo>
                      <a:pt x="15932" y="33068"/>
                    </a:moveTo>
                    <a:cubicBezTo>
                      <a:pt x="17471" y="34608"/>
                      <a:pt x="19780" y="34608"/>
                      <a:pt x="21319" y="33068"/>
                    </a:cubicBezTo>
                    <a:cubicBezTo>
                      <a:pt x="22859" y="31529"/>
                      <a:pt x="22859" y="29221"/>
                      <a:pt x="21319" y="27681"/>
                    </a:cubicBezTo>
                    <a:lnTo>
                      <a:pt x="13238" y="19600"/>
                    </a:lnTo>
                    <a:cubicBezTo>
                      <a:pt x="62493" y="24218"/>
                      <a:pt x="103282" y="62313"/>
                      <a:pt x="110209" y="111568"/>
                    </a:cubicBezTo>
                    <a:cubicBezTo>
                      <a:pt x="110593" y="113492"/>
                      <a:pt x="112133" y="115031"/>
                      <a:pt x="114056" y="115031"/>
                    </a:cubicBezTo>
                    <a:lnTo>
                      <a:pt x="114441" y="115031"/>
                    </a:lnTo>
                    <a:cubicBezTo>
                      <a:pt x="116365" y="114646"/>
                      <a:pt x="117904" y="112722"/>
                      <a:pt x="117519" y="110799"/>
                    </a:cubicBezTo>
                    <a:cubicBezTo>
                      <a:pt x="110208" y="58850"/>
                      <a:pt x="68265" y="18446"/>
                      <a:pt x="17086" y="12674"/>
                    </a:cubicBezTo>
                    <a:lnTo>
                      <a:pt x="26705" y="7672"/>
                    </a:lnTo>
                    <a:cubicBezTo>
                      <a:pt x="28630" y="6517"/>
                      <a:pt x="29399" y="4209"/>
                      <a:pt x="28245" y="2284"/>
                    </a:cubicBezTo>
                    <a:cubicBezTo>
                      <a:pt x="27475" y="-25"/>
                      <a:pt x="25167" y="-409"/>
                      <a:pt x="23242" y="360"/>
                    </a:cubicBezTo>
                    <a:lnTo>
                      <a:pt x="2078" y="11904"/>
                    </a:lnTo>
                    <a:cubicBezTo>
                      <a:pt x="-231" y="13444"/>
                      <a:pt x="-616" y="16522"/>
                      <a:pt x="924" y="18061"/>
                    </a:cubicBezTo>
                    <a:lnTo>
                      <a:pt x="15932" y="33068"/>
                    </a:lnTo>
                    <a:close/>
                  </a:path>
                </a:pathLst>
              </a:custGeom>
              <a:grpFill/>
              <a:ln w="498"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3" name="Freeform: Shape 132">
                <a:extLst>
                  <a:ext uri="{FF2B5EF4-FFF2-40B4-BE49-F238E27FC236}">
                    <a16:creationId xmlns:a16="http://schemas.microsoft.com/office/drawing/2014/main" id="{735193A6-9458-43C4-829C-435AB2AC1F99}"/>
                  </a:ext>
                </a:extLst>
              </p:cNvPr>
              <p:cNvSpPr/>
              <p:nvPr/>
            </p:nvSpPr>
            <p:spPr>
              <a:xfrm>
                <a:off x="10374410" y="969139"/>
                <a:ext cx="115727" cy="118629"/>
              </a:xfrm>
              <a:custGeom>
                <a:avLst/>
                <a:gdLst>
                  <a:gd name="csX0" fmla="*/ 115056 w 115727"/>
                  <a:gd name="csY0" fmla="*/ 18581 h 118629"/>
                  <a:gd name="csX1" fmla="*/ 103127 w 115727"/>
                  <a:gd name="csY1" fmla="*/ 1650 h 118629"/>
                  <a:gd name="csX2" fmla="*/ 97355 w 115727"/>
                  <a:gd name="csY2" fmla="*/ 1265 h 118629"/>
                  <a:gd name="csX3" fmla="*/ 82348 w 115727"/>
                  <a:gd name="csY3" fmla="*/ 16273 h 118629"/>
                  <a:gd name="csX4" fmla="*/ 82348 w 115727"/>
                  <a:gd name="csY4" fmla="*/ 21660 h 118629"/>
                  <a:gd name="csX5" fmla="*/ 87735 w 115727"/>
                  <a:gd name="csY5" fmla="*/ 21660 h 118629"/>
                  <a:gd name="csX6" fmla="*/ 95816 w 115727"/>
                  <a:gd name="csY6" fmla="*/ 13579 h 118629"/>
                  <a:gd name="csX7" fmla="*/ 3463 w 115727"/>
                  <a:gd name="csY7" fmla="*/ 110934 h 118629"/>
                  <a:gd name="csX8" fmla="*/ 0 w 115727"/>
                  <a:gd name="csY8" fmla="*/ 115166 h 118629"/>
                  <a:gd name="csX9" fmla="*/ 4233 w 115727"/>
                  <a:gd name="csY9" fmla="*/ 118629 h 118629"/>
                  <a:gd name="csX10" fmla="*/ 103127 w 115727"/>
                  <a:gd name="csY10" fmla="*/ 15117 h 118629"/>
                  <a:gd name="csX11" fmla="*/ 108899 w 115727"/>
                  <a:gd name="csY11" fmla="*/ 22814 h 118629"/>
                  <a:gd name="csX12" fmla="*/ 114286 w 115727"/>
                  <a:gd name="csY12" fmla="*/ 23583 h 118629"/>
                  <a:gd name="csX13" fmla="*/ 115056 w 115727"/>
                  <a:gd name="csY13" fmla="*/ 18581 h 11862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115727" h="118629">
                    <a:moveTo>
                      <a:pt x="115056" y="18581"/>
                    </a:moveTo>
                    <a:lnTo>
                      <a:pt x="103127" y="1650"/>
                    </a:lnTo>
                    <a:cubicBezTo>
                      <a:pt x="101588" y="-274"/>
                      <a:pt x="98894" y="-659"/>
                      <a:pt x="97355" y="1265"/>
                    </a:cubicBezTo>
                    <a:lnTo>
                      <a:pt x="82348" y="16273"/>
                    </a:lnTo>
                    <a:cubicBezTo>
                      <a:pt x="80808" y="17812"/>
                      <a:pt x="80808" y="20120"/>
                      <a:pt x="82348" y="21660"/>
                    </a:cubicBezTo>
                    <a:cubicBezTo>
                      <a:pt x="83887" y="23199"/>
                      <a:pt x="86195" y="23199"/>
                      <a:pt x="87735" y="21660"/>
                    </a:cubicBezTo>
                    <a:lnTo>
                      <a:pt x="95816" y="13579"/>
                    </a:lnTo>
                    <a:cubicBezTo>
                      <a:pt x="91198" y="63218"/>
                      <a:pt x="53103" y="104007"/>
                      <a:pt x="3463" y="110934"/>
                    </a:cubicBezTo>
                    <a:cubicBezTo>
                      <a:pt x="1539" y="111319"/>
                      <a:pt x="0" y="113243"/>
                      <a:pt x="0" y="115166"/>
                    </a:cubicBezTo>
                    <a:cubicBezTo>
                      <a:pt x="385" y="117475"/>
                      <a:pt x="2309" y="118629"/>
                      <a:pt x="4233" y="118629"/>
                    </a:cubicBezTo>
                    <a:cubicBezTo>
                      <a:pt x="57336" y="111318"/>
                      <a:pt x="98125" y="67836"/>
                      <a:pt x="103127" y="15117"/>
                    </a:cubicBezTo>
                    <a:lnTo>
                      <a:pt x="108899" y="22814"/>
                    </a:lnTo>
                    <a:cubicBezTo>
                      <a:pt x="110054" y="24353"/>
                      <a:pt x="112747" y="24738"/>
                      <a:pt x="114286" y="23583"/>
                    </a:cubicBezTo>
                    <a:cubicBezTo>
                      <a:pt x="115826" y="22814"/>
                      <a:pt x="116210" y="20505"/>
                      <a:pt x="115056" y="18581"/>
                    </a:cubicBezTo>
                    <a:close/>
                  </a:path>
                </a:pathLst>
              </a:custGeom>
              <a:grpFill/>
              <a:ln w="498"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4" name="Freeform: Shape 133">
                <a:extLst>
                  <a:ext uri="{FF2B5EF4-FFF2-40B4-BE49-F238E27FC236}">
                    <a16:creationId xmlns:a16="http://schemas.microsoft.com/office/drawing/2014/main" id="{EE10AA45-0795-82B0-554F-7D50212B9F41}"/>
                  </a:ext>
                </a:extLst>
              </p:cNvPr>
              <p:cNvSpPr/>
              <p:nvPr/>
            </p:nvSpPr>
            <p:spPr>
              <a:xfrm>
                <a:off x="10249675" y="986507"/>
                <a:ext cx="117342" cy="113733"/>
              </a:xfrm>
              <a:custGeom>
                <a:avLst/>
                <a:gdLst>
                  <a:gd name="csX0" fmla="*/ 99338 w 117342"/>
                  <a:gd name="csY0" fmla="*/ 78943 h 113733"/>
                  <a:gd name="csX1" fmla="*/ 93951 w 117342"/>
                  <a:gd name="csY1" fmla="*/ 78943 h 113733"/>
                  <a:gd name="csX2" fmla="*/ 93951 w 117342"/>
                  <a:gd name="csY2" fmla="*/ 84331 h 113733"/>
                  <a:gd name="csX3" fmla="*/ 103571 w 117342"/>
                  <a:gd name="csY3" fmla="*/ 93951 h 113733"/>
                  <a:gd name="csX4" fmla="*/ 7371 w 117342"/>
                  <a:gd name="csY4" fmla="*/ 3138 h 113733"/>
                  <a:gd name="csX5" fmla="*/ 3138 w 117342"/>
                  <a:gd name="csY5" fmla="*/ 59 h 113733"/>
                  <a:gd name="csX6" fmla="*/ 59 w 117342"/>
                  <a:gd name="csY6" fmla="*/ 4292 h 113733"/>
                  <a:gd name="csX7" fmla="*/ 99338 w 117342"/>
                  <a:gd name="csY7" fmla="*/ 101647 h 113733"/>
                  <a:gd name="csX8" fmla="*/ 89718 w 117342"/>
                  <a:gd name="csY8" fmla="*/ 106649 h 113733"/>
                  <a:gd name="csX9" fmla="*/ 88179 w 117342"/>
                  <a:gd name="csY9" fmla="*/ 111652 h 113733"/>
                  <a:gd name="csX10" fmla="*/ 93181 w 117342"/>
                  <a:gd name="csY10" fmla="*/ 113191 h 113733"/>
                  <a:gd name="csX11" fmla="*/ 115500 w 117342"/>
                  <a:gd name="csY11" fmla="*/ 102032 h 113733"/>
                  <a:gd name="csX12" fmla="*/ 116270 w 117342"/>
                  <a:gd name="csY12" fmla="*/ 95875 h 113733"/>
                  <a:gd name="csX13" fmla="*/ 99338 w 117342"/>
                  <a:gd name="csY13" fmla="*/ 78943 h 11373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117342" h="113733">
                    <a:moveTo>
                      <a:pt x="99338" y="78943"/>
                    </a:moveTo>
                    <a:cubicBezTo>
                      <a:pt x="97799" y="77404"/>
                      <a:pt x="95490" y="77404"/>
                      <a:pt x="93951" y="78943"/>
                    </a:cubicBezTo>
                    <a:cubicBezTo>
                      <a:pt x="92411" y="80483"/>
                      <a:pt x="92411" y="82791"/>
                      <a:pt x="93951" y="84331"/>
                    </a:cubicBezTo>
                    <a:lnTo>
                      <a:pt x="103571" y="93951"/>
                    </a:lnTo>
                    <a:cubicBezTo>
                      <a:pt x="55086" y="89718"/>
                      <a:pt x="14682" y="52007"/>
                      <a:pt x="7371" y="3138"/>
                    </a:cubicBezTo>
                    <a:cubicBezTo>
                      <a:pt x="6986" y="1213"/>
                      <a:pt x="5062" y="-325"/>
                      <a:pt x="3138" y="59"/>
                    </a:cubicBezTo>
                    <a:cubicBezTo>
                      <a:pt x="1214" y="444"/>
                      <a:pt x="-325" y="2368"/>
                      <a:pt x="59" y="4292"/>
                    </a:cubicBezTo>
                    <a:cubicBezTo>
                      <a:pt x="7755" y="55471"/>
                      <a:pt x="49314" y="95105"/>
                      <a:pt x="99338" y="101647"/>
                    </a:cubicBezTo>
                    <a:lnTo>
                      <a:pt x="89718" y="106649"/>
                    </a:lnTo>
                    <a:cubicBezTo>
                      <a:pt x="87794" y="107419"/>
                      <a:pt x="87024" y="109728"/>
                      <a:pt x="88179" y="111652"/>
                    </a:cubicBezTo>
                    <a:cubicBezTo>
                      <a:pt x="88949" y="113576"/>
                      <a:pt x="91642" y="114346"/>
                      <a:pt x="93181" y="113191"/>
                    </a:cubicBezTo>
                    <a:lnTo>
                      <a:pt x="115500" y="102032"/>
                    </a:lnTo>
                    <a:cubicBezTo>
                      <a:pt x="117809" y="100493"/>
                      <a:pt x="117809" y="97414"/>
                      <a:pt x="116270" y="95875"/>
                    </a:cubicBezTo>
                    <a:lnTo>
                      <a:pt x="99338" y="78943"/>
                    </a:lnTo>
                    <a:close/>
                  </a:path>
                </a:pathLst>
              </a:custGeom>
              <a:grpFill/>
              <a:ln w="498"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5" name="Freeform: Shape 134">
                <a:extLst>
                  <a:ext uri="{FF2B5EF4-FFF2-40B4-BE49-F238E27FC236}">
                    <a16:creationId xmlns:a16="http://schemas.microsoft.com/office/drawing/2014/main" id="{7F02466D-679B-282D-1F9A-A72795D8E976}"/>
                  </a:ext>
                </a:extLst>
              </p:cNvPr>
              <p:cNvSpPr/>
              <p:nvPr/>
            </p:nvSpPr>
            <p:spPr>
              <a:xfrm>
                <a:off x="10236364" y="859138"/>
                <a:ext cx="111553" cy="117988"/>
              </a:xfrm>
              <a:custGeom>
                <a:avLst/>
                <a:gdLst>
                  <a:gd name="csX0" fmla="*/ 17987 w 111553"/>
                  <a:gd name="csY0" fmla="*/ 117038 h 117988"/>
                  <a:gd name="csX1" fmla="*/ 33764 w 111553"/>
                  <a:gd name="csY1" fmla="*/ 101261 h 117988"/>
                  <a:gd name="csX2" fmla="*/ 33764 w 111553"/>
                  <a:gd name="csY2" fmla="*/ 95874 h 117988"/>
                  <a:gd name="csX3" fmla="*/ 28377 w 111553"/>
                  <a:gd name="csY3" fmla="*/ 95874 h 117988"/>
                  <a:gd name="csX4" fmla="*/ 19527 w 111553"/>
                  <a:gd name="csY4" fmla="*/ 104725 h 117988"/>
                  <a:gd name="csX5" fmla="*/ 108416 w 111553"/>
                  <a:gd name="csY5" fmla="*/ 8139 h 117988"/>
                  <a:gd name="csX6" fmla="*/ 111494 w 111553"/>
                  <a:gd name="csY6" fmla="*/ 3522 h 117988"/>
                  <a:gd name="csX7" fmla="*/ 107646 w 111553"/>
                  <a:gd name="csY7" fmla="*/ 59 h 117988"/>
                  <a:gd name="csX8" fmla="*/ 12215 w 111553"/>
                  <a:gd name="csY8" fmla="*/ 102416 h 117988"/>
                  <a:gd name="csX9" fmla="*/ 6828 w 111553"/>
                  <a:gd name="csY9" fmla="*/ 94335 h 117988"/>
                  <a:gd name="csX10" fmla="*/ 1441 w 111553"/>
                  <a:gd name="csY10" fmla="*/ 93180 h 117988"/>
                  <a:gd name="csX11" fmla="*/ 671 w 111553"/>
                  <a:gd name="csY11" fmla="*/ 98568 h 117988"/>
                  <a:gd name="csX12" fmla="*/ 12215 w 111553"/>
                  <a:gd name="csY12" fmla="*/ 116268 h 117988"/>
                  <a:gd name="csX13" fmla="*/ 17987 w 111553"/>
                  <a:gd name="csY13" fmla="*/ 117038 h 1179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111553" h="117988">
                    <a:moveTo>
                      <a:pt x="17987" y="117038"/>
                    </a:moveTo>
                    <a:lnTo>
                      <a:pt x="33764" y="101261"/>
                    </a:lnTo>
                    <a:cubicBezTo>
                      <a:pt x="35304" y="99722"/>
                      <a:pt x="35304" y="97414"/>
                      <a:pt x="33764" y="95874"/>
                    </a:cubicBezTo>
                    <a:cubicBezTo>
                      <a:pt x="32225" y="94335"/>
                      <a:pt x="29917" y="94335"/>
                      <a:pt x="28377" y="95874"/>
                    </a:cubicBezTo>
                    <a:lnTo>
                      <a:pt x="19527" y="104725"/>
                    </a:lnTo>
                    <a:cubicBezTo>
                      <a:pt x="23759" y="56239"/>
                      <a:pt x="59931" y="16220"/>
                      <a:pt x="108416" y="8139"/>
                    </a:cubicBezTo>
                    <a:cubicBezTo>
                      <a:pt x="110340" y="7755"/>
                      <a:pt x="111879" y="5830"/>
                      <a:pt x="111494" y="3522"/>
                    </a:cubicBezTo>
                    <a:cubicBezTo>
                      <a:pt x="111494" y="1213"/>
                      <a:pt x="109570" y="-326"/>
                      <a:pt x="107646" y="59"/>
                    </a:cubicBezTo>
                    <a:cubicBezTo>
                      <a:pt x="55698" y="8909"/>
                      <a:pt x="17218" y="50852"/>
                      <a:pt x="12215" y="102416"/>
                    </a:cubicBezTo>
                    <a:lnTo>
                      <a:pt x="6828" y="94335"/>
                    </a:lnTo>
                    <a:cubicBezTo>
                      <a:pt x="5674" y="92411"/>
                      <a:pt x="3365" y="92026"/>
                      <a:pt x="1441" y="93180"/>
                    </a:cubicBezTo>
                    <a:cubicBezTo>
                      <a:pt x="-98" y="94335"/>
                      <a:pt x="-483" y="97028"/>
                      <a:pt x="671" y="98568"/>
                    </a:cubicBezTo>
                    <a:lnTo>
                      <a:pt x="12215" y="116268"/>
                    </a:lnTo>
                    <a:cubicBezTo>
                      <a:pt x="13755" y="118193"/>
                      <a:pt x="16448" y="118578"/>
                      <a:pt x="17987" y="117038"/>
                    </a:cubicBezTo>
                    <a:close/>
                  </a:path>
                </a:pathLst>
              </a:custGeom>
              <a:grpFill/>
              <a:ln w="498"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6" name="Freeform: Shape 135">
                <a:extLst>
                  <a:ext uri="{FF2B5EF4-FFF2-40B4-BE49-F238E27FC236}">
                    <a16:creationId xmlns:a16="http://schemas.microsoft.com/office/drawing/2014/main" id="{7AD9B264-29E7-DE3C-F9E9-0DD797513084}"/>
                  </a:ext>
                </a:extLst>
              </p:cNvPr>
              <p:cNvSpPr/>
              <p:nvPr/>
            </p:nvSpPr>
            <p:spPr>
              <a:xfrm>
                <a:off x="10346319" y="1010424"/>
                <a:ext cx="33862" cy="7695"/>
              </a:xfrm>
              <a:custGeom>
                <a:avLst/>
                <a:gdLst>
                  <a:gd name="csX0" fmla="*/ 0 w 33862"/>
                  <a:gd name="csY0" fmla="*/ 3848 h 7695"/>
                  <a:gd name="csX1" fmla="*/ 3848 w 33862"/>
                  <a:gd name="csY1" fmla="*/ 7696 h 7695"/>
                  <a:gd name="csX2" fmla="*/ 30014 w 33862"/>
                  <a:gd name="csY2" fmla="*/ 7696 h 7695"/>
                  <a:gd name="csX3" fmla="*/ 33862 w 33862"/>
                  <a:gd name="csY3" fmla="*/ 3848 h 7695"/>
                  <a:gd name="csX4" fmla="*/ 30014 w 33862"/>
                  <a:gd name="csY4" fmla="*/ 0 h 7695"/>
                  <a:gd name="csX5" fmla="*/ 3848 w 33862"/>
                  <a:gd name="csY5" fmla="*/ 0 h 7695"/>
                  <a:gd name="csX6" fmla="*/ 0 w 33862"/>
                  <a:gd name="csY6" fmla="*/ 3848 h 7695"/>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3862" h="7695">
                    <a:moveTo>
                      <a:pt x="0" y="3848"/>
                    </a:moveTo>
                    <a:cubicBezTo>
                      <a:pt x="0" y="6157"/>
                      <a:pt x="1539" y="7696"/>
                      <a:pt x="3848" y="7696"/>
                    </a:cubicBezTo>
                    <a:lnTo>
                      <a:pt x="30014" y="7696"/>
                    </a:lnTo>
                    <a:cubicBezTo>
                      <a:pt x="32323" y="7696"/>
                      <a:pt x="33862" y="6156"/>
                      <a:pt x="33862" y="3848"/>
                    </a:cubicBezTo>
                    <a:cubicBezTo>
                      <a:pt x="33862" y="1539"/>
                      <a:pt x="32323" y="0"/>
                      <a:pt x="30014" y="0"/>
                    </a:cubicBezTo>
                    <a:lnTo>
                      <a:pt x="3848" y="0"/>
                    </a:lnTo>
                    <a:cubicBezTo>
                      <a:pt x="1539" y="0"/>
                      <a:pt x="0" y="1539"/>
                      <a:pt x="0" y="3848"/>
                    </a:cubicBezTo>
                    <a:close/>
                  </a:path>
                </a:pathLst>
              </a:custGeom>
              <a:grpFill/>
              <a:ln w="498"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37" name="Freeform: Shape 136">
                <a:extLst>
                  <a:ext uri="{FF2B5EF4-FFF2-40B4-BE49-F238E27FC236}">
                    <a16:creationId xmlns:a16="http://schemas.microsoft.com/office/drawing/2014/main" id="{191B7DDF-06CE-91A7-1746-5DFA5FC7E933}"/>
                  </a:ext>
                </a:extLst>
              </p:cNvPr>
              <p:cNvSpPr/>
              <p:nvPr/>
            </p:nvSpPr>
            <p:spPr>
              <a:xfrm>
                <a:off x="10346320" y="1026201"/>
                <a:ext cx="33862" cy="7695"/>
              </a:xfrm>
              <a:custGeom>
                <a:avLst/>
                <a:gdLst>
                  <a:gd name="csX0" fmla="*/ 30014 w 33862"/>
                  <a:gd name="csY0" fmla="*/ 0 h 7695"/>
                  <a:gd name="csX1" fmla="*/ 3848 w 33862"/>
                  <a:gd name="csY1" fmla="*/ 0 h 7695"/>
                  <a:gd name="csX2" fmla="*/ 0 w 33862"/>
                  <a:gd name="csY2" fmla="*/ 3848 h 7695"/>
                  <a:gd name="csX3" fmla="*/ 3848 w 33862"/>
                  <a:gd name="csY3" fmla="*/ 7696 h 7695"/>
                  <a:gd name="csX4" fmla="*/ 30014 w 33862"/>
                  <a:gd name="csY4" fmla="*/ 7696 h 7695"/>
                  <a:gd name="csX5" fmla="*/ 33862 w 33862"/>
                  <a:gd name="csY5" fmla="*/ 3848 h 7695"/>
                  <a:gd name="csX6" fmla="*/ 30014 w 33862"/>
                  <a:gd name="csY6" fmla="*/ 0 h 7695"/>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3862" h="7695">
                    <a:moveTo>
                      <a:pt x="30014" y="0"/>
                    </a:moveTo>
                    <a:lnTo>
                      <a:pt x="3848" y="0"/>
                    </a:lnTo>
                    <a:cubicBezTo>
                      <a:pt x="1539" y="0"/>
                      <a:pt x="0" y="1539"/>
                      <a:pt x="0" y="3848"/>
                    </a:cubicBezTo>
                    <a:cubicBezTo>
                      <a:pt x="0" y="6156"/>
                      <a:pt x="1539" y="7696"/>
                      <a:pt x="3848" y="7696"/>
                    </a:cubicBezTo>
                    <a:lnTo>
                      <a:pt x="30014" y="7696"/>
                    </a:lnTo>
                    <a:cubicBezTo>
                      <a:pt x="32323" y="7696"/>
                      <a:pt x="33862" y="6156"/>
                      <a:pt x="33862" y="3848"/>
                    </a:cubicBezTo>
                    <a:cubicBezTo>
                      <a:pt x="33862" y="1539"/>
                      <a:pt x="32323" y="0"/>
                      <a:pt x="30014" y="0"/>
                    </a:cubicBezTo>
                    <a:close/>
                  </a:path>
                </a:pathLst>
              </a:custGeom>
              <a:grpFill/>
              <a:ln w="498"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38" name="Group 137">
            <a:extLst>
              <a:ext uri="{FF2B5EF4-FFF2-40B4-BE49-F238E27FC236}">
                <a16:creationId xmlns:a16="http://schemas.microsoft.com/office/drawing/2014/main" id="{589252A1-7F97-CE79-B85E-FA66E710DF4F}"/>
              </a:ext>
            </a:extLst>
          </p:cNvPr>
          <p:cNvGrpSpPr/>
          <p:nvPr/>
        </p:nvGrpSpPr>
        <p:grpSpPr>
          <a:xfrm>
            <a:off x="7936609" y="3762940"/>
            <a:ext cx="457200" cy="457200"/>
            <a:chOff x="7936609" y="4213236"/>
            <a:chExt cx="457200" cy="457200"/>
          </a:xfrm>
        </p:grpSpPr>
        <p:sp>
          <p:nvSpPr>
            <p:cNvPr id="139" name="Oval 138">
              <a:extLst>
                <a:ext uri="{FF2B5EF4-FFF2-40B4-BE49-F238E27FC236}">
                  <a16:creationId xmlns:a16="http://schemas.microsoft.com/office/drawing/2014/main" id="{C0EEA158-BAC9-7B71-2824-B515815FC512}"/>
                </a:ext>
              </a:extLst>
            </p:cNvPr>
            <p:cNvSpPr>
              <a:spLocks noChangeAspect="1"/>
            </p:cNvSpPr>
            <p:nvPr/>
          </p:nvSpPr>
          <p:spPr>
            <a:xfrm>
              <a:off x="7936609" y="4213236"/>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grpSp>
          <p:nvGrpSpPr>
            <p:cNvPr id="140" name="Pic">
              <a:extLst>
                <a:ext uri="{FF2B5EF4-FFF2-40B4-BE49-F238E27FC236}">
                  <a16:creationId xmlns:a16="http://schemas.microsoft.com/office/drawing/2014/main" id="{1A366A46-E9C4-EEA8-5E0C-A625699B91CE}"/>
                </a:ext>
              </a:extLst>
            </p:cNvPr>
            <p:cNvGrpSpPr>
              <a:grpSpLocks noChangeAspect="1"/>
            </p:cNvGrpSpPr>
            <p:nvPr/>
          </p:nvGrpSpPr>
          <p:grpSpPr>
            <a:xfrm>
              <a:off x="8040384" y="4314841"/>
              <a:ext cx="249651" cy="253990"/>
              <a:chOff x="10238344" y="1185872"/>
              <a:chExt cx="249651" cy="253990"/>
            </a:xfrm>
            <a:solidFill>
              <a:schemeClr val="bg1"/>
            </a:solidFill>
          </p:grpSpPr>
          <p:sp>
            <p:nvSpPr>
              <p:cNvPr id="141" name="Freeform: Shape 140">
                <a:extLst>
                  <a:ext uri="{FF2B5EF4-FFF2-40B4-BE49-F238E27FC236}">
                    <a16:creationId xmlns:a16="http://schemas.microsoft.com/office/drawing/2014/main" id="{31373B5C-E82B-BB66-6C30-522DED510237}"/>
                  </a:ext>
                </a:extLst>
              </p:cNvPr>
              <p:cNvSpPr/>
              <p:nvPr/>
            </p:nvSpPr>
            <p:spPr>
              <a:xfrm>
                <a:off x="10238344" y="1185872"/>
                <a:ext cx="111240" cy="147599"/>
              </a:xfrm>
              <a:custGeom>
                <a:avLst/>
                <a:gdLst>
                  <a:gd name="csX0" fmla="*/ 32675 w 111240"/>
                  <a:gd name="csY0" fmla="*/ 147599 h 147599"/>
                  <a:gd name="csX1" fmla="*/ 28360 w 111240"/>
                  <a:gd name="csY1" fmla="*/ 145962 h 147599"/>
                  <a:gd name="csX2" fmla="*/ 3808 w 111240"/>
                  <a:gd name="csY2" fmla="*/ 68140 h 147599"/>
                  <a:gd name="csX3" fmla="*/ 67791 w 111240"/>
                  <a:gd name="csY3" fmla="*/ 20674 h 147599"/>
                  <a:gd name="csX4" fmla="*/ 68684 w 111240"/>
                  <a:gd name="csY4" fmla="*/ 2818 h 147599"/>
                  <a:gd name="csX5" fmla="*/ 70619 w 111240"/>
                  <a:gd name="csY5" fmla="*/ 139 h 147599"/>
                  <a:gd name="csX6" fmla="*/ 73892 w 111240"/>
                  <a:gd name="csY6" fmla="*/ 883 h 147599"/>
                  <a:gd name="csX7" fmla="*/ 110348 w 111240"/>
                  <a:gd name="csY7" fmla="*/ 38381 h 147599"/>
                  <a:gd name="csX8" fmla="*/ 111241 w 111240"/>
                  <a:gd name="csY8" fmla="*/ 40464 h 147599"/>
                  <a:gd name="csX9" fmla="*/ 110199 w 111240"/>
                  <a:gd name="csY9" fmla="*/ 42547 h 147599"/>
                  <a:gd name="csX10" fmla="*/ 72553 w 111240"/>
                  <a:gd name="csY10" fmla="*/ 77366 h 147599"/>
                  <a:gd name="csX11" fmla="*/ 69279 w 111240"/>
                  <a:gd name="csY11" fmla="*/ 77961 h 147599"/>
                  <a:gd name="csX12" fmla="*/ 67643 w 111240"/>
                  <a:gd name="csY12" fmla="*/ 75283 h 147599"/>
                  <a:gd name="csX13" fmla="*/ 67643 w 111240"/>
                  <a:gd name="csY13" fmla="*/ 55344 h 147599"/>
                  <a:gd name="csX14" fmla="*/ 28211 w 111240"/>
                  <a:gd name="csY14" fmla="*/ 86889 h 147599"/>
                  <a:gd name="csX15" fmla="*/ 35502 w 111240"/>
                  <a:gd name="csY15" fmla="*/ 137481 h 147599"/>
                  <a:gd name="csX16" fmla="*/ 37436 w 111240"/>
                  <a:gd name="csY16" fmla="*/ 144474 h 147599"/>
                  <a:gd name="csX17" fmla="*/ 32675 w 111240"/>
                  <a:gd name="csY17" fmla="*/ 147599 h 147599"/>
                  <a:gd name="csX18" fmla="*/ 70619 w 111240"/>
                  <a:gd name="csY18" fmla="*/ 26626 h 147599"/>
                  <a:gd name="csX19" fmla="*/ 9462 w 111240"/>
                  <a:gd name="csY19" fmla="*/ 69926 h 147599"/>
                  <a:gd name="csX20" fmla="*/ 27913 w 111240"/>
                  <a:gd name="csY20" fmla="*/ 137927 h 147599"/>
                  <a:gd name="csX21" fmla="*/ 22705 w 111240"/>
                  <a:gd name="csY21" fmla="*/ 84657 h 147599"/>
                  <a:gd name="csX22" fmla="*/ 70321 w 111240"/>
                  <a:gd name="csY22" fmla="*/ 49243 h 147599"/>
                  <a:gd name="csX23" fmla="*/ 70767 w 111240"/>
                  <a:gd name="csY23" fmla="*/ 49243 h 147599"/>
                  <a:gd name="csX24" fmla="*/ 73595 w 111240"/>
                  <a:gd name="csY24" fmla="*/ 52219 h 147599"/>
                  <a:gd name="csX25" fmla="*/ 73595 w 111240"/>
                  <a:gd name="csY25" fmla="*/ 68438 h 147599"/>
                  <a:gd name="csX26" fmla="*/ 103950 w 111240"/>
                  <a:gd name="csY26" fmla="*/ 40315 h 147599"/>
                  <a:gd name="csX27" fmla="*/ 74339 w 111240"/>
                  <a:gd name="csY27" fmla="*/ 9960 h 147599"/>
                  <a:gd name="csX28" fmla="*/ 73595 w 111240"/>
                  <a:gd name="csY28" fmla="*/ 23798 h 147599"/>
                  <a:gd name="csX29" fmla="*/ 70619 w 111240"/>
                  <a:gd name="csY29" fmla="*/ 26626 h 14759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111240" h="147599">
                    <a:moveTo>
                      <a:pt x="32675" y="147599"/>
                    </a:moveTo>
                    <a:cubicBezTo>
                      <a:pt x="31336" y="147599"/>
                      <a:pt x="29699" y="147004"/>
                      <a:pt x="28360" y="145962"/>
                    </a:cubicBezTo>
                    <a:cubicBezTo>
                      <a:pt x="3510" y="126916"/>
                      <a:pt x="-6013" y="97156"/>
                      <a:pt x="3808" y="68140"/>
                    </a:cubicBezTo>
                    <a:cubicBezTo>
                      <a:pt x="13331" y="40166"/>
                      <a:pt x="38180" y="21715"/>
                      <a:pt x="67791" y="20674"/>
                    </a:cubicBezTo>
                    <a:lnTo>
                      <a:pt x="68684" y="2818"/>
                    </a:lnTo>
                    <a:cubicBezTo>
                      <a:pt x="68833" y="1627"/>
                      <a:pt x="69577" y="586"/>
                      <a:pt x="70619" y="139"/>
                    </a:cubicBezTo>
                    <a:cubicBezTo>
                      <a:pt x="71809" y="-158"/>
                      <a:pt x="72999" y="-10"/>
                      <a:pt x="73892" y="883"/>
                    </a:cubicBezTo>
                    <a:lnTo>
                      <a:pt x="110348" y="38381"/>
                    </a:lnTo>
                    <a:cubicBezTo>
                      <a:pt x="110943" y="38976"/>
                      <a:pt x="111241" y="39720"/>
                      <a:pt x="111241" y="40464"/>
                    </a:cubicBezTo>
                    <a:cubicBezTo>
                      <a:pt x="111092" y="41357"/>
                      <a:pt x="110794" y="42101"/>
                      <a:pt x="110199" y="42547"/>
                    </a:cubicBezTo>
                    <a:lnTo>
                      <a:pt x="72553" y="77366"/>
                    </a:lnTo>
                    <a:cubicBezTo>
                      <a:pt x="71660" y="78259"/>
                      <a:pt x="70470" y="78408"/>
                      <a:pt x="69279" y="77961"/>
                    </a:cubicBezTo>
                    <a:cubicBezTo>
                      <a:pt x="68238" y="77515"/>
                      <a:pt x="67494" y="76473"/>
                      <a:pt x="67643" y="75283"/>
                    </a:cubicBezTo>
                    <a:lnTo>
                      <a:pt x="67643" y="55344"/>
                    </a:lnTo>
                    <a:cubicBezTo>
                      <a:pt x="51126" y="56385"/>
                      <a:pt x="35800" y="68587"/>
                      <a:pt x="28211" y="86889"/>
                    </a:cubicBezTo>
                    <a:cubicBezTo>
                      <a:pt x="22110" y="101620"/>
                      <a:pt x="20771" y="122750"/>
                      <a:pt x="35502" y="137481"/>
                    </a:cubicBezTo>
                    <a:cubicBezTo>
                      <a:pt x="37585" y="139713"/>
                      <a:pt x="38329" y="142242"/>
                      <a:pt x="37436" y="144474"/>
                    </a:cubicBezTo>
                    <a:cubicBezTo>
                      <a:pt x="36692" y="146409"/>
                      <a:pt x="34907" y="147599"/>
                      <a:pt x="32675" y="147599"/>
                    </a:cubicBezTo>
                    <a:close/>
                    <a:moveTo>
                      <a:pt x="70619" y="26626"/>
                    </a:moveTo>
                    <a:cubicBezTo>
                      <a:pt x="42347" y="26626"/>
                      <a:pt x="18390" y="43589"/>
                      <a:pt x="9462" y="69926"/>
                    </a:cubicBezTo>
                    <a:cubicBezTo>
                      <a:pt x="2766" y="89716"/>
                      <a:pt x="4403" y="117393"/>
                      <a:pt x="27913" y="137927"/>
                    </a:cubicBezTo>
                    <a:cubicBezTo>
                      <a:pt x="16753" y="123791"/>
                      <a:pt x="14670" y="103852"/>
                      <a:pt x="22705" y="84657"/>
                    </a:cubicBezTo>
                    <a:cubicBezTo>
                      <a:pt x="31633" y="63081"/>
                      <a:pt x="50382" y="49243"/>
                      <a:pt x="70321" y="49243"/>
                    </a:cubicBezTo>
                    <a:lnTo>
                      <a:pt x="70767" y="49243"/>
                    </a:lnTo>
                    <a:cubicBezTo>
                      <a:pt x="72404" y="49243"/>
                      <a:pt x="73743" y="50582"/>
                      <a:pt x="73595" y="52219"/>
                    </a:cubicBezTo>
                    <a:lnTo>
                      <a:pt x="73595" y="68438"/>
                    </a:lnTo>
                    <a:lnTo>
                      <a:pt x="103950" y="40315"/>
                    </a:lnTo>
                    <a:lnTo>
                      <a:pt x="74339" y="9960"/>
                    </a:lnTo>
                    <a:lnTo>
                      <a:pt x="73595" y="23798"/>
                    </a:lnTo>
                    <a:cubicBezTo>
                      <a:pt x="73595" y="25286"/>
                      <a:pt x="72255" y="26626"/>
                      <a:pt x="70619" y="26626"/>
                    </a:cubicBezTo>
                    <a:close/>
                  </a:path>
                </a:pathLst>
              </a:custGeom>
              <a:grpFill/>
              <a:ln w="14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2" name="Freeform: Shape 141">
                <a:extLst>
                  <a:ext uri="{FF2B5EF4-FFF2-40B4-BE49-F238E27FC236}">
                    <a16:creationId xmlns:a16="http://schemas.microsoft.com/office/drawing/2014/main" id="{10143F49-EA8E-0E53-1C61-5A5309DE271F}"/>
                  </a:ext>
                </a:extLst>
              </p:cNvPr>
              <p:cNvSpPr/>
              <p:nvPr/>
            </p:nvSpPr>
            <p:spPr>
              <a:xfrm>
                <a:off x="10260436" y="1219179"/>
                <a:ext cx="89115" cy="32304"/>
              </a:xfrm>
              <a:custGeom>
                <a:avLst/>
                <a:gdLst>
                  <a:gd name="csX0" fmla="*/ 2994 w 89115"/>
                  <a:gd name="csY0" fmla="*/ 32304 h 32304"/>
                  <a:gd name="csX1" fmla="*/ 1357 w 89115"/>
                  <a:gd name="csY1" fmla="*/ 31858 h 32304"/>
                  <a:gd name="csX2" fmla="*/ 464 w 89115"/>
                  <a:gd name="csY2" fmla="*/ 27691 h 32304"/>
                  <a:gd name="csX3" fmla="*/ 87066 w 89115"/>
                  <a:gd name="csY3" fmla="*/ 4330 h 32304"/>
                  <a:gd name="csX4" fmla="*/ 89000 w 89115"/>
                  <a:gd name="csY4" fmla="*/ 8050 h 32304"/>
                  <a:gd name="csX5" fmla="*/ 85131 w 89115"/>
                  <a:gd name="csY5" fmla="*/ 9984 h 32304"/>
                  <a:gd name="csX6" fmla="*/ 5524 w 89115"/>
                  <a:gd name="csY6" fmla="*/ 30965 h 32304"/>
                  <a:gd name="csX7" fmla="*/ 2994 w 89115"/>
                  <a:gd name="csY7" fmla="*/ 32304 h 3230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89115" h="32304">
                    <a:moveTo>
                      <a:pt x="2994" y="32304"/>
                    </a:moveTo>
                    <a:cubicBezTo>
                      <a:pt x="2399" y="32304"/>
                      <a:pt x="1952" y="32155"/>
                      <a:pt x="1357" y="31858"/>
                    </a:cubicBezTo>
                    <a:cubicBezTo>
                      <a:pt x="18" y="30965"/>
                      <a:pt x="-428" y="29179"/>
                      <a:pt x="464" y="27691"/>
                    </a:cubicBezTo>
                    <a:cubicBezTo>
                      <a:pt x="27100" y="-14568"/>
                      <a:pt x="86470" y="4032"/>
                      <a:pt x="87066" y="4330"/>
                    </a:cubicBezTo>
                    <a:cubicBezTo>
                      <a:pt x="88554" y="4776"/>
                      <a:pt x="89446" y="6413"/>
                      <a:pt x="89000" y="8050"/>
                    </a:cubicBezTo>
                    <a:cubicBezTo>
                      <a:pt x="88405" y="9538"/>
                      <a:pt x="86768" y="10431"/>
                      <a:pt x="85131" y="9984"/>
                    </a:cubicBezTo>
                    <a:cubicBezTo>
                      <a:pt x="84685" y="9835"/>
                      <a:pt x="29629" y="-7425"/>
                      <a:pt x="5524" y="30965"/>
                    </a:cubicBezTo>
                    <a:cubicBezTo>
                      <a:pt x="4928" y="31858"/>
                      <a:pt x="4036" y="32304"/>
                      <a:pt x="2994" y="32304"/>
                    </a:cubicBezTo>
                    <a:close/>
                  </a:path>
                </a:pathLst>
              </a:custGeom>
              <a:grpFill/>
              <a:ln w="14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3" name="Freeform: Shape 142">
                <a:extLst>
                  <a:ext uri="{FF2B5EF4-FFF2-40B4-BE49-F238E27FC236}">
                    <a16:creationId xmlns:a16="http://schemas.microsoft.com/office/drawing/2014/main" id="{1A3C076B-0DFC-EAD1-3487-0F1CB40063E3}"/>
                  </a:ext>
                </a:extLst>
              </p:cNvPr>
              <p:cNvSpPr/>
              <p:nvPr/>
            </p:nvSpPr>
            <p:spPr>
              <a:xfrm>
                <a:off x="10378510" y="1217557"/>
                <a:ext cx="109485" cy="130794"/>
              </a:xfrm>
              <a:custGeom>
                <a:avLst/>
                <a:gdLst>
                  <a:gd name="csX0" fmla="*/ 55890 w 109485"/>
                  <a:gd name="csY0" fmla="*/ 130794 h 130794"/>
                  <a:gd name="csX1" fmla="*/ 54253 w 109485"/>
                  <a:gd name="csY1" fmla="*/ 130348 h 130794"/>
                  <a:gd name="csX2" fmla="*/ 52914 w 109485"/>
                  <a:gd name="csY2" fmla="*/ 128414 h 130794"/>
                  <a:gd name="csX3" fmla="*/ 41605 w 109485"/>
                  <a:gd name="csY3" fmla="*/ 78417 h 130794"/>
                  <a:gd name="csX4" fmla="*/ 42795 w 109485"/>
                  <a:gd name="csY4" fmla="*/ 75292 h 130794"/>
                  <a:gd name="csX5" fmla="*/ 46069 w 109485"/>
                  <a:gd name="csY5" fmla="*/ 75144 h 130794"/>
                  <a:gd name="csX6" fmla="*/ 63181 w 109485"/>
                  <a:gd name="csY6" fmla="*/ 85262 h 130794"/>
                  <a:gd name="csX7" fmla="*/ 60056 w 109485"/>
                  <a:gd name="csY7" fmla="*/ 41961 h 130794"/>
                  <a:gd name="csX8" fmla="*/ 18095 w 109485"/>
                  <a:gd name="csY8" fmla="*/ 14880 h 130794"/>
                  <a:gd name="csX9" fmla="*/ 8125 w 109485"/>
                  <a:gd name="csY9" fmla="*/ 16219 h 130794"/>
                  <a:gd name="csX10" fmla="*/ 5744 w 109485"/>
                  <a:gd name="csY10" fmla="*/ 16517 h 130794"/>
                  <a:gd name="csX11" fmla="*/ 90 w 109485"/>
                  <a:gd name="csY11" fmla="*/ 12350 h 130794"/>
                  <a:gd name="csX12" fmla="*/ 4256 w 109485"/>
                  <a:gd name="csY12" fmla="*/ 5803 h 130794"/>
                  <a:gd name="csX13" fmla="*/ 32677 w 109485"/>
                  <a:gd name="csY13" fmla="*/ 0 h 130794"/>
                  <a:gd name="csX14" fmla="*/ 92345 w 109485"/>
                  <a:gd name="csY14" fmla="*/ 35117 h 130794"/>
                  <a:gd name="csX15" fmla="*/ 93089 w 109485"/>
                  <a:gd name="csY15" fmla="*/ 102671 h 130794"/>
                  <a:gd name="csX16" fmla="*/ 108118 w 109485"/>
                  <a:gd name="csY16" fmla="*/ 112343 h 130794"/>
                  <a:gd name="csX17" fmla="*/ 109457 w 109485"/>
                  <a:gd name="csY17" fmla="*/ 115319 h 130794"/>
                  <a:gd name="csX18" fmla="*/ 107225 w 109485"/>
                  <a:gd name="csY18" fmla="*/ 117700 h 130794"/>
                  <a:gd name="csX19" fmla="*/ 56633 w 109485"/>
                  <a:gd name="csY19" fmla="*/ 130646 h 130794"/>
                  <a:gd name="csX20" fmla="*/ 55890 w 109485"/>
                  <a:gd name="csY20" fmla="*/ 130794 h 130794"/>
                  <a:gd name="csX21" fmla="*/ 48896 w 109485"/>
                  <a:gd name="csY21" fmla="*/ 83774 h 130794"/>
                  <a:gd name="csX22" fmla="*/ 58121 w 109485"/>
                  <a:gd name="csY22" fmla="*/ 124098 h 130794"/>
                  <a:gd name="csX23" fmla="*/ 99190 w 109485"/>
                  <a:gd name="csY23" fmla="*/ 113682 h 130794"/>
                  <a:gd name="csX24" fmla="*/ 87584 w 109485"/>
                  <a:gd name="csY24" fmla="*/ 106094 h 130794"/>
                  <a:gd name="csX25" fmla="*/ 86542 w 109485"/>
                  <a:gd name="csY25" fmla="*/ 102225 h 130794"/>
                  <a:gd name="csX26" fmla="*/ 87137 w 109485"/>
                  <a:gd name="csY26" fmla="*/ 38093 h 130794"/>
                  <a:gd name="csX27" fmla="*/ 32677 w 109485"/>
                  <a:gd name="csY27" fmla="*/ 5952 h 130794"/>
                  <a:gd name="csX28" fmla="*/ 11547 w 109485"/>
                  <a:gd name="csY28" fmla="*/ 9523 h 130794"/>
                  <a:gd name="csX29" fmla="*/ 65115 w 109485"/>
                  <a:gd name="csY29" fmla="*/ 38985 h 130794"/>
                  <a:gd name="csX30" fmla="*/ 66901 w 109485"/>
                  <a:gd name="csY30" fmla="*/ 90916 h 130794"/>
                  <a:gd name="csX31" fmla="*/ 62883 w 109485"/>
                  <a:gd name="csY31" fmla="*/ 91958 h 13079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Lst>
                <a:rect l="l" t="t" r="r" b="b"/>
                <a:pathLst>
                  <a:path w="109485" h="130794">
                    <a:moveTo>
                      <a:pt x="55890" y="130794"/>
                    </a:moveTo>
                    <a:cubicBezTo>
                      <a:pt x="55294" y="130794"/>
                      <a:pt x="54699" y="130646"/>
                      <a:pt x="54253" y="130348"/>
                    </a:cubicBezTo>
                    <a:cubicBezTo>
                      <a:pt x="53658" y="129902"/>
                      <a:pt x="53062" y="129158"/>
                      <a:pt x="52914" y="128414"/>
                    </a:cubicBezTo>
                    <a:lnTo>
                      <a:pt x="41605" y="78417"/>
                    </a:lnTo>
                    <a:cubicBezTo>
                      <a:pt x="41307" y="77227"/>
                      <a:pt x="41754" y="76036"/>
                      <a:pt x="42795" y="75292"/>
                    </a:cubicBezTo>
                    <a:cubicBezTo>
                      <a:pt x="43688" y="74697"/>
                      <a:pt x="45027" y="74548"/>
                      <a:pt x="46069" y="75144"/>
                    </a:cubicBezTo>
                    <a:lnTo>
                      <a:pt x="63181" y="85262"/>
                    </a:lnTo>
                    <a:cubicBezTo>
                      <a:pt x="69430" y="72465"/>
                      <a:pt x="68389" y="56544"/>
                      <a:pt x="60056" y="41961"/>
                    </a:cubicBezTo>
                    <a:cubicBezTo>
                      <a:pt x="50533" y="25296"/>
                      <a:pt x="34462" y="14880"/>
                      <a:pt x="18095" y="14880"/>
                    </a:cubicBezTo>
                    <a:cubicBezTo>
                      <a:pt x="14821" y="14880"/>
                      <a:pt x="11399" y="15326"/>
                      <a:pt x="8125" y="16219"/>
                    </a:cubicBezTo>
                    <a:cubicBezTo>
                      <a:pt x="7232" y="16517"/>
                      <a:pt x="6488" y="16517"/>
                      <a:pt x="5744" y="16517"/>
                    </a:cubicBezTo>
                    <a:cubicBezTo>
                      <a:pt x="2917" y="16517"/>
                      <a:pt x="685" y="14880"/>
                      <a:pt x="90" y="12350"/>
                    </a:cubicBezTo>
                    <a:cubicBezTo>
                      <a:pt x="-357" y="10118"/>
                      <a:pt x="834" y="7291"/>
                      <a:pt x="4256" y="5803"/>
                    </a:cubicBezTo>
                    <a:cubicBezTo>
                      <a:pt x="13631" y="1934"/>
                      <a:pt x="23154" y="0"/>
                      <a:pt x="32677" y="0"/>
                    </a:cubicBezTo>
                    <a:cubicBezTo>
                      <a:pt x="56931" y="0"/>
                      <a:pt x="79846" y="13392"/>
                      <a:pt x="92345" y="35117"/>
                    </a:cubicBezTo>
                    <a:cubicBezTo>
                      <a:pt x="104398" y="55948"/>
                      <a:pt x="104547" y="80947"/>
                      <a:pt x="93089" y="102671"/>
                    </a:cubicBezTo>
                    <a:lnTo>
                      <a:pt x="108118" y="112343"/>
                    </a:lnTo>
                    <a:cubicBezTo>
                      <a:pt x="109160" y="112938"/>
                      <a:pt x="109606" y="114129"/>
                      <a:pt x="109457" y="115319"/>
                    </a:cubicBezTo>
                    <a:cubicBezTo>
                      <a:pt x="109308" y="116510"/>
                      <a:pt x="108416" y="117402"/>
                      <a:pt x="107225" y="117700"/>
                    </a:cubicBezTo>
                    <a:lnTo>
                      <a:pt x="56633" y="130646"/>
                    </a:lnTo>
                    <a:cubicBezTo>
                      <a:pt x="56336" y="130646"/>
                      <a:pt x="56038" y="130794"/>
                      <a:pt x="55890" y="130794"/>
                    </a:cubicBezTo>
                    <a:close/>
                    <a:moveTo>
                      <a:pt x="48896" y="83774"/>
                    </a:moveTo>
                    <a:lnTo>
                      <a:pt x="58121" y="124098"/>
                    </a:lnTo>
                    <a:lnTo>
                      <a:pt x="99190" y="113682"/>
                    </a:lnTo>
                    <a:lnTo>
                      <a:pt x="87584" y="106094"/>
                    </a:lnTo>
                    <a:cubicBezTo>
                      <a:pt x="86245" y="105350"/>
                      <a:pt x="85798" y="103564"/>
                      <a:pt x="86542" y="102225"/>
                    </a:cubicBezTo>
                    <a:cubicBezTo>
                      <a:pt x="98595" y="81542"/>
                      <a:pt x="98744" y="58180"/>
                      <a:pt x="87137" y="38093"/>
                    </a:cubicBezTo>
                    <a:cubicBezTo>
                      <a:pt x="75829" y="18153"/>
                      <a:pt x="54848" y="5952"/>
                      <a:pt x="32677" y="5952"/>
                    </a:cubicBezTo>
                    <a:cubicBezTo>
                      <a:pt x="25683" y="5952"/>
                      <a:pt x="18541" y="7142"/>
                      <a:pt x="11547" y="9523"/>
                    </a:cubicBezTo>
                    <a:cubicBezTo>
                      <a:pt x="32082" y="6398"/>
                      <a:pt x="53360" y="18302"/>
                      <a:pt x="65115" y="38985"/>
                    </a:cubicBezTo>
                    <a:cubicBezTo>
                      <a:pt x="75085" y="56544"/>
                      <a:pt x="75829" y="75888"/>
                      <a:pt x="66901" y="90916"/>
                    </a:cubicBezTo>
                    <a:cubicBezTo>
                      <a:pt x="66157" y="92255"/>
                      <a:pt x="64222" y="92702"/>
                      <a:pt x="62883" y="91958"/>
                    </a:cubicBezTo>
                    <a:close/>
                  </a:path>
                </a:pathLst>
              </a:custGeom>
              <a:grpFill/>
              <a:ln w="14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4" name="Freeform: Shape 143">
                <a:extLst>
                  <a:ext uri="{FF2B5EF4-FFF2-40B4-BE49-F238E27FC236}">
                    <a16:creationId xmlns:a16="http://schemas.microsoft.com/office/drawing/2014/main" id="{5F3F880D-27BD-26A4-5EAF-FDDEB8482425}"/>
                  </a:ext>
                </a:extLst>
              </p:cNvPr>
              <p:cNvSpPr/>
              <p:nvPr/>
            </p:nvSpPr>
            <p:spPr>
              <a:xfrm>
                <a:off x="10431346" y="1259247"/>
                <a:ext cx="34534" cy="89103"/>
              </a:xfrm>
              <a:custGeom>
                <a:avLst/>
                <a:gdLst>
                  <a:gd name="csX0" fmla="*/ 3054 w 34534"/>
                  <a:gd name="csY0" fmla="*/ 89104 h 89103"/>
                  <a:gd name="csX1" fmla="*/ 822 w 34534"/>
                  <a:gd name="csY1" fmla="*/ 88062 h 89103"/>
                  <a:gd name="csX2" fmla="*/ 971 w 34534"/>
                  <a:gd name="csY2" fmla="*/ 83896 h 89103"/>
                  <a:gd name="csX3" fmla="*/ 22695 w 34534"/>
                  <a:gd name="csY3" fmla="*/ 4437 h 89103"/>
                  <a:gd name="csX4" fmla="*/ 23886 w 34534"/>
                  <a:gd name="csY4" fmla="*/ 419 h 89103"/>
                  <a:gd name="csX5" fmla="*/ 27903 w 34534"/>
                  <a:gd name="csY5" fmla="*/ 1610 h 89103"/>
                  <a:gd name="csX6" fmla="*/ 4988 w 34534"/>
                  <a:gd name="csY6" fmla="*/ 88211 h 89103"/>
                  <a:gd name="csX7" fmla="*/ 3054 w 34534"/>
                  <a:gd name="csY7" fmla="*/ 89104 h 8910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34534" h="89103">
                    <a:moveTo>
                      <a:pt x="3054" y="89104"/>
                    </a:moveTo>
                    <a:cubicBezTo>
                      <a:pt x="2161" y="89104"/>
                      <a:pt x="1417" y="88657"/>
                      <a:pt x="822" y="88062"/>
                    </a:cubicBezTo>
                    <a:cubicBezTo>
                      <a:pt x="-369" y="86872"/>
                      <a:pt x="-220" y="84937"/>
                      <a:pt x="971" y="83896"/>
                    </a:cubicBezTo>
                    <a:cubicBezTo>
                      <a:pt x="1417" y="83449"/>
                      <a:pt x="43825" y="44464"/>
                      <a:pt x="22695" y="4437"/>
                    </a:cubicBezTo>
                    <a:cubicBezTo>
                      <a:pt x="21951" y="2949"/>
                      <a:pt x="22547" y="1163"/>
                      <a:pt x="23886" y="419"/>
                    </a:cubicBezTo>
                    <a:cubicBezTo>
                      <a:pt x="25374" y="-473"/>
                      <a:pt x="27159" y="122"/>
                      <a:pt x="27903" y="1610"/>
                    </a:cubicBezTo>
                    <a:cubicBezTo>
                      <a:pt x="51265" y="45803"/>
                      <a:pt x="5435" y="87913"/>
                      <a:pt x="4988" y="88211"/>
                    </a:cubicBezTo>
                    <a:cubicBezTo>
                      <a:pt x="4393" y="88806"/>
                      <a:pt x="3649" y="89104"/>
                      <a:pt x="3054" y="89104"/>
                    </a:cubicBezTo>
                    <a:close/>
                  </a:path>
                </a:pathLst>
              </a:custGeom>
              <a:grpFill/>
              <a:ln w="14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5" name="Freeform: Shape 144">
                <a:extLst>
                  <a:ext uri="{FF2B5EF4-FFF2-40B4-BE49-F238E27FC236}">
                    <a16:creationId xmlns:a16="http://schemas.microsoft.com/office/drawing/2014/main" id="{914FD9A5-97AA-2036-E605-FA350814C225}"/>
                  </a:ext>
                </a:extLst>
              </p:cNvPr>
              <p:cNvSpPr/>
              <p:nvPr/>
            </p:nvSpPr>
            <p:spPr>
              <a:xfrm>
                <a:off x="10270183" y="1358857"/>
                <a:ext cx="148533" cy="81005"/>
              </a:xfrm>
              <a:custGeom>
                <a:avLst/>
                <a:gdLst>
                  <a:gd name="csX0" fmla="*/ 79253 w 148533"/>
                  <a:gd name="csY0" fmla="*/ 81005 h 81005"/>
                  <a:gd name="csX1" fmla="*/ 20328 w 148533"/>
                  <a:gd name="csY1" fmla="*/ 47823 h 81005"/>
                  <a:gd name="csX2" fmla="*/ 4407 w 148533"/>
                  <a:gd name="csY2" fmla="*/ 56007 h 81005"/>
                  <a:gd name="csX3" fmla="*/ 1133 w 148533"/>
                  <a:gd name="csY3" fmla="*/ 55561 h 81005"/>
                  <a:gd name="csX4" fmla="*/ 92 w 148533"/>
                  <a:gd name="csY4" fmla="*/ 52436 h 81005"/>
                  <a:gd name="csX5" fmla="*/ 14377 w 148533"/>
                  <a:gd name="csY5" fmla="*/ 2142 h 81005"/>
                  <a:gd name="csX6" fmla="*/ 15716 w 148533"/>
                  <a:gd name="csY6" fmla="*/ 356 h 81005"/>
                  <a:gd name="csX7" fmla="*/ 18097 w 148533"/>
                  <a:gd name="csY7" fmla="*/ 207 h 81005"/>
                  <a:gd name="csX8" fmla="*/ 67051 w 148533"/>
                  <a:gd name="csY8" fmla="*/ 15385 h 81005"/>
                  <a:gd name="csX9" fmla="*/ 69135 w 148533"/>
                  <a:gd name="csY9" fmla="*/ 17914 h 81005"/>
                  <a:gd name="csX10" fmla="*/ 67647 w 148533"/>
                  <a:gd name="csY10" fmla="*/ 20742 h 81005"/>
                  <a:gd name="csX11" fmla="*/ 50386 w 148533"/>
                  <a:gd name="csY11" fmla="*/ 30562 h 81005"/>
                  <a:gd name="csX12" fmla="*/ 89818 w 148533"/>
                  <a:gd name="csY12" fmla="*/ 49460 h 81005"/>
                  <a:gd name="csX13" fmla="*/ 137582 w 148533"/>
                  <a:gd name="csY13" fmla="*/ 17319 h 81005"/>
                  <a:gd name="csX14" fmla="*/ 143385 w 148533"/>
                  <a:gd name="csY14" fmla="*/ 12111 h 81005"/>
                  <a:gd name="csX15" fmla="*/ 147105 w 148533"/>
                  <a:gd name="csY15" fmla="*/ 13897 h 81005"/>
                  <a:gd name="csX16" fmla="*/ 148444 w 148533"/>
                  <a:gd name="csY16" fmla="*/ 19254 h 81005"/>
                  <a:gd name="csX17" fmla="*/ 79253 w 148533"/>
                  <a:gd name="csY17" fmla="*/ 81005 h 81005"/>
                  <a:gd name="csX18" fmla="*/ 21370 w 148533"/>
                  <a:gd name="csY18" fmla="*/ 40978 h 81005"/>
                  <a:gd name="csX19" fmla="*/ 24048 w 148533"/>
                  <a:gd name="csY19" fmla="*/ 42466 h 81005"/>
                  <a:gd name="csX20" fmla="*/ 79253 w 148533"/>
                  <a:gd name="csY20" fmla="*/ 75053 h 81005"/>
                  <a:gd name="csX21" fmla="*/ 141749 w 148533"/>
                  <a:gd name="csY21" fmla="*/ 23866 h 81005"/>
                  <a:gd name="csX22" fmla="*/ 89818 w 148533"/>
                  <a:gd name="csY22" fmla="*/ 55412 h 81005"/>
                  <a:gd name="csX23" fmla="*/ 43541 w 148533"/>
                  <a:gd name="csY23" fmla="*/ 31009 h 81005"/>
                  <a:gd name="csX24" fmla="*/ 44732 w 148533"/>
                  <a:gd name="csY24" fmla="*/ 26991 h 81005"/>
                  <a:gd name="csX25" fmla="*/ 58719 w 148533"/>
                  <a:gd name="csY25" fmla="*/ 18956 h 81005"/>
                  <a:gd name="csX26" fmla="*/ 19287 w 148533"/>
                  <a:gd name="csY26" fmla="*/ 6755 h 81005"/>
                  <a:gd name="csX27" fmla="*/ 7681 w 148533"/>
                  <a:gd name="csY27" fmla="*/ 47526 h 81005"/>
                  <a:gd name="csX28" fmla="*/ 20031 w 148533"/>
                  <a:gd name="csY28" fmla="*/ 41276 h 81005"/>
                  <a:gd name="csX29" fmla="*/ 21370 w 148533"/>
                  <a:gd name="csY29" fmla="*/ 40978 h 8100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Lst>
                <a:rect l="l" t="t" r="r" b="b"/>
                <a:pathLst>
                  <a:path w="148533" h="81005">
                    <a:moveTo>
                      <a:pt x="79253" y="81005"/>
                    </a:moveTo>
                    <a:cubicBezTo>
                      <a:pt x="55147" y="81005"/>
                      <a:pt x="33274" y="68655"/>
                      <a:pt x="20328" y="47823"/>
                    </a:cubicBezTo>
                    <a:lnTo>
                      <a:pt x="4407" y="56007"/>
                    </a:lnTo>
                    <a:cubicBezTo>
                      <a:pt x="3365" y="56453"/>
                      <a:pt x="2026" y="56305"/>
                      <a:pt x="1133" y="55561"/>
                    </a:cubicBezTo>
                    <a:cubicBezTo>
                      <a:pt x="241" y="54817"/>
                      <a:pt x="-206" y="53626"/>
                      <a:pt x="92" y="52436"/>
                    </a:cubicBezTo>
                    <a:lnTo>
                      <a:pt x="14377" y="2142"/>
                    </a:lnTo>
                    <a:cubicBezTo>
                      <a:pt x="14525" y="1398"/>
                      <a:pt x="15121" y="803"/>
                      <a:pt x="15716" y="356"/>
                    </a:cubicBezTo>
                    <a:cubicBezTo>
                      <a:pt x="16460" y="-90"/>
                      <a:pt x="17353" y="-90"/>
                      <a:pt x="18097" y="207"/>
                    </a:cubicBezTo>
                    <a:lnTo>
                      <a:pt x="67051" y="15385"/>
                    </a:lnTo>
                    <a:cubicBezTo>
                      <a:pt x="68242" y="15683"/>
                      <a:pt x="68986" y="16724"/>
                      <a:pt x="69135" y="17914"/>
                    </a:cubicBezTo>
                    <a:cubicBezTo>
                      <a:pt x="69283" y="19105"/>
                      <a:pt x="68688" y="20146"/>
                      <a:pt x="67647" y="20742"/>
                    </a:cubicBezTo>
                    <a:lnTo>
                      <a:pt x="50386" y="30562"/>
                    </a:lnTo>
                    <a:cubicBezTo>
                      <a:pt x="58272" y="42466"/>
                      <a:pt x="72855" y="49460"/>
                      <a:pt x="89818" y="49460"/>
                    </a:cubicBezTo>
                    <a:cubicBezTo>
                      <a:pt x="109310" y="49460"/>
                      <a:pt x="131630" y="39490"/>
                      <a:pt x="137582" y="17319"/>
                    </a:cubicBezTo>
                    <a:cubicBezTo>
                      <a:pt x="138475" y="14195"/>
                      <a:pt x="140707" y="12111"/>
                      <a:pt x="143385" y="12111"/>
                    </a:cubicBezTo>
                    <a:cubicBezTo>
                      <a:pt x="144725" y="12111"/>
                      <a:pt x="146213" y="12855"/>
                      <a:pt x="147105" y="13897"/>
                    </a:cubicBezTo>
                    <a:cubicBezTo>
                      <a:pt x="148296" y="15236"/>
                      <a:pt x="148742" y="17171"/>
                      <a:pt x="148444" y="19254"/>
                    </a:cubicBezTo>
                    <a:cubicBezTo>
                      <a:pt x="143088" y="61661"/>
                      <a:pt x="108864" y="81005"/>
                      <a:pt x="79253" y="81005"/>
                    </a:cubicBezTo>
                    <a:close/>
                    <a:moveTo>
                      <a:pt x="21370" y="40978"/>
                    </a:moveTo>
                    <a:cubicBezTo>
                      <a:pt x="22412" y="40978"/>
                      <a:pt x="23453" y="41425"/>
                      <a:pt x="24048" y="42466"/>
                    </a:cubicBezTo>
                    <a:cubicBezTo>
                      <a:pt x="35804" y="63149"/>
                      <a:pt x="56040" y="75053"/>
                      <a:pt x="79253" y="75053"/>
                    </a:cubicBezTo>
                    <a:cubicBezTo>
                      <a:pt x="104995" y="75053"/>
                      <a:pt x="134755" y="58983"/>
                      <a:pt x="141749" y="23866"/>
                    </a:cubicBezTo>
                    <a:cubicBezTo>
                      <a:pt x="133118" y="45591"/>
                      <a:pt x="110054" y="55412"/>
                      <a:pt x="89818" y="55412"/>
                    </a:cubicBezTo>
                    <a:cubicBezTo>
                      <a:pt x="69432" y="55412"/>
                      <a:pt x="52171" y="46335"/>
                      <a:pt x="43541" y="31009"/>
                    </a:cubicBezTo>
                    <a:cubicBezTo>
                      <a:pt x="42797" y="29521"/>
                      <a:pt x="43244" y="27735"/>
                      <a:pt x="44732" y="26991"/>
                    </a:cubicBezTo>
                    <a:lnTo>
                      <a:pt x="58719" y="18956"/>
                    </a:lnTo>
                    <a:lnTo>
                      <a:pt x="19287" y="6755"/>
                    </a:lnTo>
                    <a:lnTo>
                      <a:pt x="7681" y="47526"/>
                    </a:lnTo>
                    <a:lnTo>
                      <a:pt x="20031" y="41276"/>
                    </a:lnTo>
                    <a:cubicBezTo>
                      <a:pt x="20477" y="40978"/>
                      <a:pt x="20924" y="40978"/>
                      <a:pt x="21370" y="40978"/>
                    </a:cubicBezTo>
                    <a:close/>
                  </a:path>
                </a:pathLst>
              </a:custGeom>
              <a:grpFill/>
              <a:ln w="14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6" name="Freeform: Shape 145">
                <a:extLst>
                  <a:ext uri="{FF2B5EF4-FFF2-40B4-BE49-F238E27FC236}">
                    <a16:creationId xmlns:a16="http://schemas.microsoft.com/office/drawing/2014/main" id="{43A47B09-2765-4B19-DC70-9A41B2A81CCD}"/>
                  </a:ext>
                </a:extLst>
              </p:cNvPr>
              <p:cNvSpPr/>
              <p:nvPr/>
            </p:nvSpPr>
            <p:spPr>
              <a:xfrm>
                <a:off x="10284360" y="1358865"/>
                <a:ext cx="66723" cy="66861"/>
              </a:xfrm>
              <a:custGeom>
                <a:avLst/>
                <a:gdLst>
                  <a:gd name="csX0" fmla="*/ 63737 w 66723"/>
                  <a:gd name="csY0" fmla="*/ 66862 h 66861"/>
                  <a:gd name="csX1" fmla="*/ 51 w 66723"/>
                  <a:gd name="csY1" fmla="*/ 3622 h 66861"/>
                  <a:gd name="csX2" fmla="*/ 2431 w 66723"/>
                  <a:gd name="csY2" fmla="*/ 51 h 66861"/>
                  <a:gd name="csX3" fmla="*/ 6003 w 66723"/>
                  <a:gd name="csY3" fmla="*/ 2283 h 66861"/>
                  <a:gd name="csX4" fmla="*/ 63885 w 66723"/>
                  <a:gd name="csY4" fmla="*/ 60910 h 66861"/>
                  <a:gd name="csX5" fmla="*/ 66713 w 66723"/>
                  <a:gd name="csY5" fmla="*/ 64034 h 66861"/>
                  <a:gd name="csX6" fmla="*/ 63737 w 66723"/>
                  <a:gd name="csY6" fmla="*/ 66862 h 66861"/>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66723" h="66861">
                    <a:moveTo>
                      <a:pt x="63737" y="66862"/>
                    </a:moveTo>
                    <a:cubicBezTo>
                      <a:pt x="13740" y="64927"/>
                      <a:pt x="199" y="4217"/>
                      <a:pt x="51" y="3622"/>
                    </a:cubicBezTo>
                    <a:cubicBezTo>
                      <a:pt x="-247" y="1985"/>
                      <a:pt x="795" y="348"/>
                      <a:pt x="2431" y="51"/>
                    </a:cubicBezTo>
                    <a:cubicBezTo>
                      <a:pt x="4068" y="-247"/>
                      <a:pt x="5556" y="795"/>
                      <a:pt x="6003" y="2283"/>
                    </a:cubicBezTo>
                    <a:cubicBezTo>
                      <a:pt x="6003" y="2878"/>
                      <a:pt x="18651" y="59124"/>
                      <a:pt x="63885" y="60910"/>
                    </a:cubicBezTo>
                    <a:cubicBezTo>
                      <a:pt x="65522" y="60910"/>
                      <a:pt x="66861" y="62249"/>
                      <a:pt x="66713" y="64034"/>
                    </a:cubicBezTo>
                    <a:cubicBezTo>
                      <a:pt x="66713" y="65522"/>
                      <a:pt x="65373" y="66862"/>
                      <a:pt x="63737" y="66862"/>
                    </a:cubicBezTo>
                    <a:close/>
                  </a:path>
                </a:pathLst>
              </a:custGeom>
              <a:grpFill/>
              <a:ln w="14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47" name="Freeform: Shape 146">
                <a:extLst>
                  <a:ext uri="{FF2B5EF4-FFF2-40B4-BE49-F238E27FC236}">
                    <a16:creationId xmlns:a16="http://schemas.microsoft.com/office/drawing/2014/main" id="{11F850AC-B11A-3DDF-2B51-4101B8F0A0F9}"/>
                  </a:ext>
                </a:extLst>
              </p:cNvPr>
              <p:cNvSpPr/>
              <p:nvPr/>
            </p:nvSpPr>
            <p:spPr>
              <a:xfrm>
                <a:off x="10314784" y="1268744"/>
                <a:ext cx="96849" cy="88237"/>
              </a:xfrm>
              <a:custGeom>
                <a:avLst/>
                <a:gdLst>
                  <a:gd name="csX0" fmla="*/ 80184 w 96849"/>
                  <a:gd name="csY0" fmla="*/ 88238 h 88237"/>
                  <a:gd name="csX1" fmla="*/ 79887 w 96849"/>
                  <a:gd name="csY1" fmla="*/ 88238 h 88237"/>
                  <a:gd name="csX2" fmla="*/ 16647 w 96849"/>
                  <a:gd name="csY2" fmla="*/ 88238 h 88237"/>
                  <a:gd name="csX3" fmla="*/ 2214 w 96849"/>
                  <a:gd name="csY3" fmla="*/ 79905 h 88237"/>
                  <a:gd name="csX4" fmla="*/ 2363 w 96849"/>
                  <a:gd name="csY4" fmla="*/ 63537 h 88237"/>
                  <a:gd name="csX5" fmla="*/ 34206 w 96849"/>
                  <a:gd name="csY5" fmla="*/ 8184 h 88237"/>
                  <a:gd name="csX6" fmla="*/ 48341 w 96849"/>
                  <a:gd name="csY6" fmla="*/ 0 h 88237"/>
                  <a:gd name="csX7" fmla="*/ 62626 w 96849"/>
                  <a:gd name="csY7" fmla="*/ 8184 h 88237"/>
                  <a:gd name="csX8" fmla="*/ 94618 w 96849"/>
                  <a:gd name="csY8" fmla="*/ 63537 h 88237"/>
                  <a:gd name="csX9" fmla="*/ 94618 w 96849"/>
                  <a:gd name="csY9" fmla="*/ 80054 h 88237"/>
                  <a:gd name="csX10" fmla="*/ 80184 w 96849"/>
                  <a:gd name="csY10" fmla="*/ 88238 h 88237"/>
                  <a:gd name="csX11" fmla="*/ 79887 w 96849"/>
                  <a:gd name="csY11" fmla="*/ 82286 h 88237"/>
                  <a:gd name="csX12" fmla="*/ 80184 w 96849"/>
                  <a:gd name="csY12" fmla="*/ 82286 h 88237"/>
                  <a:gd name="csX13" fmla="*/ 89410 w 96849"/>
                  <a:gd name="csY13" fmla="*/ 77078 h 88237"/>
                  <a:gd name="csX14" fmla="*/ 89410 w 96849"/>
                  <a:gd name="csY14" fmla="*/ 66513 h 88237"/>
                  <a:gd name="csX15" fmla="*/ 57567 w 96849"/>
                  <a:gd name="csY15" fmla="*/ 11160 h 88237"/>
                  <a:gd name="csX16" fmla="*/ 48490 w 96849"/>
                  <a:gd name="csY16" fmla="*/ 5952 h 88237"/>
                  <a:gd name="csX17" fmla="*/ 39413 w 96849"/>
                  <a:gd name="csY17" fmla="*/ 11160 h 88237"/>
                  <a:gd name="csX18" fmla="*/ 7422 w 96849"/>
                  <a:gd name="csY18" fmla="*/ 66513 h 88237"/>
                  <a:gd name="csX19" fmla="*/ 7422 w 96849"/>
                  <a:gd name="csY19" fmla="*/ 77078 h 88237"/>
                  <a:gd name="csX20" fmla="*/ 16647 w 96849"/>
                  <a:gd name="csY20" fmla="*/ 82286 h 88237"/>
                  <a:gd name="csX21" fmla="*/ 16945 w 96849"/>
                  <a:gd name="csY21" fmla="*/ 82286 h 8823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Lst>
                <a:rect l="l" t="t" r="r" b="b"/>
                <a:pathLst>
                  <a:path w="96849" h="88237">
                    <a:moveTo>
                      <a:pt x="80184" y="88238"/>
                    </a:moveTo>
                    <a:lnTo>
                      <a:pt x="79887" y="88238"/>
                    </a:lnTo>
                    <a:lnTo>
                      <a:pt x="16647" y="88238"/>
                    </a:lnTo>
                    <a:cubicBezTo>
                      <a:pt x="10546" y="88238"/>
                      <a:pt x="5190" y="85113"/>
                      <a:pt x="2214" y="79905"/>
                    </a:cubicBezTo>
                    <a:cubicBezTo>
                      <a:pt x="-762" y="74846"/>
                      <a:pt x="-762" y="68596"/>
                      <a:pt x="2363" y="63537"/>
                    </a:cubicBezTo>
                    <a:lnTo>
                      <a:pt x="34206" y="8184"/>
                    </a:lnTo>
                    <a:cubicBezTo>
                      <a:pt x="37182" y="3125"/>
                      <a:pt x="42389" y="0"/>
                      <a:pt x="48341" y="0"/>
                    </a:cubicBezTo>
                    <a:cubicBezTo>
                      <a:pt x="54442" y="0"/>
                      <a:pt x="59799" y="3125"/>
                      <a:pt x="62626" y="8184"/>
                    </a:cubicBezTo>
                    <a:lnTo>
                      <a:pt x="94618" y="63537"/>
                    </a:lnTo>
                    <a:cubicBezTo>
                      <a:pt x="97594" y="68596"/>
                      <a:pt x="97594" y="74846"/>
                      <a:pt x="94618" y="80054"/>
                    </a:cubicBezTo>
                    <a:cubicBezTo>
                      <a:pt x="91642" y="85113"/>
                      <a:pt x="86285" y="88238"/>
                      <a:pt x="80184" y="88238"/>
                    </a:cubicBezTo>
                    <a:close/>
                    <a:moveTo>
                      <a:pt x="79887" y="82286"/>
                    </a:moveTo>
                    <a:lnTo>
                      <a:pt x="80184" y="82286"/>
                    </a:lnTo>
                    <a:cubicBezTo>
                      <a:pt x="84202" y="82286"/>
                      <a:pt x="87476" y="80351"/>
                      <a:pt x="89410" y="77078"/>
                    </a:cubicBezTo>
                    <a:cubicBezTo>
                      <a:pt x="91344" y="73656"/>
                      <a:pt x="91344" y="69787"/>
                      <a:pt x="89410" y="66513"/>
                    </a:cubicBezTo>
                    <a:lnTo>
                      <a:pt x="57567" y="11160"/>
                    </a:lnTo>
                    <a:cubicBezTo>
                      <a:pt x="55633" y="7886"/>
                      <a:pt x="52210" y="5952"/>
                      <a:pt x="48490" y="5952"/>
                    </a:cubicBezTo>
                    <a:cubicBezTo>
                      <a:pt x="44621" y="5952"/>
                      <a:pt x="41199" y="7886"/>
                      <a:pt x="39413" y="11160"/>
                    </a:cubicBezTo>
                    <a:lnTo>
                      <a:pt x="7422" y="66513"/>
                    </a:lnTo>
                    <a:cubicBezTo>
                      <a:pt x="5487" y="69787"/>
                      <a:pt x="5487" y="73656"/>
                      <a:pt x="7422" y="77078"/>
                    </a:cubicBezTo>
                    <a:cubicBezTo>
                      <a:pt x="9356" y="80351"/>
                      <a:pt x="12778" y="82286"/>
                      <a:pt x="16647" y="82286"/>
                    </a:cubicBezTo>
                    <a:lnTo>
                      <a:pt x="16945" y="82286"/>
                    </a:lnTo>
                    <a:close/>
                  </a:path>
                </a:pathLst>
              </a:custGeom>
              <a:grpFill/>
              <a:ln w="14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148" name="Group 147">
            <a:extLst>
              <a:ext uri="{FF2B5EF4-FFF2-40B4-BE49-F238E27FC236}">
                <a16:creationId xmlns:a16="http://schemas.microsoft.com/office/drawing/2014/main" id="{84F5813C-6463-FB01-7C4B-E4292313489A}"/>
              </a:ext>
            </a:extLst>
          </p:cNvPr>
          <p:cNvGrpSpPr/>
          <p:nvPr/>
        </p:nvGrpSpPr>
        <p:grpSpPr>
          <a:xfrm>
            <a:off x="7936609" y="4636736"/>
            <a:ext cx="457200" cy="457200"/>
            <a:chOff x="7936609" y="5270076"/>
            <a:chExt cx="457200" cy="457200"/>
          </a:xfrm>
        </p:grpSpPr>
        <p:sp>
          <p:nvSpPr>
            <p:cNvPr id="149" name="Oval 148">
              <a:extLst>
                <a:ext uri="{FF2B5EF4-FFF2-40B4-BE49-F238E27FC236}">
                  <a16:creationId xmlns:a16="http://schemas.microsoft.com/office/drawing/2014/main" id="{B015C961-5AC8-7702-414B-1C9588572828}"/>
                </a:ext>
              </a:extLst>
            </p:cNvPr>
            <p:cNvSpPr>
              <a:spLocks noChangeAspect="1"/>
            </p:cNvSpPr>
            <p:nvPr/>
          </p:nvSpPr>
          <p:spPr>
            <a:xfrm>
              <a:off x="7936609" y="5270076"/>
              <a:ext cx="457200" cy="4572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rgbClr val="4A4A45"/>
                </a:solidFill>
              </a:endParaRPr>
            </a:p>
          </p:txBody>
        </p:sp>
        <p:grpSp>
          <p:nvGrpSpPr>
            <p:cNvPr id="150" name="Group 149">
              <a:extLst>
                <a:ext uri="{FF2B5EF4-FFF2-40B4-BE49-F238E27FC236}">
                  <a16:creationId xmlns:a16="http://schemas.microsoft.com/office/drawing/2014/main" id="{48F56B0B-8157-1DE8-84F9-60313B9FD7C3}"/>
                </a:ext>
              </a:extLst>
            </p:cNvPr>
            <p:cNvGrpSpPr>
              <a:grpSpLocks noChangeAspect="1"/>
            </p:cNvGrpSpPr>
            <p:nvPr/>
          </p:nvGrpSpPr>
          <p:grpSpPr>
            <a:xfrm>
              <a:off x="8043065" y="5371672"/>
              <a:ext cx="244289" cy="254008"/>
              <a:chOff x="10241211" y="1525579"/>
              <a:chExt cx="244289" cy="254008"/>
            </a:xfrm>
            <a:solidFill>
              <a:schemeClr val="bg1"/>
            </a:solidFill>
          </p:grpSpPr>
          <p:sp>
            <p:nvSpPr>
              <p:cNvPr id="151" name="Freeform: Shape 150">
                <a:extLst>
                  <a:ext uri="{FF2B5EF4-FFF2-40B4-BE49-F238E27FC236}">
                    <a16:creationId xmlns:a16="http://schemas.microsoft.com/office/drawing/2014/main" id="{6BC287C5-E6B9-001F-D3B5-DC9D586A764A}"/>
                  </a:ext>
                </a:extLst>
              </p:cNvPr>
              <p:cNvSpPr/>
              <p:nvPr/>
            </p:nvSpPr>
            <p:spPr>
              <a:xfrm>
                <a:off x="10241211" y="1525579"/>
                <a:ext cx="244289" cy="111162"/>
              </a:xfrm>
              <a:custGeom>
                <a:avLst/>
                <a:gdLst>
                  <a:gd name="csX0" fmla="*/ 6895 w 244289"/>
                  <a:gd name="csY0" fmla="*/ 101252 h 111162"/>
                  <a:gd name="csX1" fmla="*/ 91786 w 244289"/>
                  <a:gd name="csY1" fmla="*/ 40411 h 111162"/>
                  <a:gd name="csX2" fmla="*/ 171439 w 244289"/>
                  <a:gd name="csY2" fmla="*/ 76526 h 111162"/>
                  <a:gd name="csX3" fmla="*/ 163502 w 244289"/>
                  <a:gd name="csY3" fmla="*/ 84464 h 111162"/>
                  <a:gd name="csX4" fmla="*/ 163789 w 244289"/>
                  <a:gd name="csY4" fmla="*/ 90069 h 111162"/>
                  <a:gd name="csX5" fmla="*/ 165208 w 244289"/>
                  <a:gd name="csY5" fmla="*/ 90893 h 111162"/>
                  <a:gd name="csX6" fmla="*/ 239265 w 244289"/>
                  <a:gd name="csY6" fmla="*/ 111134 h 111162"/>
                  <a:gd name="csX7" fmla="*/ 240297 w 244289"/>
                  <a:gd name="csY7" fmla="*/ 111134 h 111162"/>
                  <a:gd name="csX8" fmla="*/ 244290 w 244289"/>
                  <a:gd name="csY8" fmla="*/ 107189 h 111162"/>
                  <a:gd name="csX9" fmla="*/ 244266 w 244289"/>
                  <a:gd name="csY9" fmla="*/ 106728 h 111162"/>
                  <a:gd name="csX10" fmla="*/ 232836 w 244289"/>
                  <a:gd name="csY10" fmla="*/ 31163 h 111162"/>
                  <a:gd name="csX11" fmla="*/ 230216 w 244289"/>
                  <a:gd name="csY11" fmla="*/ 28068 h 111162"/>
                  <a:gd name="csX12" fmla="*/ 226248 w 244289"/>
                  <a:gd name="csY12" fmla="*/ 29020 h 111162"/>
                  <a:gd name="csX13" fmla="*/ 218667 w 244289"/>
                  <a:gd name="csY13" fmla="*/ 36640 h 111162"/>
                  <a:gd name="csX14" fmla="*/ 91826 w 244289"/>
                  <a:gd name="csY14" fmla="*/ 3620 h 111162"/>
                  <a:gd name="csX15" fmla="*/ 188 w 244289"/>
                  <a:gd name="csY15" fmla="*/ 97362 h 111162"/>
                  <a:gd name="csX16" fmla="*/ 2768 w 244289"/>
                  <a:gd name="csY16" fmla="*/ 102347 h 111162"/>
                  <a:gd name="csX17" fmla="*/ 6815 w 244289"/>
                  <a:gd name="csY17" fmla="*/ 101331 h 111162"/>
                  <a:gd name="csX18" fmla="*/ 93890 w 244289"/>
                  <a:gd name="csY18" fmla="*/ 11042 h 111162"/>
                  <a:gd name="csX19" fmla="*/ 216921 w 244289"/>
                  <a:gd name="csY19" fmla="*/ 44776 h 111162"/>
                  <a:gd name="csX20" fmla="*/ 221763 w 244289"/>
                  <a:gd name="csY20" fmla="*/ 44300 h 111162"/>
                  <a:gd name="csX21" fmla="*/ 226327 w 244289"/>
                  <a:gd name="csY21" fmla="*/ 39696 h 111162"/>
                  <a:gd name="csX22" fmla="*/ 235614 w 244289"/>
                  <a:gd name="csY22" fmla="*/ 102045 h 111162"/>
                  <a:gd name="csX23" fmla="*/ 173582 w 244289"/>
                  <a:gd name="csY23" fmla="*/ 85297 h 111162"/>
                  <a:gd name="csX24" fmla="*/ 179575 w 244289"/>
                  <a:gd name="csY24" fmla="*/ 79384 h 111162"/>
                  <a:gd name="csX25" fmla="*/ 179575 w 244289"/>
                  <a:gd name="csY25" fmla="*/ 73946 h 111162"/>
                  <a:gd name="csX26" fmla="*/ 91072 w 244289"/>
                  <a:gd name="csY26" fmla="*/ 32751 h 111162"/>
                  <a:gd name="csX27" fmla="*/ 25826 w 244289"/>
                  <a:gd name="csY27" fmla="*/ 66922 h 111162"/>
                  <a:gd name="csX28" fmla="*/ 93890 w 244289"/>
                  <a:gd name="csY28" fmla="*/ 11042 h 11116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Lst>
                <a:rect l="l" t="t" r="r" b="b"/>
                <a:pathLst>
                  <a:path w="244289" h="111162">
                    <a:moveTo>
                      <a:pt x="6895" y="101252"/>
                    </a:moveTo>
                    <a:cubicBezTo>
                      <a:pt x="34438" y="63231"/>
                      <a:pt x="63013" y="42792"/>
                      <a:pt x="91786" y="40411"/>
                    </a:cubicBezTo>
                    <a:cubicBezTo>
                      <a:pt x="117345" y="38307"/>
                      <a:pt x="144134" y="50451"/>
                      <a:pt x="171439" y="76526"/>
                    </a:cubicBezTo>
                    <a:lnTo>
                      <a:pt x="163502" y="84464"/>
                    </a:lnTo>
                    <a:cubicBezTo>
                      <a:pt x="162033" y="86091"/>
                      <a:pt x="162161" y="88600"/>
                      <a:pt x="163789" y="90069"/>
                    </a:cubicBezTo>
                    <a:cubicBezTo>
                      <a:pt x="164199" y="90440"/>
                      <a:pt x="164683" y="90720"/>
                      <a:pt x="165208" y="90893"/>
                    </a:cubicBezTo>
                    <a:lnTo>
                      <a:pt x="239265" y="111134"/>
                    </a:lnTo>
                    <a:cubicBezTo>
                      <a:pt x="239608" y="111173"/>
                      <a:pt x="239954" y="111173"/>
                      <a:pt x="240297" y="111134"/>
                    </a:cubicBezTo>
                    <a:cubicBezTo>
                      <a:pt x="242489" y="111147"/>
                      <a:pt x="244276" y="109381"/>
                      <a:pt x="244290" y="107189"/>
                    </a:cubicBezTo>
                    <a:cubicBezTo>
                      <a:pt x="244291" y="107035"/>
                      <a:pt x="244283" y="106881"/>
                      <a:pt x="244266" y="106728"/>
                    </a:cubicBezTo>
                    <a:lnTo>
                      <a:pt x="232836" y="31163"/>
                    </a:lnTo>
                    <a:cubicBezTo>
                      <a:pt x="232595" y="29730"/>
                      <a:pt x="231590" y="28542"/>
                      <a:pt x="230216" y="28068"/>
                    </a:cubicBezTo>
                    <a:cubicBezTo>
                      <a:pt x="228819" y="27629"/>
                      <a:pt x="227293" y="27995"/>
                      <a:pt x="226248" y="29020"/>
                    </a:cubicBezTo>
                    <a:lnTo>
                      <a:pt x="218667" y="36640"/>
                    </a:lnTo>
                    <a:cubicBezTo>
                      <a:pt x="169613" y="4374"/>
                      <a:pt x="128259" y="-6421"/>
                      <a:pt x="91826" y="3620"/>
                    </a:cubicBezTo>
                    <a:cubicBezTo>
                      <a:pt x="55393" y="13661"/>
                      <a:pt x="24833" y="45133"/>
                      <a:pt x="188" y="97362"/>
                    </a:cubicBezTo>
                    <a:cubicBezTo>
                      <a:pt x="-476" y="99451"/>
                      <a:pt x="679" y="101683"/>
                      <a:pt x="2768" y="102347"/>
                    </a:cubicBezTo>
                    <a:cubicBezTo>
                      <a:pt x="4200" y="102802"/>
                      <a:pt x="5767" y="102409"/>
                      <a:pt x="6815" y="101331"/>
                    </a:cubicBezTo>
                    <a:close/>
                    <a:moveTo>
                      <a:pt x="93890" y="11042"/>
                    </a:moveTo>
                    <a:cubicBezTo>
                      <a:pt x="128656" y="1477"/>
                      <a:pt x="168939" y="12471"/>
                      <a:pt x="216921" y="44776"/>
                    </a:cubicBezTo>
                    <a:cubicBezTo>
                      <a:pt x="218454" y="45741"/>
                      <a:pt x="220447" y="45545"/>
                      <a:pt x="221763" y="44300"/>
                    </a:cubicBezTo>
                    <a:lnTo>
                      <a:pt x="226327" y="39696"/>
                    </a:lnTo>
                    <a:lnTo>
                      <a:pt x="235614" y="102045"/>
                    </a:lnTo>
                    <a:lnTo>
                      <a:pt x="173582" y="85297"/>
                    </a:lnTo>
                    <a:lnTo>
                      <a:pt x="179575" y="79384"/>
                    </a:lnTo>
                    <a:cubicBezTo>
                      <a:pt x="181011" y="77856"/>
                      <a:pt x="181011" y="75474"/>
                      <a:pt x="179575" y="73946"/>
                    </a:cubicBezTo>
                    <a:cubicBezTo>
                      <a:pt x="149770" y="44181"/>
                      <a:pt x="119845" y="30370"/>
                      <a:pt x="91072" y="32751"/>
                    </a:cubicBezTo>
                    <a:cubicBezTo>
                      <a:pt x="68887" y="34576"/>
                      <a:pt x="47058" y="46046"/>
                      <a:pt x="25826" y="66922"/>
                    </a:cubicBezTo>
                    <a:cubicBezTo>
                      <a:pt x="45630" y="36839"/>
                      <a:pt x="68410" y="18066"/>
                      <a:pt x="93890" y="11042"/>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52" name="Freeform: Shape 151">
                <a:extLst>
                  <a:ext uri="{FF2B5EF4-FFF2-40B4-BE49-F238E27FC236}">
                    <a16:creationId xmlns:a16="http://schemas.microsoft.com/office/drawing/2014/main" id="{A2AC3EFC-6C12-6477-E636-48A5A7FD5ACB}"/>
                  </a:ext>
                </a:extLst>
              </p:cNvPr>
              <p:cNvSpPr/>
              <p:nvPr/>
            </p:nvSpPr>
            <p:spPr>
              <a:xfrm>
                <a:off x="10241871" y="1657800"/>
                <a:ext cx="242633" cy="121787"/>
              </a:xfrm>
              <a:custGeom>
                <a:avLst/>
                <a:gdLst>
                  <a:gd name="csX0" fmla="*/ 235907 w 242633"/>
                  <a:gd name="csY0" fmla="*/ 30268 h 121787"/>
                  <a:gd name="csX1" fmla="*/ 146015 w 242633"/>
                  <a:gd name="csY1" fmla="*/ 83489 h 121787"/>
                  <a:gd name="csX2" fmla="*/ 69815 w 242633"/>
                  <a:gd name="csY2" fmla="*/ 40587 h 121787"/>
                  <a:gd name="csX3" fmla="*/ 78466 w 242633"/>
                  <a:gd name="csY3" fmla="*/ 33324 h 121787"/>
                  <a:gd name="csX4" fmla="*/ 78655 w 242633"/>
                  <a:gd name="csY4" fmla="*/ 27715 h 121787"/>
                  <a:gd name="csX5" fmla="*/ 77316 w 242633"/>
                  <a:gd name="csY5" fmla="*/ 26776 h 121787"/>
                  <a:gd name="csX6" fmla="*/ 5164 w 242633"/>
                  <a:gd name="csY6" fmla="*/ 185 h 121787"/>
                  <a:gd name="csX7" fmla="*/ 184 w 242633"/>
                  <a:gd name="csY7" fmla="*/ 2775 h 121787"/>
                  <a:gd name="csX8" fmla="*/ 4 w 242633"/>
                  <a:gd name="csY8" fmla="*/ 4154 h 121787"/>
                  <a:gd name="csX9" fmla="*/ 4608 w 242633"/>
                  <a:gd name="csY9" fmla="*/ 80433 h 121787"/>
                  <a:gd name="csX10" fmla="*/ 6950 w 242633"/>
                  <a:gd name="csY10" fmla="*/ 83727 h 121787"/>
                  <a:gd name="csX11" fmla="*/ 10918 w 242633"/>
                  <a:gd name="csY11" fmla="*/ 83132 h 121787"/>
                  <a:gd name="csX12" fmla="*/ 19173 w 242633"/>
                  <a:gd name="csY12" fmla="*/ 76226 h 121787"/>
                  <a:gd name="csX13" fmla="*/ 124504 w 242633"/>
                  <a:gd name="csY13" fmla="*/ 121788 h 121787"/>
                  <a:gd name="csX14" fmla="*/ 142681 w 242633"/>
                  <a:gd name="csY14" fmla="*/ 120121 h 121787"/>
                  <a:gd name="csX15" fmla="*/ 242138 w 242633"/>
                  <a:gd name="csY15" fmla="*/ 34753 h 121787"/>
                  <a:gd name="csX16" fmla="*/ 241066 w 242633"/>
                  <a:gd name="csY16" fmla="*/ 29673 h 121787"/>
                  <a:gd name="csX17" fmla="*/ 235907 w 242633"/>
                  <a:gd name="csY17" fmla="*/ 30268 h 121787"/>
                  <a:gd name="csX18" fmla="*/ 141173 w 242633"/>
                  <a:gd name="csY18" fmla="*/ 112580 h 121787"/>
                  <a:gd name="csX19" fmla="*/ 21436 w 242633"/>
                  <a:gd name="csY19" fmla="*/ 68249 h 121787"/>
                  <a:gd name="csX20" fmla="*/ 19015 w 242633"/>
                  <a:gd name="csY20" fmla="*/ 67416 h 121787"/>
                  <a:gd name="csX21" fmla="*/ 16554 w 242633"/>
                  <a:gd name="csY21" fmla="*/ 68289 h 121787"/>
                  <a:gd name="csX22" fmla="*/ 11712 w 242633"/>
                  <a:gd name="csY22" fmla="*/ 72258 h 121787"/>
                  <a:gd name="csX23" fmla="*/ 7743 w 242633"/>
                  <a:gd name="csY23" fmla="*/ 9353 h 121787"/>
                  <a:gd name="csX24" fmla="*/ 68426 w 242633"/>
                  <a:gd name="csY24" fmla="*/ 31697 h 121787"/>
                  <a:gd name="csX25" fmla="*/ 61798 w 242633"/>
                  <a:gd name="csY25" fmla="*/ 37214 h 121787"/>
                  <a:gd name="csX26" fmla="*/ 60448 w 242633"/>
                  <a:gd name="csY26" fmla="*/ 39833 h 121787"/>
                  <a:gd name="csX27" fmla="*/ 61321 w 242633"/>
                  <a:gd name="csY27" fmla="*/ 42651 h 121787"/>
                  <a:gd name="csX28" fmla="*/ 145896 w 242633"/>
                  <a:gd name="csY28" fmla="*/ 91189 h 121787"/>
                  <a:gd name="csX29" fmla="*/ 146292 w 242633"/>
                  <a:gd name="csY29" fmla="*/ 91189 h 121787"/>
                  <a:gd name="csX30" fmla="*/ 213761 w 242633"/>
                  <a:gd name="csY30" fmla="*/ 62812 h 121787"/>
                  <a:gd name="csX31" fmla="*/ 141173 w 242633"/>
                  <a:gd name="csY31" fmla="*/ 112580 h 12178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Lst>
                <a:rect l="l" t="t" r="r" b="b"/>
                <a:pathLst>
                  <a:path w="242633" h="121787">
                    <a:moveTo>
                      <a:pt x="235907" y="30268"/>
                    </a:moveTo>
                    <a:cubicBezTo>
                      <a:pt x="205149" y="65749"/>
                      <a:pt x="174947" y="83727"/>
                      <a:pt x="146015" y="83489"/>
                    </a:cubicBezTo>
                    <a:cubicBezTo>
                      <a:pt x="120376" y="83489"/>
                      <a:pt x="94738" y="68924"/>
                      <a:pt x="69815" y="40587"/>
                    </a:cubicBezTo>
                    <a:lnTo>
                      <a:pt x="78466" y="33324"/>
                    </a:lnTo>
                    <a:cubicBezTo>
                      <a:pt x="80068" y="31827"/>
                      <a:pt x="80152" y="29316"/>
                      <a:pt x="78655" y="27715"/>
                    </a:cubicBezTo>
                    <a:cubicBezTo>
                      <a:pt x="78278" y="27312"/>
                      <a:pt x="77822" y="26992"/>
                      <a:pt x="77316" y="26776"/>
                    </a:cubicBezTo>
                    <a:lnTo>
                      <a:pt x="5164" y="185"/>
                    </a:lnTo>
                    <a:cubicBezTo>
                      <a:pt x="3073" y="-475"/>
                      <a:pt x="844" y="685"/>
                      <a:pt x="184" y="2775"/>
                    </a:cubicBezTo>
                    <a:cubicBezTo>
                      <a:pt x="43" y="3220"/>
                      <a:pt x="-17" y="3687"/>
                      <a:pt x="4" y="4154"/>
                    </a:cubicBezTo>
                    <a:lnTo>
                      <a:pt x="4608" y="80433"/>
                    </a:lnTo>
                    <a:cubicBezTo>
                      <a:pt x="4729" y="81876"/>
                      <a:pt x="5627" y="83139"/>
                      <a:pt x="6950" y="83727"/>
                    </a:cubicBezTo>
                    <a:cubicBezTo>
                      <a:pt x="8276" y="84318"/>
                      <a:pt x="9824" y="84086"/>
                      <a:pt x="10918" y="83132"/>
                    </a:cubicBezTo>
                    <a:lnTo>
                      <a:pt x="19173" y="76226"/>
                    </a:lnTo>
                    <a:cubicBezTo>
                      <a:pt x="57829" y="106746"/>
                      <a:pt x="92397" y="121788"/>
                      <a:pt x="124504" y="121788"/>
                    </a:cubicBezTo>
                    <a:cubicBezTo>
                      <a:pt x="130601" y="121793"/>
                      <a:pt x="136686" y="121235"/>
                      <a:pt x="142681" y="120121"/>
                    </a:cubicBezTo>
                    <a:cubicBezTo>
                      <a:pt x="179590" y="113334"/>
                      <a:pt x="213047" y="84601"/>
                      <a:pt x="242138" y="34753"/>
                    </a:cubicBezTo>
                    <a:cubicBezTo>
                      <a:pt x="243091" y="33028"/>
                      <a:pt x="242635" y="30865"/>
                      <a:pt x="241066" y="29673"/>
                    </a:cubicBezTo>
                    <a:cubicBezTo>
                      <a:pt x="239437" y="28562"/>
                      <a:pt x="237240" y="28816"/>
                      <a:pt x="235907" y="30268"/>
                    </a:cubicBezTo>
                    <a:close/>
                    <a:moveTo>
                      <a:pt x="141173" y="112580"/>
                    </a:moveTo>
                    <a:cubicBezTo>
                      <a:pt x="105692" y="119089"/>
                      <a:pt x="66521" y="104643"/>
                      <a:pt x="21436" y="68249"/>
                    </a:cubicBezTo>
                    <a:cubicBezTo>
                      <a:pt x="20743" y="67712"/>
                      <a:pt x="19891" y="67419"/>
                      <a:pt x="19015" y="67416"/>
                    </a:cubicBezTo>
                    <a:cubicBezTo>
                      <a:pt x="18119" y="67421"/>
                      <a:pt x="17252" y="67729"/>
                      <a:pt x="16554" y="68289"/>
                    </a:cubicBezTo>
                    <a:lnTo>
                      <a:pt x="11712" y="72258"/>
                    </a:lnTo>
                    <a:lnTo>
                      <a:pt x="7743" y="9353"/>
                    </a:lnTo>
                    <a:lnTo>
                      <a:pt x="68426" y="31697"/>
                    </a:lnTo>
                    <a:lnTo>
                      <a:pt x="61798" y="37214"/>
                    </a:lnTo>
                    <a:cubicBezTo>
                      <a:pt x="61004" y="37862"/>
                      <a:pt x="60515" y="38810"/>
                      <a:pt x="60448" y="39833"/>
                    </a:cubicBezTo>
                    <a:cubicBezTo>
                      <a:pt x="60367" y="40850"/>
                      <a:pt x="60679" y="41859"/>
                      <a:pt x="61321" y="42651"/>
                    </a:cubicBezTo>
                    <a:cubicBezTo>
                      <a:pt x="88587" y="74718"/>
                      <a:pt x="116884" y="91030"/>
                      <a:pt x="145896" y="91189"/>
                    </a:cubicBezTo>
                    <a:lnTo>
                      <a:pt x="146292" y="91189"/>
                    </a:lnTo>
                    <a:cubicBezTo>
                      <a:pt x="168438" y="91189"/>
                      <a:pt x="191060" y="81664"/>
                      <a:pt x="213761" y="62812"/>
                    </a:cubicBezTo>
                    <a:cubicBezTo>
                      <a:pt x="191616" y="91109"/>
                      <a:pt x="167287" y="107778"/>
                      <a:pt x="141173" y="112580"/>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53" name="Freeform: Shape 152">
                <a:extLst>
                  <a:ext uri="{FF2B5EF4-FFF2-40B4-BE49-F238E27FC236}">
                    <a16:creationId xmlns:a16="http://schemas.microsoft.com/office/drawing/2014/main" id="{40108B83-E247-FEC3-6AC5-AE514DDC5A8E}"/>
                  </a:ext>
                </a:extLst>
              </p:cNvPr>
              <p:cNvSpPr/>
              <p:nvPr/>
            </p:nvSpPr>
            <p:spPr>
              <a:xfrm>
                <a:off x="10334664" y="1645563"/>
                <a:ext cx="80645" cy="56435"/>
              </a:xfrm>
              <a:custGeom>
                <a:avLst/>
                <a:gdLst>
                  <a:gd name="csX0" fmla="*/ 0 w 80645"/>
                  <a:gd name="csY0" fmla="*/ 24606 h 56435"/>
                  <a:gd name="csX1" fmla="*/ 0 w 80645"/>
                  <a:gd name="csY1" fmla="*/ 50125 h 56435"/>
                  <a:gd name="csX2" fmla="*/ 6310 w 80645"/>
                  <a:gd name="csY2" fmla="*/ 56436 h 56435"/>
                  <a:gd name="csX3" fmla="*/ 74335 w 80645"/>
                  <a:gd name="csY3" fmla="*/ 56436 h 56435"/>
                  <a:gd name="csX4" fmla="*/ 80645 w 80645"/>
                  <a:gd name="csY4" fmla="*/ 50125 h 56435"/>
                  <a:gd name="csX5" fmla="*/ 80645 w 80645"/>
                  <a:gd name="csY5" fmla="*/ 24606 h 56435"/>
                  <a:gd name="csX6" fmla="*/ 55999 w 80645"/>
                  <a:gd name="csY6" fmla="*/ 0 h 56435"/>
                  <a:gd name="csX7" fmla="*/ 24567 w 80645"/>
                  <a:gd name="csY7" fmla="*/ 0 h 56435"/>
                  <a:gd name="csX8" fmla="*/ 0 w 80645"/>
                  <a:gd name="csY8" fmla="*/ 24606 h 56435"/>
                  <a:gd name="csX9" fmla="*/ 7699 w 80645"/>
                  <a:gd name="csY9" fmla="*/ 24606 h 56435"/>
                  <a:gd name="csX10" fmla="*/ 24567 w 80645"/>
                  <a:gd name="csY10" fmla="*/ 7699 h 56435"/>
                  <a:gd name="csX11" fmla="*/ 55959 w 80645"/>
                  <a:gd name="csY11" fmla="*/ 7699 h 56435"/>
                  <a:gd name="csX12" fmla="*/ 72906 w 80645"/>
                  <a:gd name="csY12" fmla="*/ 24606 h 56435"/>
                  <a:gd name="csX13" fmla="*/ 72906 w 80645"/>
                  <a:gd name="csY13" fmla="*/ 48736 h 56435"/>
                  <a:gd name="csX14" fmla="*/ 63540 w 80645"/>
                  <a:gd name="csY14" fmla="*/ 48736 h 56435"/>
                  <a:gd name="csX15" fmla="*/ 63540 w 80645"/>
                  <a:gd name="csY15" fmla="*/ 26868 h 56435"/>
                  <a:gd name="csX16" fmla="*/ 58725 w 80645"/>
                  <a:gd name="csY16" fmla="*/ 23984 h 56435"/>
                  <a:gd name="csX17" fmla="*/ 55840 w 80645"/>
                  <a:gd name="csY17" fmla="*/ 26868 h 56435"/>
                  <a:gd name="csX18" fmla="*/ 55840 w 80645"/>
                  <a:gd name="csY18" fmla="*/ 48935 h 56435"/>
                  <a:gd name="csX19" fmla="*/ 24805 w 80645"/>
                  <a:gd name="csY19" fmla="*/ 48935 h 56435"/>
                  <a:gd name="csX20" fmla="*/ 24805 w 80645"/>
                  <a:gd name="csY20" fmla="*/ 26868 h 56435"/>
                  <a:gd name="csX21" fmla="*/ 19990 w 80645"/>
                  <a:gd name="csY21" fmla="*/ 23984 h 56435"/>
                  <a:gd name="csX22" fmla="*/ 17105 w 80645"/>
                  <a:gd name="csY22" fmla="*/ 26868 h 56435"/>
                  <a:gd name="csX23" fmla="*/ 17105 w 80645"/>
                  <a:gd name="csY23" fmla="*/ 48935 h 56435"/>
                  <a:gd name="csX24" fmla="*/ 7699 w 80645"/>
                  <a:gd name="csY24" fmla="*/ 48935 h 5643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Lst>
                <a:rect l="l" t="t" r="r" b="b"/>
                <a:pathLst>
                  <a:path w="80645" h="56435">
                    <a:moveTo>
                      <a:pt x="0" y="24606"/>
                    </a:moveTo>
                    <a:lnTo>
                      <a:pt x="0" y="50125"/>
                    </a:lnTo>
                    <a:cubicBezTo>
                      <a:pt x="0" y="53610"/>
                      <a:pt x="2825" y="56436"/>
                      <a:pt x="6310" y="56436"/>
                    </a:cubicBezTo>
                    <a:lnTo>
                      <a:pt x="74335" y="56436"/>
                    </a:lnTo>
                    <a:cubicBezTo>
                      <a:pt x="77820" y="56436"/>
                      <a:pt x="80645" y="53610"/>
                      <a:pt x="80645" y="50125"/>
                    </a:cubicBezTo>
                    <a:lnTo>
                      <a:pt x="80645" y="24606"/>
                    </a:lnTo>
                    <a:cubicBezTo>
                      <a:pt x="80623" y="11010"/>
                      <a:pt x="69595" y="0"/>
                      <a:pt x="55999" y="0"/>
                    </a:cubicBezTo>
                    <a:lnTo>
                      <a:pt x="24567" y="0"/>
                    </a:lnTo>
                    <a:cubicBezTo>
                      <a:pt x="11001" y="44"/>
                      <a:pt x="22" y="11041"/>
                      <a:pt x="0" y="24606"/>
                    </a:cubicBezTo>
                    <a:close/>
                    <a:moveTo>
                      <a:pt x="7699" y="24606"/>
                    </a:moveTo>
                    <a:cubicBezTo>
                      <a:pt x="7699" y="15284"/>
                      <a:pt x="15245" y="7721"/>
                      <a:pt x="24567" y="7699"/>
                    </a:cubicBezTo>
                    <a:lnTo>
                      <a:pt x="55959" y="7699"/>
                    </a:lnTo>
                    <a:cubicBezTo>
                      <a:pt x="65303" y="7699"/>
                      <a:pt x="72884" y="15262"/>
                      <a:pt x="72906" y="24606"/>
                    </a:cubicBezTo>
                    <a:lnTo>
                      <a:pt x="72906" y="48736"/>
                    </a:lnTo>
                    <a:lnTo>
                      <a:pt x="63540" y="48736"/>
                    </a:lnTo>
                    <a:lnTo>
                      <a:pt x="63540" y="26868"/>
                    </a:lnTo>
                    <a:cubicBezTo>
                      <a:pt x="63007" y="24742"/>
                      <a:pt x="60851" y="23451"/>
                      <a:pt x="58725" y="23984"/>
                    </a:cubicBezTo>
                    <a:cubicBezTo>
                      <a:pt x="57305" y="24339"/>
                      <a:pt x="56196" y="25448"/>
                      <a:pt x="55840" y="26868"/>
                    </a:cubicBezTo>
                    <a:lnTo>
                      <a:pt x="55840" y="48935"/>
                    </a:lnTo>
                    <a:lnTo>
                      <a:pt x="24805" y="48935"/>
                    </a:lnTo>
                    <a:lnTo>
                      <a:pt x="24805" y="26868"/>
                    </a:lnTo>
                    <a:cubicBezTo>
                      <a:pt x="24272" y="24742"/>
                      <a:pt x="22116" y="23451"/>
                      <a:pt x="19990" y="23984"/>
                    </a:cubicBezTo>
                    <a:cubicBezTo>
                      <a:pt x="18570" y="24339"/>
                      <a:pt x="17461" y="25448"/>
                      <a:pt x="17105" y="26868"/>
                    </a:cubicBezTo>
                    <a:lnTo>
                      <a:pt x="17105" y="48935"/>
                    </a:lnTo>
                    <a:lnTo>
                      <a:pt x="7699" y="48935"/>
                    </a:ln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54" name="Freeform: Shape 153">
                <a:extLst>
                  <a:ext uri="{FF2B5EF4-FFF2-40B4-BE49-F238E27FC236}">
                    <a16:creationId xmlns:a16="http://schemas.microsoft.com/office/drawing/2014/main" id="{9E2A5933-35CF-BE9C-27E4-6C4635D43E62}"/>
                  </a:ext>
                </a:extLst>
              </p:cNvPr>
              <p:cNvSpPr/>
              <p:nvPr/>
            </p:nvSpPr>
            <p:spPr>
              <a:xfrm>
                <a:off x="10351571" y="1596391"/>
                <a:ext cx="46751" cy="46751"/>
              </a:xfrm>
              <a:custGeom>
                <a:avLst/>
                <a:gdLst>
                  <a:gd name="csX0" fmla="*/ 46752 w 46751"/>
                  <a:gd name="csY0" fmla="*/ 23415 h 46751"/>
                  <a:gd name="csX1" fmla="*/ 23415 w 46751"/>
                  <a:gd name="csY1" fmla="*/ 0 h 46751"/>
                  <a:gd name="csX2" fmla="*/ 0 w 46751"/>
                  <a:gd name="csY2" fmla="*/ 23337 h 46751"/>
                  <a:gd name="csX3" fmla="*/ 23337 w 46751"/>
                  <a:gd name="csY3" fmla="*/ 46752 h 46751"/>
                  <a:gd name="csX4" fmla="*/ 23535 w 46751"/>
                  <a:gd name="csY4" fmla="*/ 46751 h 46751"/>
                  <a:gd name="csX5" fmla="*/ 46752 w 46751"/>
                  <a:gd name="csY5" fmla="*/ 23415 h 46751"/>
                  <a:gd name="csX6" fmla="*/ 7739 w 46751"/>
                  <a:gd name="csY6" fmla="*/ 23415 h 46751"/>
                  <a:gd name="csX7" fmla="*/ 23374 w 46751"/>
                  <a:gd name="csY7" fmla="*/ 7304 h 46751"/>
                  <a:gd name="csX8" fmla="*/ 39485 w 46751"/>
                  <a:gd name="csY8" fmla="*/ 22939 h 46751"/>
                  <a:gd name="csX9" fmla="*/ 23850 w 46751"/>
                  <a:gd name="csY9" fmla="*/ 39050 h 46751"/>
                  <a:gd name="csX10" fmla="*/ 23535 w 46751"/>
                  <a:gd name="csY10" fmla="*/ 39052 h 46751"/>
                  <a:gd name="csX11" fmla="*/ 7660 w 46751"/>
                  <a:gd name="csY11" fmla="*/ 23415 h 4675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Lst>
                <a:rect l="l" t="t" r="r" b="b"/>
                <a:pathLst>
                  <a:path w="46751" h="46751">
                    <a:moveTo>
                      <a:pt x="46752" y="23415"/>
                    </a:moveTo>
                    <a:cubicBezTo>
                      <a:pt x="46773" y="10505"/>
                      <a:pt x="36325" y="22"/>
                      <a:pt x="23415" y="0"/>
                    </a:cubicBezTo>
                    <a:cubicBezTo>
                      <a:pt x="10505" y="-22"/>
                      <a:pt x="22" y="10427"/>
                      <a:pt x="0" y="23337"/>
                    </a:cubicBezTo>
                    <a:cubicBezTo>
                      <a:pt x="-22" y="36247"/>
                      <a:pt x="10427" y="46730"/>
                      <a:pt x="23337" y="46752"/>
                    </a:cubicBezTo>
                    <a:cubicBezTo>
                      <a:pt x="23403" y="46752"/>
                      <a:pt x="23469" y="46752"/>
                      <a:pt x="23535" y="46751"/>
                    </a:cubicBezTo>
                    <a:cubicBezTo>
                      <a:pt x="36367" y="46664"/>
                      <a:pt x="46730" y="36248"/>
                      <a:pt x="46752" y="23415"/>
                    </a:cubicBezTo>
                    <a:close/>
                    <a:moveTo>
                      <a:pt x="7739" y="23415"/>
                    </a:moveTo>
                    <a:cubicBezTo>
                      <a:pt x="7608" y="14649"/>
                      <a:pt x="14608" y="7435"/>
                      <a:pt x="23374" y="7304"/>
                    </a:cubicBezTo>
                    <a:cubicBezTo>
                      <a:pt x="32141" y="7173"/>
                      <a:pt x="39354" y="14173"/>
                      <a:pt x="39485" y="22939"/>
                    </a:cubicBezTo>
                    <a:cubicBezTo>
                      <a:pt x="39617" y="31706"/>
                      <a:pt x="32617" y="38919"/>
                      <a:pt x="23850" y="39050"/>
                    </a:cubicBezTo>
                    <a:cubicBezTo>
                      <a:pt x="23745" y="39052"/>
                      <a:pt x="23640" y="39052"/>
                      <a:pt x="23535" y="39052"/>
                    </a:cubicBezTo>
                    <a:cubicBezTo>
                      <a:pt x="14859" y="39053"/>
                      <a:pt x="7790" y="32089"/>
                      <a:pt x="7660" y="23415"/>
                    </a:cubicBezTo>
                    <a:close/>
                  </a:path>
                </a:pathLst>
              </a:custGeom>
              <a:grpFill/>
              <a:ln w="387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spTree>
    <p:extLst>
      <p:ext uri="{BB962C8B-B14F-4D97-AF65-F5344CB8AC3E}">
        <p14:creationId xmlns:p14="http://schemas.microsoft.com/office/powerpoint/2010/main" val="26739781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AF06B66A-2D95-E7BA-4A38-205624DCF19F}"/>
              </a:ext>
            </a:extLst>
          </p:cNvPr>
          <p:cNvGraphicFramePr>
            <a:graphicFrameLocks noChangeAspect="1"/>
          </p:cNvGraphicFramePr>
          <p:nvPr>
            <p:custDataLst>
              <p:tags r:id="rId1"/>
            </p:custDataLst>
            <p:extLst>
              <p:ext uri="{D42A27DB-BD31-4B8C-83A1-F6EECF244321}">
                <p14:modId xmlns:p14="http://schemas.microsoft.com/office/powerpoint/2010/main" val="998516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6" name="think-cell data - do not delete" hidden="1">
                        <a:extLst>
                          <a:ext uri="{FF2B5EF4-FFF2-40B4-BE49-F238E27FC236}">
                            <a16:creationId xmlns:a16="http://schemas.microsoft.com/office/drawing/2014/main" id="{AF06B66A-2D95-E7BA-4A38-205624DCF1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Shape 20">
            <a:extLst>
              <a:ext uri="{FF2B5EF4-FFF2-40B4-BE49-F238E27FC236}">
                <a16:creationId xmlns:a16="http://schemas.microsoft.com/office/drawing/2014/main" id="{01CCB1F7-3D62-F791-1CE4-83ADFCA350AE}"/>
              </a:ext>
            </a:extLst>
          </p:cNvPr>
          <p:cNvSpPr/>
          <p:nvPr/>
        </p:nvSpPr>
        <p:spPr>
          <a:xfrm rot="5400000">
            <a:off x="5308566" y="920865"/>
            <a:ext cx="1484087" cy="3532189"/>
          </a:xfrm>
          <a:prstGeom prst="roundRect">
            <a:avLst>
              <a:gd name="adj" fmla="val 0"/>
            </a:avLst>
          </a:prstGeom>
          <a:solidFill>
            <a:schemeClr val="bg1">
              <a:lumMod val="95000"/>
            </a:schemeClr>
          </a:solidFill>
          <a:ln w="22860">
            <a:noFill/>
            <a:prstDash val="solid"/>
          </a:ln>
        </p:spPr>
        <p:txBody>
          <a:bodyPr/>
          <a:lstStyle/>
          <a:p>
            <a:endParaRPr lang="en-IN" sz="1500">
              <a:solidFill>
                <a:schemeClr val="bg1"/>
              </a:solidFill>
              <a:latin typeface="Moderat" pitchFamily="2" charset="77"/>
            </a:endParaRPr>
          </a:p>
        </p:txBody>
      </p:sp>
      <p:sp>
        <p:nvSpPr>
          <p:cNvPr id="29" name="Text 7">
            <a:extLst>
              <a:ext uri="{FF2B5EF4-FFF2-40B4-BE49-F238E27FC236}">
                <a16:creationId xmlns:a16="http://schemas.microsoft.com/office/drawing/2014/main" id="{E3D359CA-4C5D-CB91-193F-5F11D87A0579}"/>
              </a:ext>
            </a:extLst>
          </p:cNvPr>
          <p:cNvSpPr/>
          <p:nvPr/>
        </p:nvSpPr>
        <p:spPr>
          <a:xfrm>
            <a:off x="4451015" y="2145451"/>
            <a:ext cx="2335085" cy="243656"/>
          </a:xfrm>
          <a:prstGeom prst="rect">
            <a:avLst/>
          </a:prstGeom>
          <a:noFill/>
          <a:ln/>
        </p:spPr>
        <p:txBody>
          <a:bodyPr wrap="square" lIns="0" tIns="0" rIns="0" bIns="0" rtlCol="0" anchor="t">
            <a:spAutoFit/>
          </a:bodyPr>
          <a:lstStyle/>
          <a:p>
            <a:pPr>
              <a:lnSpc>
                <a:spcPts val="1916"/>
              </a:lnSpc>
            </a:pPr>
            <a:r>
              <a:rPr lang="en-US" b="1">
                <a:solidFill>
                  <a:schemeClr val="accent6"/>
                </a:solidFill>
                <a:latin typeface="Moderat" pitchFamily="2" charset="77"/>
                <a:ea typeface="Lato Bold" pitchFamily="34" charset="-122"/>
                <a:cs typeface="Lato Bold" pitchFamily="34" charset="-120"/>
              </a:rPr>
              <a:t>Contribute &amp; Apply</a:t>
            </a:r>
          </a:p>
        </p:txBody>
      </p:sp>
      <p:sp>
        <p:nvSpPr>
          <p:cNvPr id="30" name="Text 8">
            <a:extLst>
              <a:ext uri="{FF2B5EF4-FFF2-40B4-BE49-F238E27FC236}">
                <a16:creationId xmlns:a16="http://schemas.microsoft.com/office/drawing/2014/main" id="{853A85D1-6E4A-974A-368E-505F854ACB23}"/>
              </a:ext>
            </a:extLst>
          </p:cNvPr>
          <p:cNvSpPr/>
          <p:nvPr/>
        </p:nvSpPr>
        <p:spPr>
          <a:xfrm>
            <a:off x="4451016" y="2562638"/>
            <a:ext cx="2819147" cy="492443"/>
          </a:xfrm>
          <a:prstGeom prst="rect">
            <a:avLst/>
          </a:prstGeom>
          <a:noFill/>
          <a:ln/>
        </p:spPr>
        <p:txBody>
          <a:bodyPr wrap="square" lIns="0" tIns="0" rIns="0" bIns="0" rtlCol="0" anchor="t">
            <a:spAutoFit/>
          </a:bodyPr>
          <a:lstStyle/>
          <a:p>
            <a:r>
              <a:rPr lang="en-US" sz="1600">
                <a:solidFill>
                  <a:schemeClr val="bg2">
                    <a:lumMod val="25000"/>
                  </a:schemeClr>
                </a:solidFill>
                <a:latin typeface="Moderat" pitchFamily="2" charset="77"/>
                <a:ea typeface="Lato" pitchFamily="34" charset="-122"/>
                <a:cs typeface="Lato" pitchFamily="34" charset="-120"/>
              </a:rPr>
              <a:t>Execution ▸ Collaboration ▸ Autonomy ▸ AI Productivity</a:t>
            </a:r>
          </a:p>
        </p:txBody>
      </p:sp>
      <p:sp>
        <p:nvSpPr>
          <p:cNvPr id="33" name="Shape 20">
            <a:extLst>
              <a:ext uri="{FF2B5EF4-FFF2-40B4-BE49-F238E27FC236}">
                <a16:creationId xmlns:a16="http://schemas.microsoft.com/office/drawing/2014/main" id="{72E6129B-6FDE-6F09-763A-3D2DFDC076A5}"/>
              </a:ext>
            </a:extLst>
          </p:cNvPr>
          <p:cNvSpPr/>
          <p:nvPr/>
        </p:nvSpPr>
        <p:spPr>
          <a:xfrm rot="5400000">
            <a:off x="9077143" y="920864"/>
            <a:ext cx="1484086" cy="3532189"/>
          </a:xfrm>
          <a:prstGeom prst="roundRect">
            <a:avLst>
              <a:gd name="adj" fmla="val 0"/>
            </a:avLst>
          </a:prstGeom>
          <a:solidFill>
            <a:schemeClr val="bg1">
              <a:lumMod val="95000"/>
            </a:schemeClr>
          </a:solidFill>
          <a:ln w="22860">
            <a:noFill/>
            <a:prstDash val="solid"/>
          </a:ln>
        </p:spPr>
        <p:txBody>
          <a:bodyPr/>
          <a:lstStyle/>
          <a:p>
            <a:endParaRPr lang="en-IN" sz="1500">
              <a:solidFill>
                <a:schemeClr val="bg1"/>
              </a:solidFill>
              <a:latin typeface="Moderat" pitchFamily="2" charset="77"/>
            </a:endParaRPr>
          </a:p>
        </p:txBody>
      </p:sp>
      <p:sp>
        <p:nvSpPr>
          <p:cNvPr id="34" name="Text 7">
            <a:extLst>
              <a:ext uri="{FF2B5EF4-FFF2-40B4-BE49-F238E27FC236}">
                <a16:creationId xmlns:a16="http://schemas.microsoft.com/office/drawing/2014/main" id="{401E8CC9-CAE6-1E43-FCA2-CC914337E836}"/>
              </a:ext>
            </a:extLst>
          </p:cNvPr>
          <p:cNvSpPr/>
          <p:nvPr/>
        </p:nvSpPr>
        <p:spPr>
          <a:xfrm>
            <a:off x="8219591" y="2145451"/>
            <a:ext cx="2335085" cy="243656"/>
          </a:xfrm>
          <a:prstGeom prst="rect">
            <a:avLst/>
          </a:prstGeom>
          <a:noFill/>
          <a:ln/>
        </p:spPr>
        <p:txBody>
          <a:bodyPr wrap="square" lIns="0" tIns="0" rIns="0" bIns="0" rtlCol="0" anchor="t">
            <a:spAutoFit/>
          </a:bodyPr>
          <a:lstStyle/>
          <a:p>
            <a:pPr>
              <a:lnSpc>
                <a:spcPts val="1916"/>
              </a:lnSpc>
            </a:pPr>
            <a:r>
              <a:rPr lang="en-US" b="1">
                <a:solidFill>
                  <a:schemeClr val="accent6"/>
                </a:solidFill>
                <a:latin typeface="Moderat" pitchFamily="2" charset="77"/>
                <a:ea typeface="Lato Bold" pitchFamily="34" charset="-122"/>
                <a:cs typeface="Lato Bold" pitchFamily="34" charset="-120"/>
              </a:rPr>
              <a:t>Own &amp; Impact</a:t>
            </a:r>
          </a:p>
        </p:txBody>
      </p:sp>
      <p:sp>
        <p:nvSpPr>
          <p:cNvPr id="35" name="Text 8">
            <a:extLst>
              <a:ext uri="{FF2B5EF4-FFF2-40B4-BE49-F238E27FC236}">
                <a16:creationId xmlns:a16="http://schemas.microsoft.com/office/drawing/2014/main" id="{CC231793-AA0C-8E36-A199-C0987CB79FB6}"/>
              </a:ext>
            </a:extLst>
          </p:cNvPr>
          <p:cNvSpPr/>
          <p:nvPr/>
        </p:nvSpPr>
        <p:spPr>
          <a:xfrm>
            <a:off x="8219592" y="2562638"/>
            <a:ext cx="2800993" cy="492443"/>
          </a:xfrm>
          <a:prstGeom prst="rect">
            <a:avLst/>
          </a:prstGeom>
          <a:noFill/>
          <a:ln/>
        </p:spPr>
        <p:txBody>
          <a:bodyPr wrap="square" lIns="0" tIns="0" rIns="0" bIns="0" rtlCol="0" anchor="t">
            <a:spAutoFit/>
          </a:bodyPr>
          <a:lstStyle/>
          <a:p>
            <a:r>
              <a:rPr lang="en-US" sz="1600">
                <a:solidFill>
                  <a:schemeClr val="bg2">
                    <a:lumMod val="25000"/>
                  </a:schemeClr>
                </a:solidFill>
                <a:latin typeface="Moderat" pitchFamily="2" charset="77"/>
                <a:ea typeface="Lato" pitchFamily="34" charset="-122"/>
                <a:cs typeface="Lato" pitchFamily="34" charset="-120"/>
              </a:rPr>
              <a:t>Independence ▸ Accountability ▸ Innovation ▸ Influence</a:t>
            </a:r>
          </a:p>
        </p:txBody>
      </p:sp>
      <p:sp>
        <p:nvSpPr>
          <p:cNvPr id="11" name="Shape 20">
            <a:extLst>
              <a:ext uri="{FF2B5EF4-FFF2-40B4-BE49-F238E27FC236}">
                <a16:creationId xmlns:a16="http://schemas.microsoft.com/office/drawing/2014/main" id="{064D87CA-70C4-1519-1360-7B6D6ED5D77F}"/>
              </a:ext>
            </a:extLst>
          </p:cNvPr>
          <p:cNvSpPr/>
          <p:nvPr/>
        </p:nvSpPr>
        <p:spPr>
          <a:xfrm rot="5400000">
            <a:off x="1539986" y="920865"/>
            <a:ext cx="1484087" cy="3532189"/>
          </a:xfrm>
          <a:prstGeom prst="roundRect">
            <a:avLst>
              <a:gd name="adj" fmla="val 0"/>
            </a:avLst>
          </a:prstGeom>
          <a:solidFill>
            <a:schemeClr val="bg1">
              <a:lumMod val="95000"/>
            </a:schemeClr>
          </a:solidFill>
          <a:ln w="22860">
            <a:noFill/>
            <a:prstDash val="solid"/>
          </a:ln>
        </p:spPr>
        <p:txBody>
          <a:bodyPr/>
          <a:lstStyle/>
          <a:p>
            <a:endParaRPr lang="en-IN" sz="1500">
              <a:solidFill>
                <a:schemeClr val="bg1"/>
              </a:solidFill>
              <a:latin typeface="Moderat" pitchFamily="2" charset="77"/>
            </a:endParaRPr>
          </a:p>
        </p:txBody>
      </p:sp>
      <p:sp>
        <p:nvSpPr>
          <p:cNvPr id="16" name="Text 7">
            <a:extLst>
              <a:ext uri="{FF2B5EF4-FFF2-40B4-BE49-F238E27FC236}">
                <a16:creationId xmlns:a16="http://schemas.microsoft.com/office/drawing/2014/main" id="{C4C2EC05-824E-629C-CC3C-4EA68DD0EC7D}"/>
              </a:ext>
            </a:extLst>
          </p:cNvPr>
          <p:cNvSpPr/>
          <p:nvPr/>
        </p:nvSpPr>
        <p:spPr>
          <a:xfrm>
            <a:off x="682435" y="2145451"/>
            <a:ext cx="2335085" cy="243656"/>
          </a:xfrm>
          <a:prstGeom prst="rect">
            <a:avLst/>
          </a:prstGeom>
          <a:noFill/>
          <a:ln/>
        </p:spPr>
        <p:txBody>
          <a:bodyPr wrap="square" lIns="0" tIns="0" rIns="0" bIns="0" rtlCol="0" anchor="t">
            <a:spAutoFit/>
          </a:bodyPr>
          <a:lstStyle/>
          <a:p>
            <a:pPr>
              <a:lnSpc>
                <a:spcPts val="1916"/>
              </a:lnSpc>
            </a:pPr>
            <a:r>
              <a:rPr lang="en-US" b="1">
                <a:solidFill>
                  <a:schemeClr val="accent6"/>
                </a:solidFill>
                <a:latin typeface="Moderat" pitchFamily="2" charset="77"/>
                <a:ea typeface="Lato Bold" pitchFamily="34" charset="-122"/>
                <a:cs typeface="Lato Bold" pitchFamily="34" charset="-120"/>
              </a:rPr>
              <a:t>Onboard &amp; Understand</a:t>
            </a:r>
          </a:p>
        </p:txBody>
      </p:sp>
      <p:sp>
        <p:nvSpPr>
          <p:cNvPr id="20" name="Text 8">
            <a:extLst>
              <a:ext uri="{FF2B5EF4-FFF2-40B4-BE49-F238E27FC236}">
                <a16:creationId xmlns:a16="http://schemas.microsoft.com/office/drawing/2014/main" id="{E6424CB0-708E-C165-BB6F-37CE6582BBDE}"/>
              </a:ext>
            </a:extLst>
          </p:cNvPr>
          <p:cNvSpPr/>
          <p:nvPr/>
        </p:nvSpPr>
        <p:spPr>
          <a:xfrm>
            <a:off x="682436" y="2562638"/>
            <a:ext cx="2800993" cy="492443"/>
          </a:xfrm>
          <a:prstGeom prst="rect">
            <a:avLst/>
          </a:prstGeom>
          <a:noFill/>
          <a:ln/>
        </p:spPr>
        <p:txBody>
          <a:bodyPr wrap="square" lIns="0" tIns="0" rIns="0" bIns="0" rtlCol="0" anchor="t">
            <a:spAutoFit/>
          </a:bodyPr>
          <a:lstStyle/>
          <a:p>
            <a:r>
              <a:rPr lang="en-US" sz="1600">
                <a:solidFill>
                  <a:schemeClr val="bg2">
                    <a:lumMod val="25000"/>
                  </a:schemeClr>
                </a:solidFill>
                <a:latin typeface="Moderat" pitchFamily="2" charset="77"/>
                <a:ea typeface="Lato" pitchFamily="34" charset="-122"/>
                <a:cs typeface="Lato" pitchFamily="34" charset="-120"/>
              </a:rPr>
              <a:t>Access ▸ Context ▸ Product ▸ Process ▸ Policies ▸ Confidence</a:t>
            </a:r>
          </a:p>
        </p:txBody>
      </p:sp>
      <p:sp>
        <p:nvSpPr>
          <p:cNvPr id="17" name="Chevron 21">
            <a:extLst>
              <a:ext uri="{FF2B5EF4-FFF2-40B4-BE49-F238E27FC236}">
                <a16:creationId xmlns:a16="http://schemas.microsoft.com/office/drawing/2014/main" id="{8F298C75-27C7-9979-041C-C24FE96AD0DF}"/>
              </a:ext>
            </a:extLst>
          </p:cNvPr>
          <p:cNvSpPr/>
          <p:nvPr/>
        </p:nvSpPr>
        <p:spPr>
          <a:xfrm>
            <a:off x="515938" y="1428495"/>
            <a:ext cx="3622972" cy="516419"/>
          </a:xfrm>
          <a:prstGeom prst="chevron">
            <a:avLst>
              <a:gd name="adj" fmla="val 18325"/>
            </a:avLst>
          </a:prstGeom>
          <a:solidFill>
            <a:schemeClr val="accent1"/>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vert="horz" lIns="114300" tIns="0" bIns="57150" rtlCol="0" anchor="ctr" anchorCtr="0"/>
          <a:lst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a:lstStyle>
          <a:p>
            <a:pPr algn="ctr" defTabSz="845753">
              <a:spcAft>
                <a:spcPts val="500"/>
              </a:spcAft>
            </a:pPr>
            <a:r>
              <a:rPr lang="en-US" sz="1400" b="1">
                <a:solidFill>
                  <a:schemeClr val="bg1"/>
                </a:solidFill>
                <a:latin typeface="Moderat" pitchFamily="2" charset="77"/>
              </a:rPr>
              <a:t>Day 2–30</a:t>
            </a:r>
          </a:p>
        </p:txBody>
      </p:sp>
      <p:sp>
        <p:nvSpPr>
          <p:cNvPr id="18" name="Chevron 21">
            <a:extLst>
              <a:ext uri="{FF2B5EF4-FFF2-40B4-BE49-F238E27FC236}">
                <a16:creationId xmlns:a16="http://schemas.microsoft.com/office/drawing/2014/main" id="{08061D8E-4547-27CC-F3E9-6B035317C143}"/>
              </a:ext>
            </a:extLst>
          </p:cNvPr>
          <p:cNvSpPr/>
          <p:nvPr/>
        </p:nvSpPr>
        <p:spPr>
          <a:xfrm>
            <a:off x="4284515" y="1428495"/>
            <a:ext cx="3622972" cy="516419"/>
          </a:xfrm>
          <a:prstGeom prst="chevron">
            <a:avLst>
              <a:gd name="adj" fmla="val 18325"/>
            </a:avLst>
          </a:prstGeom>
          <a:solidFill>
            <a:schemeClr val="accent2"/>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vert="horz" lIns="114300" tIns="0" bIns="57150" rtlCol="0" anchor="ctr" anchorCtr="0"/>
          <a:lst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a:lstStyle>
          <a:p>
            <a:pPr algn="ctr" defTabSz="845753">
              <a:spcAft>
                <a:spcPts val="500"/>
              </a:spcAft>
            </a:pPr>
            <a:r>
              <a:rPr lang="en-US" sz="1400" b="1">
                <a:solidFill>
                  <a:schemeClr val="bg1"/>
                </a:solidFill>
                <a:latin typeface="Moderat" pitchFamily="2" charset="77"/>
              </a:rPr>
              <a:t>Day 31–60</a:t>
            </a:r>
          </a:p>
        </p:txBody>
      </p:sp>
      <p:sp>
        <p:nvSpPr>
          <p:cNvPr id="19" name="Chevron 21">
            <a:extLst>
              <a:ext uri="{FF2B5EF4-FFF2-40B4-BE49-F238E27FC236}">
                <a16:creationId xmlns:a16="http://schemas.microsoft.com/office/drawing/2014/main" id="{6EF2FAAB-8EB6-F569-1524-1C5E4B92883C}"/>
              </a:ext>
            </a:extLst>
          </p:cNvPr>
          <p:cNvSpPr/>
          <p:nvPr/>
        </p:nvSpPr>
        <p:spPr>
          <a:xfrm>
            <a:off x="8053091" y="1428495"/>
            <a:ext cx="3622972" cy="516419"/>
          </a:xfrm>
          <a:prstGeom prst="chevron">
            <a:avLst>
              <a:gd name="adj" fmla="val 18325"/>
            </a:avLst>
          </a:prstGeom>
          <a:solidFill>
            <a:schemeClr val="accent3"/>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vert="horz" lIns="114300" tIns="0" bIns="57150" rtlCol="0" anchor="ctr" anchorCtr="0"/>
          <a:lst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a:lstStyle>
          <a:p>
            <a:pPr algn="ctr" defTabSz="845753">
              <a:spcAft>
                <a:spcPts val="500"/>
              </a:spcAft>
            </a:pPr>
            <a:r>
              <a:rPr lang="en-US" sz="1400" b="1">
                <a:solidFill>
                  <a:schemeClr val="bg1"/>
                </a:solidFill>
                <a:latin typeface="Moderat" pitchFamily="2" charset="77"/>
              </a:rPr>
              <a:t>Day 61–90</a:t>
            </a:r>
          </a:p>
        </p:txBody>
      </p:sp>
      <p:pic>
        <p:nvPicPr>
          <p:cNvPr id="23" name="Picture 22" descr="A group of people sitting at a table&#10;&#10;AI-generated content may be incorrect.">
            <a:extLst>
              <a:ext uri="{FF2B5EF4-FFF2-40B4-BE49-F238E27FC236}">
                <a16:creationId xmlns:a16="http://schemas.microsoft.com/office/drawing/2014/main" id="{33E00591-6DD0-D3EB-265D-002CB5016D14}"/>
              </a:ext>
            </a:extLst>
          </p:cNvPr>
          <p:cNvPicPr>
            <a:picLocks noChangeAspect="1"/>
          </p:cNvPicPr>
          <p:nvPr/>
        </p:nvPicPr>
        <p:blipFill rotWithShape="1">
          <a:blip r:embed="rId6"/>
          <a:srcRect l="1" t="5406" r="1840" b="28069"/>
          <a:stretch/>
        </p:blipFill>
        <p:spPr>
          <a:xfrm>
            <a:off x="0" y="3686687"/>
            <a:ext cx="12192000" cy="3171313"/>
          </a:xfrm>
          <a:prstGeom prst="rect">
            <a:avLst/>
          </a:prstGeom>
        </p:spPr>
      </p:pic>
      <p:sp>
        <p:nvSpPr>
          <p:cNvPr id="3" name="Rectangle 2">
            <a:extLst>
              <a:ext uri="{FF2B5EF4-FFF2-40B4-BE49-F238E27FC236}">
                <a16:creationId xmlns:a16="http://schemas.microsoft.com/office/drawing/2014/main" id="{DD5C5F91-007D-B52A-C4E0-0C70AFF95666}"/>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latin typeface="Moderat" pitchFamily="2" charset="77"/>
              </a:rPr>
              <a:t>The 30-60-90 Structure</a:t>
            </a:r>
          </a:p>
        </p:txBody>
      </p:sp>
      <p:sp>
        <p:nvSpPr>
          <p:cNvPr id="7" name="Rectangle 6">
            <a:extLst>
              <a:ext uri="{FF2B5EF4-FFF2-40B4-BE49-F238E27FC236}">
                <a16:creationId xmlns:a16="http://schemas.microsoft.com/office/drawing/2014/main" id="{084A7A77-C7B4-47CF-8539-9031FFB43216}"/>
              </a:ext>
            </a:extLst>
          </p:cNvPr>
          <p:cNvSpPr/>
          <p:nvPr/>
        </p:nvSpPr>
        <p:spPr>
          <a:xfrm>
            <a:off x="-4" y="3686687"/>
            <a:ext cx="12192004" cy="3171312"/>
          </a:xfrm>
          <a:prstGeom prst="rect">
            <a:avLst/>
          </a:prstGeom>
          <a:gradFill flip="none" rotWithShape="1">
            <a:gsLst>
              <a:gs pos="47000">
                <a:srgbClr val="88B3B4">
                  <a:alpha val="0"/>
                </a:srgbClr>
              </a:gs>
              <a:gs pos="29000">
                <a:srgbClr val="C6DBDB">
                  <a:alpha val="0"/>
                </a:srgbClr>
              </a:gs>
              <a:gs pos="0">
                <a:schemeClr val="bg1">
                  <a:alpha val="0"/>
                </a:schemeClr>
              </a:gs>
              <a:gs pos="100000">
                <a:schemeClr val="accent6"/>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304770"/>
            <a:endParaRPr lang="en-US" sz="1280">
              <a:solidFill>
                <a:srgbClr val="FFFFFF"/>
              </a:solidFill>
              <a:latin typeface="Moderat" pitchFamily="2" charset="77"/>
            </a:endParaRPr>
          </a:p>
        </p:txBody>
      </p:sp>
    </p:spTree>
    <p:extLst>
      <p:ext uri="{BB962C8B-B14F-4D97-AF65-F5344CB8AC3E}">
        <p14:creationId xmlns:p14="http://schemas.microsoft.com/office/powerpoint/2010/main" val="41006973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5FCBA71-635C-605B-7697-425E7C23425D}"/>
              </a:ext>
            </a:extLst>
          </p:cNvPr>
          <p:cNvGraphicFramePr>
            <a:graphicFrameLocks noChangeAspect="1"/>
          </p:cNvGraphicFramePr>
          <p:nvPr>
            <p:custDataLst>
              <p:tags r:id="rId1"/>
            </p:custDataLst>
            <p:extLst>
              <p:ext uri="{D42A27DB-BD31-4B8C-83A1-F6EECF244321}">
                <p14:modId xmlns:p14="http://schemas.microsoft.com/office/powerpoint/2010/main" val="625798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think-cell data - do not delete" hidden="1">
                        <a:extLst>
                          <a:ext uri="{FF2B5EF4-FFF2-40B4-BE49-F238E27FC236}">
                            <a16:creationId xmlns:a16="http://schemas.microsoft.com/office/drawing/2014/main" id="{A5FCBA71-635C-605B-7697-425E7C2342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6" name="Shape 2">
            <a:extLst>
              <a:ext uri="{FF2B5EF4-FFF2-40B4-BE49-F238E27FC236}">
                <a16:creationId xmlns:a16="http://schemas.microsoft.com/office/drawing/2014/main" id="{B57B667C-E969-80E4-BD11-26579F082E3F}"/>
              </a:ext>
            </a:extLst>
          </p:cNvPr>
          <p:cNvSpPr/>
          <p:nvPr/>
        </p:nvSpPr>
        <p:spPr>
          <a:xfrm>
            <a:off x="6059090" y="3536816"/>
            <a:ext cx="2426893" cy="1050424"/>
          </a:xfrm>
          <a:prstGeom prst="roundRect">
            <a:avLst>
              <a:gd name="adj" fmla="val 2503"/>
            </a:avLst>
          </a:prstGeom>
          <a:solidFill>
            <a:schemeClr val="bg1">
              <a:lumMod val="95000"/>
            </a:schemeClr>
          </a:solidFill>
          <a:ln w="22860">
            <a:noFill/>
            <a:prstDash val="solid"/>
          </a:ln>
        </p:spPr>
        <p:txBody>
          <a:bodyPr/>
          <a:lstStyle/>
          <a:p>
            <a:pPr defTabSz="304770"/>
            <a:endParaRPr lang="en-IN" sz="1500">
              <a:solidFill>
                <a:srgbClr val="000000"/>
              </a:solidFill>
              <a:latin typeface="Moderat" pitchFamily="2" charset="77"/>
            </a:endParaRPr>
          </a:p>
        </p:txBody>
      </p:sp>
      <p:grpSp>
        <p:nvGrpSpPr>
          <p:cNvPr id="113" name="Group 112">
            <a:extLst>
              <a:ext uri="{FF2B5EF4-FFF2-40B4-BE49-F238E27FC236}">
                <a16:creationId xmlns:a16="http://schemas.microsoft.com/office/drawing/2014/main" id="{F160F7A8-0C82-4E40-C904-80DF0FB7F837}"/>
              </a:ext>
            </a:extLst>
          </p:cNvPr>
          <p:cNvGrpSpPr/>
          <p:nvPr/>
        </p:nvGrpSpPr>
        <p:grpSpPr>
          <a:xfrm>
            <a:off x="6299964" y="3679801"/>
            <a:ext cx="2171955" cy="779548"/>
            <a:chOff x="6879853" y="3532269"/>
            <a:chExt cx="2195443" cy="808279"/>
          </a:xfrm>
        </p:grpSpPr>
        <p:sp>
          <p:nvSpPr>
            <p:cNvPr id="77" name="Text 7">
              <a:extLst>
                <a:ext uri="{FF2B5EF4-FFF2-40B4-BE49-F238E27FC236}">
                  <a16:creationId xmlns:a16="http://schemas.microsoft.com/office/drawing/2014/main" id="{CE7073EB-C851-EB23-1BDD-932C1C2A9926}"/>
                </a:ext>
              </a:extLst>
            </p:cNvPr>
            <p:cNvSpPr/>
            <p:nvPr/>
          </p:nvSpPr>
          <p:spPr>
            <a:xfrm>
              <a:off x="6879853" y="3532269"/>
              <a:ext cx="2195443" cy="223384"/>
            </a:xfrm>
            <a:prstGeom prst="rect">
              <a:avLst/>
            </a:prstGeom>
            <a:noFill/>
            <a:ln/>
          </p:spPr>
          <p:txBody>
            <a:bodyPr wrap="square" lIns="0" tIns="0" rIns="0" bIns="0" rtlCol="0" anchor="t">
              <a:spAutoFit/>
            </a:bodyPr>
            <a:lstStyle/>
            <a:p>
              <a:r>
                <a:rPr lang="en-US" sz="1400" b="1">
                  <a:solidFill>
                    <a:schemeClr val="accent6"/>
                  </a:solidFill>
                  <a:latin typeface="Moderat" pitchFamily="2" charset="77"/>
                  <a:ea typeface="Lato Bold" pitchFamily="34" charset="-122"/>
                  <a:cs typeface="Lato Bold" pitchFamily="34" charset="-120"/>
                </a:rPr>
                <a:t>Structured Decision-Making</a:t>
              </a:r>
            </a:p>
          </p:txBody>
        </p:sp>
        <p:sp>
          <p:nvSpPr>
            <p:cNvPr id="78" name="Text 8">
              <a:extLst>
                <a:ext uri="{FF2B5EF4-FFF2-40B4-BE49-F238E27FC236}">
                  <a16:creationId xmlns:a16="http://schemas.microsoft.com/office/drawing/2014/main" id="{0CFE22F3-528F-ACC2-E5A8-89F6EE9054AC}"/>
                </a:ext>
              </a:extLst>
            </p:cNvPr>
            <p:cNvSpPr/>
            <p:nvPr/>
          </p:nvSpPr>
          <p:spPr>
            <a:xfrm>
              <a:off x="6879854" y="3766132"/>
              <a:ext cx="2012026" cy="574416"/>
            </a:xfrm>
            <a:prstGeom prst="rect">
              <a:avLst/>
            </a:prstGeom>
            <a:noFill/>
            <a:ln/>
          </p:spPr>
          <p:txBody>
            <a:bodyPr wrap="square" lIns="0" tIns="0" rIns="0" bIns="0" rtlCol="0" anchor="t">
              <a:spAutoFit/>
            </a:bodyPr>
            <a:lstStyle/>
            <a:p>
              <a:pPr>
                <a:spcBef>
                  <a:spcPts val="400"/>
                </a:spcBef>
                <a:spcAft>
                  <a:spcPts val="400"/>
                </a:spcAft>
              </a:pPr>
              <a:r>
                <a:rPr lang="en-US" sz="1200">
                  <a:solidFill>
                    <a:schemeClr val="bg2">
                      <a:lumMod val="25000"/>
                    </a:schemeClr>
                  </a:solidFill>
                  <a:latin typeface="Moderat" pitchFamily="2" charset="77"/>
                  <a:ea typeface="Lato" pitchFamily="34" charset="-122"/>
                  <a:cs typeface="Lato" pitchFamily="34" charset="-120"/>
                </a:rPr>
                <a:t>More consistent and repeatable processes for complex business challenges</a:t>
              </a:r>
            </a:p>
          </p:txBody>
        </p:sp>
      </p:grpSp>
      <p:sp>
        <p:nvSpPr>
          <p:cNvPr id="132" name="Shape 2">
            <a:extLst>
              <a:ext uri="{FF2B5EF4-FFF2-40B4-BE49-F238E27FC236}">
                <a16:creationId xmlns:a16="http://schemas.microsoft.com/office/drawing/2014/main" id="{32F286C8-48F3-7CFF-08E1-0319096F7D4F}"/>
              </a:ext>
            </a:extLst>
          </p:cNvPr>
          <p:cNvSpPr/>
          <p:nvPr/>
        </p:nvSpPr>
        <p:spPr>
          <a:xfrm>
            <a:off x="9228650" y="3536816"/>
            <a:ext cx="2428365" cy="1050424"/>
          </a:xfrm>
          <a:prstGeom prst="roundRect">
            <a:avLst>
              <a:gd name="adj" fmla="val 2503"/>
            </a:avLst>
          </a:prstGeom>
          <a:solidFill>
            <a:schemeClr val="bg1">
              <a:lumMod val="95000"/>
            </a:schemeClr>
          </a:solidFill>
          <a:ln w="22860">
            <a:noFill/>
            <a:prstDash val="solid"/>
          </a:ln>
        </p:spPr>
        <p:txBody>
          <a:bodyPr/>
          <a:lstStyle/>
          <a:p>
            <a:pPr defTabSz="304770"/>
            <a:endParaRPr lang="en-IN" sz="1500">
              <a:solidFill>
                <a:srgbClr val="000000"/>
              </a:solidFill>
              <a:latin typeface="Moderat" pitchFamily="2" charset="77"/>
            </a:endParaRPr>
          </a:p>
        </p:txBody>
      </p:sp>
      <p:grpSp>
        <p:nvGrpSpPr>
          <p:cNvPr id="133" name="Group 132">
            <a:extLst>
              <a:ext uri="{FF2B5EF4-FFF2-40B4-BE49-F238E27FC236}">
                <a16:creationId xmlns:a16="http://schemas.microsoft.com/office/drawing/2014/main" id="{440F0DDC-A38C-AFEA-1567-A27D97C700F4}"/>
              </a:ext>
            </a:extLst>
          </p:cNvPr>
          <p:cNvGrpSpPr/>
          <p:nvPr/>
        </p:nvGrpSpPr>
        <p:grpSpPr>
          <a:xfrm>
            <a:off x="9469525" y="3679801"/>
            <a:ext cx="2171955" cy="779548"/>
            <a:chOff x="6879853" y="3532269"/>
            <a:chExt cx="2195443" cy="808279"/>
          </a:xfrm>
        </p:grpSpPr>
        <p:sp>
          <p:nvSpPr>
            <p:cNvPr id="135" name="Text 7">
              <a:extLst>
                <a:ext uri="{FF2B5EF4-FFF2-40B4-BE49-F238E27FC236}">
                  <a16:creationId xmlns:a16="http://schemas.microsoft.com/office/drawing/2014/main" id="{E27CDD9E-C64F-120B-EB86-677F9252232A}"/>
                </a:ext>
              </a:extLst>
            </p:cNvPr>
            <p:cNvSpPr/>
            <p:nvPr/>
          </p:nvSpPr>
          <p:spPr>
            <a:xfrm>
              <a:off x="6879853" y="3532269"/>
              <a:ext cx="2195443" cy="223384"/>
            </a:xfrm>
            <a:prstGeom prst="rect">
              <a:avLst/>
            </a:prstGeom>
            <a:noFill/>
            <a:ln/>
          </p:spPr>
          <p:txBody>
            <a:bodyPr wrap="square" lIns="0" tIns="0" rIns="0" bIns="0" rtlCol="0" anchor="t">
              <a:spAutoFit/>
            </a:bodyPr>
            <a:lstStyle/>
            <a:p>
              <a:r>
                <a:rPr lang="en-US" sz="1400" b="1">
                  <a:solidFill>
                    <a:schemeClr val="accent6"/>
                  </a:solidFill>
                  <a:latin typeface="Moderat" pitchFamily="2" charset="77"/>
                  <a:ea typeface="Lato Bold" pitchFamily="34" charset="-122"/>
                  <a:cs typeface="Lato Bold" pitchFamily="34" charset="-120"/>
                </a:rPr>
                <a:t>Enhanced Coordination</a:t>
              </a:r>
            </a:p>
          </p:txBody>
        </p:sp>
        <p:sp>
          <p:nvSpPr>
            <p:cNvPr id="136" name="Text 8">
              <a:extLst>
                <a:ext uri="{FF2B5EF4-FFF2-40B4-BE49-F238E27FC236}">
                  <a16:creationId xmlns:a16="http://schemas.microsoft.com/office/drawing/2014/main" id="{285458D7-48C3-FD0A-7DC0-6AAB438C71C4}"/>
                </a:ext>
              </a:extLst>
            </p:cNvPr>
            <p:cNvSpPr/>
            <p:nvPr/>
          </p:nvSpPr>
          <p:spPr>
            <a:xfrm>
              <a:off x="6879854" y="3766132"/>
              <a:ext cx="2107221" cy="574416"/>
            </a:xfrm>
            <a:prstGeom prst="rect">
              <a:avLst/>
            </a:prstGeom>
            <a:noFill/>
            <a:ln/>
          </p:spPr>
          <p:txBody>
            <a:bodyPr wrap="square" lIns="0" tIns="0" rIns="0" bIns="0" rtlCol="0" anchor="t">
              <a:spAutoFit/>
            </a:bodyPr>
            <a:lstStyle/>
            <a:p>
              <a:pPr>
                <a:spcBef>
                  <a:spcPts val="400"/>
                </a:spcBef>
                <a:spcAft>
                  <a:spcPts val="400"/>
                </a:spcAft>
              </a:pPr>
              <a:r>
                <a:rPr lang="en-US" sz="1200">
                  <a:solidFill>
                    <a:schemeClr val="bg2">
                      <a:lumMod val="25000"/>
                    </a:schemeClr>
                  </a:solidFill>
                  <a:latin typeface="Moderat" pitchFamily="2" charset="77"/>
                  <a:ea typeface="Lato" pitchFamily="34" charset="-122"/>
                  <a:cs typeface="Lato" pitchFamily="34" charset="-120"/>
                </a:rPr>
                <a:t>Better cross-functional collaboration and faster problem resolution across teams</a:t>
              </a:r>
            </a:p>
          </p:txBody>
        </p:sp>
      </p:grpSp>
      <p:sp>
        <p:nvSpPr>
          <p:cNvPr id="138" name="Shape 2">
            <a:extLst>
              <a:ext uri="{FF2B5EF4-FFF2-40B4-BE49-F238E27FC236}">
                <a16:creationId xmlns:a16="http://schemas.microsoft.com/office/drawing/2014/main" id="{422A3DAA-C835-398E-BC2D-0BCF270F18FA}"/>
              </a:ext>
            </a:extLst>
          </p:cNvPr>
          <p:cNvSpPr/>
          <p:nvPr/>
        </p:nvSpPr>
        <p:spPr>
          <a:xfrm>
            <a:off x="6059089" y="4937644"/>
            <a:ext cx="2428365" cy="1050424"/>
          </a:xfrm>
          <a:prstGeom prst="roundRect">
            <a:avLst>
              <a:gd name="adj" fmla="val 2503"/>
            </a:avLst>
          </a:prstGeom>
          <a:solidFill>
            <a:schemeClr val="bg1">
              <a:lumMod val="95000"/>
            </a:schemeClr>
          </a:solidFill>
          <a:ln w="22860">
            <a:noFill/>
            <a:prstDash val="solid"/>
          </a:ln>
        </p:spPr>
        <p:txBody>
          <a:bodyPr/>
          <a:lstStyle/>
          <a:p>
            <a:pPr defTabSz="304770"/>
            <a:endParaRPr lang="en-IN" sz="1500">
              <a:solidFill>
                <a:srgbClr val="000000"/>
              </a:solidFill>
              <a:latin typeface="Moderat" pitchFamily="2" charset="77"/>
            </a:endParaRPr>
          </a:p>
        </p:txBody>
      </p:sp>
      <p:grpSp>
        <p:nvGrpSpPr>
          <p:cNvPr id="139" name="Group 138">
            <a:extLst>
              <a:ext uri="{FF2B5EF4-FFF2-40B4-BE49-F238E27FC236}">
                <a16:creationId xmlns:a16="http://schemas.microsoft.com/office/drawing/2014/main" id="{B7D9EC5E-38BC-3625-4227-C1BF559237D9}"/>
              </a:ext>
            </a:extLst>
          </p:cNvPr>
          <p:cNvGrpSpPr/>
          <p:nvPr/>
        </p:nvGrpSpPr>
        <p:grpSpPr>
          <a:xfrm>
            <a:off x="6299964" y="5080629"/>
            <a:ext cx="2171955" cy="779548"/>
            <a:chOff x="6879853" y="3532269"/>
            <a:chExt cx="2195443" cy="808279"/>
          </a:xfrm>
        </p:grpSpPr>
        <p:sp>
          <p:nvSpPr>
            <p:cNvPr id="141" name="Text 7">
              <a:extLst>
                <a:ext uri="{FF2B5EF4-FFF2-40B4-BE49-F238E27FC236}">
                  <a16:creationId xmlns:a16="http://schemas.microsoft.com/office/drawing/2014/main" id="{94047B12-083B-4FF8-AA95-DF4E22CB9D7D}"/>
                </a:ext>
              </a:extLst>
            </p:cNvPr>
            <p:cNvSpPr/>
            <p:nvPr/>
          </p:nvSpPr>
          <p:spPr>
            <a:xfrm>
              <a:off x="6879853" y="3532269"/>
              <a:ext cx="2195443" cy="223384"/>
            </a:xfrm>
            <a:prstGeom prst="rect">
              <a:avLst/>
            </a:prstGeom>
            <a:noFill/>
            <a:ln/>
          </p:spPr>
          <p:txBody>
            <a:bodyPr wrap="square" lIns="0" tIns="0" rIns="0" bIns="0" rtlCol="0" anchor="t">
              <a:spAutoFit/>
            </a:bodyPr>
            <a:lstStyle/>
            <a:p>
              <a:r>
                <a:rPr lang="en-US" sz="1400" b="1">
                  <a:solidFill>
                    <a:schemeClr val="accent6"/>
                  </a:solidFill>
                  <a:latin typeface="Moderat" pitchFamily="2" charset="77"/>
                  <a:ea typeface="Lato Bold" pitchFamily="34" charset="-122"/>
                  <a:cs typeface="Lato Bold" pitchFamily="34" charset="-120"/>
                </a:rPr>
                <a:t>Reduced Errors</a:t>
              </a:r>
            </a:p>
          </p:txBody>
        </p:sp>
        <p:sp>
          <p:nvSpPr>
            <p:cNvPr id="142" name="Text 8">
              <a:extLst>
                <a:ext uri="{FF2B5EF4-FFF2-40B4-BE49-F238E27FC236}">
                  <a16:creationId xmlns:a16="http://schemas.microsoft.com/office/drawing/2014/main" id="{A2397CB6-BE2C-DFB2-87AC-7CFE39575A74}"/>
                </a:ext>
              </a:extLst>
            </p:cNvPr>
            <p:cNvSpPr/>
            <p:nvPr/>
          </p:nvSpPr>
          <p:spPr>
            <a:xfrm>
              <a:off x="6879854" y="3766132"/>
              <a:ext cx="2012026" cy="574416"/>
            </a:xfrm>
            <a:prstGeom prst="rect">
              <a:avLst/>
            </a:prstGeom>
            <a:noFill/>
            <a:ln/>
          </p:spPr>
          <p:txBody>
            <a:bodyPr wrap="square" lIns="0" tIns="0" rIns="0" bIns="0" rtlCol="0" anchor="t">
              <a:spAutoFit/>
            </a:bodyPr>
            <a:lstStyle/>
            <a:p>
              <a:pPr>
                <a:spcBef>
                  <a:spcPts val="400"/>
                </a:spcBef>
                <a:spcAft>
                  <a:spcPts val="400"/>
                </a:spcAft>
              </a:pPr>
              <a:r>
                <a:rPr lang="en-US" sz="1200">
                  <a:solidFill>
                    <a:schemeClr val="bg2">
                      <a:lumMod val="25000"/>
                    </a:schemeClr>
                  </a:solidFill>
                  <a:latin typeface="Moderat" pitchFamily="2" charset="77"/>
                  <a:ea typeface="Lato" pitchFamily="34" charset="-122"/>
                  <a:cs typeface="Lato" pitchFamily="34" charset="-120"/>
                </a:rPr>
                <a:t>Fewer mistakes caused by cognitive bias or misalignment with stakeholder needs</a:t>
              </a:r>
            </a:p>
          </p:txBody>
        </p:sp>
      </p:grpSp>
      <p:sp>
        <p:nvSpPr>
          <p:cNvPr id="144" name="Shape 2">
            <a:extLst>
              <a:ext uri="{FF2B5EF4-FFF2-40B4-BE49-F238E27FC236}">
                <a16:creationId xmlns:a16="http://schemas.microsoft.com/office/drawing/2014/main" id="{1DCA4502-F157-C58B-0C1E-A42030505B87}"/>
              </a:ext>
            </a:extLst>
          </p:cNvPr>
          <p:cNvSpPr/>
          <p:nvPr/>
        </p:nvSpPr>
        <p:spPr>
          <a:xfrm>
            <a:off x="9228650" y="4937644"/>
            <a:ext cx="2428365" cy="1050424"/>
          </a:xfrm>
          <a:prstGeom prst="roundRect">
            <a:avLst>
              <a:gd name="adj" fmla="val 2503"/>
            </a:avLst>
          </a:prstGeom>
          <a:solidFill>
            <a:schemeClr val="bg1">
              <a:lumMod val="95000"/>
            </a:schemeClr>
          </a:solidFill>
          <a:ln w="22860">
            <a:noFill/>
            <a:prstDash val="solid"/>
          </a:ln>
        </p:spPr>
        <p:txBody>
          <a:bodyPr/>
          <a:lstStyle/>
          <a:p>
            <a:pPr defTabSz="304770"/>
            <a:endParaRPr lang="en-IN" sz="1500">
              <a:solidFill>
                <a:srgbClr val="000000"/>
              </a:solidFill>
              <a:latin typeface="Moderat" pitchFamily="2" charset="77"/>
            </a:endParaRPr>
          </a:p>
        </p:txBody>
      </p:sp>
      <p:grpSp>
        <p:nvGrpSpPr>
          <p:cNvPr id="145" name="Group 144">
            <a:extLst>
              <a:ext uri="{FF2B5EF4-FFF2-40B4-BE49-F238E27FC236}">
                <a16:creationId xmlns:a16="http://schemas.microsoft.com/office/drawing/2014/main" id="{178D5B8D-41E6-E916-A710-D77F60E09625}"/>
              </a:ext>
            </a:extLst>
          </p:cNvPr>
          <p:cNvGrpSpPr/>
          <p:nvPr/>
        </p:nvGrpSpPr>
        <p:grpSpPr>
          <a:xfrm>
            <a:off x="9469525" y="5080629"/>
            <a:ext cx="2171955" cy="779548"/>
            <a:chOff x="6879853" y="3532269"/>
            <a:chExt cx="2195443" cy="808279"/>
          </a:xfrm>
        </p:grpSpPr>
        <p:sp>
          <p:nvSpPr>
            <p:cNvPr id="147" name="Text 7">
              <a:extLst>
                <a:ext uri="{FF2B5EF4-FFF2-40B4-BE49-F238E27FC236}">
                  <a16:creationId xmlns:a16="http://schemas.microsoft.com/office/drawing/2014/main" id="{F4AB07B4-DB6F-E6B8-D5B0-BC639A45F04F}"/>
                </a:ext>
              </a:extLst>
            </p:cNvPr>
            <p:cNvSpPr/>
            <p:nvPr/>
          </p:nvSpPr>
          <p:spPr>
            <a:xfrm>
              <a:off x="6879853" y="3532269"/>
              <a:ext cx="2195443" cy="223384"/>
            </a:xfrm>
            <a:prstGeom prst="rect">
              <a:avLst/>
            </a:prstGeom>
            <a:noFill/>
            <a:ln/>
          </p:spPr>
          <p:txBody>
            <a:bodyPr wrap="square" lIns="0" tIns="0" rIns="0" bIns="0" rtlCol="0" anchor="t">
              <a:spAutoFit/>
            </a:bodyPr>
            <a:lstStyle/>
            <a:p>
              <a:r>
                <a:rPr lang="en-US" sz="1400" b="1">
                  <a:solidFill>
                    <a:schemeClr val="accent6"/>
                  </a:solidFill>
                  <a:latin typeface="Moderat" pitchFamily="2" charset="77"/>
                  <a:ea typeface="Lato Bold" pitchFamily="34" charset="-122"/>
                  <a:cs typeface="Lato Bold" pitchFamily="34" charset="-120"/>
                </a:rPr>
                <a:t>Leadership Maturity</a:t>
              </a:r>
            </a:p>
          </p:txBody>
        </p:sp>
        <p:sp>
          <p:nvSpPr>
            <p:cNvPr id="148" name="Text 8">
              <a:extLst>
                <a:ext uri="{FF2B5EF4-FFF2-40B4-BE49-F238E27FC236}">
                  <a16:creationId xmlns:a16="http://schemas.microsoft.com/office/drawing/2014/main" id="{D76140F1-1439-756D-E509-45DB747A40DC}"/>
                </a:ext>
              </a:extLst>
            </p:cNvPr>
            <p:cNvSpPr/>
            <p:nvPr/>
          </p:nvSpPr>
          <p:spPr>
            <a:xfrm>
              <a:off x="6879854" y="3766132"/>
              <a:ext cx="2107221" cy="574416"/>
            </a:xfrm>
            <a:prstGeom prst="rect">
              <a:avLst/>
            </a:prstGeom>
            <a:noFill/>
            <a:ln/>
          </p:spPr>
          <p:txBody>
            <a:bodyPr wrap="square" lIns="0" tIns="0" rIns="0" bIns="0" rtlCol="0" anchor="t">
              <a:spAutoFit/>
            </a:bodyPr>
            <a:lstStyle/>
            <a:p>
              <a:pPr>
                <a:spcBef>
                  <a:spcPts val="400"/>
                </a:spcBef>
                <a:spcAft>
                  <a:spcPts val="400"/>
                </a:spcAft>
              </a:pPr>
              <a:r>
                <a:rPr lang="en-US" sz="1200">
                  <a:solidFill>
                    <a:schemeClr val="bg2">
                      <a:lumMod val="25000"/>
                    </a:schemeClr>
                  </a:solidFill>
                  <a:latin typeface="Moderat" pitchFamily="2" charset="77"/>
                  <a:ea typeface="Lato" pitchFamily="34" charset="-122"/>
                  <a:cs typeface="Lato" pitchFamily="34" charset="-120"/>
                </a:rPr>
                <a:t>Increased confidence and stronger alignment to global expectations</a:t>
              </a:r>
            </a:p>
          </p:txBody>
        </p:sp>
      </p:grpSp>
      <p:sp>
        <p:nvSpPr>
          <p:cNvPr id="2" name="Rectangle 1">
            <a:extLst>
              <a:ext uri="{FF2B5EF4-FFF2-40B4-BE49-F238E27FC236}">
                <a16:creationId xmlns:a16="http://schemas.microsoft.com/office/drawing/2014/main" id="{05791D46-46B2-851F-C88B-3C8B469E9926}"/>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latin typeface="Moderat" pitchFamily="2" charset="77"/>
              </a:rPr>
              <a:t>Critical Thinking</a:t>
            </a:r>
          </a:p>
        </p:txBody>
      </p:sp>
      <p:sp>
        <p:nvSpPr>
          <p:cNvPr id="3" name="Shape 2">
            <a:extLst>
              <a:ext uri="{FF2B5EF4-FFF2-40B4-BE49-F238E27FC236}">
                <a16:creationId xmlns:a16="http://schemas.microsoft.com/office/drawing/2014/main" id="{553CA9C4-C751-1D18-86A8-DADABAD5BE29}"/>
              </a:ext>
            </a:extLst>
          </p:cNvPr>
          <p:cNvSpPr/>
          <p:nvPr/>
        </p:nvSpPr>
        <p:spPr>
          <a:xfrm flipV="1">
            <a:off x="515939" y="1877124"/>
            <a:ext cx="3382937" cy="1384043"/>
          </a:xfrm>
          <a:prstGeom prst="round2SameRect">
            <a:avLst>
              <a:gd name="adj1" fmla="val 4158"/>
              <a:gd name="adj2" fmla="val 0"/>
            </a:avLst>
          </a:prstGeom>
          <a:solidFill>
            <a:schemeClr val="bg1">
              <a:lumMod val="95000"/>
            </a:schemeClr>
          </a:solidFill>
          <a:ln w="7620">
            <a:noFill/>
            <a:prstDash val="solid"/>
          </a:ln>
        </p:spPr>
        <p:txBody>
          <a:bodyPr/>
          <a:lstStyle/>
          <a:p>
            <a:endParaRPr lang="en-IN" sz="1125">
              <a:latin typeface="Moderat" pitchFamily="2" charset="77"/>
            </a:endParaRPr>
          </a:p>
        </p:txBody>
      </p:sp>
      <p:sp>
        <p:nvSpPr>
          <p:cNvPr id="31" name="Text 4">
            <a:extLst>
              <a:ext uri="{FF2B5EF4-FFF2-40B4-BE49-F238E27FC236}">
                <a16:creationId xmlns:a16="http://schemas.microsoft.com/office/drawing/2014/main" id="{04B23BCF-4A02-BACA-82B6-2DCBBE8F5369}"/>
              </a:ext>
            </a:extLst>
          </p:cNvPr>
          <p:cNvSpPr/>
          <p:nvPr/>
        </p:nvSpPr>
        <p:spPr>
          <a:xfrm>
            <a:off x="704851" y="2381389"/>
            <a:ext cx="2819663" cy="144262"/>
          </a:xfrm>
          <a:prstGeom prst="rect">
            <a:avLst/>
          </a:prstGeom>
          <a:noFill/>
          <a:ln/>
        </p:spPr>
        <p:txBody>
          <a:bodyPr wrap="none" lIns="0" tIns="0" rIns="0" bIns="0" rtlCol="0" anchor="t"/>
          <a:lstStyle/>
          <a:p>
            <a:pPr>
              <a:lnSpc>
                <a:spcPts val="1125"/>
              </a:lnSpc>
            </a:pPr>
            <a:r>
              <a:rPr lang="en-US" sz="1400" b="1">
                <a:solidFill>
                  <a:schemeClr val="accent6"/>
                </a:solidFill>
                <a:latin typeface="Moderat" pitchFamily="2" charset="77"/>
                <a:ea typeface="Raleway" pitchFamily="34" charset="-122"/>
                <a:cs typeface="Raleway" pitchFamily="34" charset="-120"/>
              </a:rPr>
              <a:t>Self-Awareness &amp; Cognitive Bias</a:t>
            </a:r>
          </a:p>
        </p:txBody>
      </p:sp>
      <p:sp>
        <p:nvSpPr>
          <p:cNvPr id="32" name="Text 5">
            <a:extLst>
              <a:ext uri="{FF2B5EF4-FFF2-40B4-BE49-F238E27FC236}">
                <a16:creationId xmlns:a16="http://schemas.microsoft.com/office/drawing/2014/main" id="{274DE04E-99C6-A8CF-94C5-C44C14A259DF}"/>
              </a:ext>
            </a:extLst>
          </p:cNvPr>
          <p:cNvSpPr/>
          <p:nvPr/>
        </p:nvSpPr>
        <p:spPr>
          <a:xfrm>
            <a:off x="704850" y="2577152"/>
            <a:ext cx="3039836" cy="574309"/>
          </a:xfrm>
          <a:prstGeom prst="rect">
            <a:avLst/>
          </a:prstGeom>
          <a:noFill/>
          <a:ln/>
        </p:spPr>
        <p:txBody>
          <a:bodyPr wrap="square" lIns="0" tIns="0" rIns="0" bIns="0" rtlCol="0" anchor="t"/>
          <a:lstStyle/>
          <a:p>
            <a:pPr>
              <a:lnSpc>
                <a:spcPts val="1440"/>
              </a:lnSpc>
            </a:pPr>
            <a:r>
              <a:rPr lang="en-US" sz="1200">
                <a:solidFill>
                  <a:srgbClr val="3C3939"/>
                </a:solidFill>
                <a:latin typeface="Moderat" pitchFamily="2" charset="77"/>
                <a:ea typeface="Roboto" pitchFamily="34" charset="-122"/>
                <a:cs typeface="Roboto" pitchFamily="34" charset="-120"/>
              </a:rPr>
              <a:t>Understanding common biases and their impact on leadership decisions through interactive case simulations and real-world scenarios</a:t>
            </a:r>
          </a:p>
        </p:txBody>
      </p:sp>
      <p:sp>
        <p:nvSpPr>
          <p:cNvPr id="41" name="Text 1">
            <a:extLst>
              <a:ext uri="{FF2B5EF4-FFF2-40B4-BE49-F238E27FC236}">
                <a16:creationId xmlns:a16="http://schemas.microsoft.com/office/drawing/2014/main" id="{BC3B09E7-98D5-66F9-D47C-78F78D67DD7B}"/>
              </a:ext>
            </a:extLst>
          </p:cNvPr>
          <p:cNvSpPr/>
          <p:nvPr/>
        </p:nvSpPr>
        <p:spPr>
          <a:xfrm>
            <a:off x="515938" y="1222623"/>
            <a:ext cx="11141074" cy="205184"/>
          </a:xfrm>
          <a:prstGeom prst="rect">
            <a:avLst/>
          </a:prstGeom>
          <a:noFill/>
          <a:ln/>
        </p:spPr>
        <p:txBody>
          <a:bodyPr wrap="square" lIns="0" tIns="0" rIns="0" bIns="0" rtlCol="0" anchor="t">
            <a:spAutoFit/>
          </a:bodyPr>
          <a:lstStyle/>
          <a:p>
            <a:pPr defTabSz="571500">
              <a:lnSpc>
                <a:spcPts val="1563"/>
              </a:lnSpc>
            </a:pPr>
            <a:r>
              <a:rPr lang="en-US" sz="1400">
                <a:solidFill>
                  <a:srgbClr val="504C49"/>
                </a:solidFill>
                <a:latin typeface="Moderat" pitchFamily="2" charset="77"/>
                <a:ea typeface="Source Serif 4" pitchFamily="34" charset="-122"/>
                <a:cs typeface="Source Serif 4" pitchFamily="34" charset="-120"/>
              </a:rPr>
              <a:t>Building Sharper Judgment, Stronger Decisions, and Leadership Maturity</a:t>
            </a:r>
          </a:p>
        </p:txBody>
      </p:sp>
      <p:sp>
        <p:nvSpPr>
          <p:cNvPr id="5" name="Rectangle 4">
            <a:extLst>
              <a:ext uri="{FF2B5EF4-FFF2-40B4-BE49-F238E27FC236}">
                <a16:creationId xmlns:a16="http://schemas.microsoft.com/office/drawing/2014/main" id="{FEBC099C-1B49-523E-DBC0-9ADEBF0A114A}"/>
              </a:ext>
            </a:extLst>
          </p:cNvPr>
          <p:cNvSpPr/>
          <p:nvPr/>
        </p:nvSpPr>
        <p:spPr>
          <a:xfrm rot="5400000">
            <a:off x="2170918" y="149167"/>
            <a:ext cx="72979" cy="3382937"/>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a:solidFill>
                <a:srgbClr val="FFFFFF"/>
              </a:solidFill>
              <a:latin typeface="Moderat" pitchFamily="2" charset="77"/>
            </a:endParaRPr>
          </a:p>
        </p:txBody>
      </p:sp>
      <p:sp>
        <p:nvSpPr>
          <p:cNvPr id="8" name="Shape 2">
            <a:extLst>
              <a:ext uri="{FF2B5EF4-FFF2-40B4-BE49-F238E27FC236}">
                <a16:creationId xmlns:a16="http://schemas.microsoft.com/office/drawing/2014/main" id="{F5692785-CF89-1EE3-3422-4DB1E883E216}"/>
              </a:ext>
            </a:extLst>
          </p:cNvPr>
          <p:cNvSpPr/>
          <p:nvPr/>
        </p:nvSpPr>
        <p:spPr>
          <a:xfrm flipV="1">
            <a:off x="4395009" y="1877124"/>
            <a:ext cx="3382937" cy="1384043"/>
          </a:xfrm>
          <a:prstGeom prst="round2SameRect">
            <a:avLst>
              <a:gd name="adj1" fmla="val 4158"/>
              <a:gd name="adj2" fmla="val 0"/>
            </a:avLst>
          </a:prstGeom>
          <a:solidFill>
            <a:schemeClr val="bg1">
              <a:lumMod val="95000"/>
            </a:schemeClr>
          </a:solidFill>
          <a:ln w="7620">
            <a:noFill/>
            <a:prstDash val="solid"/>
          </a:ln>
        </p:spPr>
        <p:txBody>
          <a:bodyPr/>
          <a:lstStyle/>
          <a:p>
            <a:endParaRPr lang="en-IN" sz="1125">
              <a:latin typeface="Moderat" pitchFamily="2" charset="77"/>
            </a:endParaRPr>
          </a:p>
        </p:txBody>
      </p:sp>
      <p:sp>
        <p:nvSpPr>
          <p:cNvPr id="9" name="Text 4">
            <a:extLst>
              <a:ext uri="{FF2B5EF4-FFF2-40B4-BE49-F238E27FC236}">
                <a16:creationId xmlns:a16="http://schemas.microsoft.com/office/drawing/2014/main" id="{7A051148-12A2-57D4-33D0-6205F3433787}"/>
              </a:ext>
            </a:extLst>
          </p:cNvPr>
          <p:cNvSpPr/>
          <p:nvPr/>
        </p:nvSpPr>
        <p:spPr>
          <a:xfrm>
            <a:off x="4583921" y="2381389"/>
            <a:ext cx="2819663" cy="144262"/>
          </a:xfrm>
          <a:prstGeom prst="rect">
            <a:avLst/>
          </a:prstGeom>
          <a:noFill/>
          <a:ln/>
        </p:spPr>
        <p:txBody>
          <a:bodyPr wrap="none" lIns="0" tIns="0" rIns="0" bIns="0" rtlCol="0" anchor="t"/>
          <a:lstStyle/>
          <a:p>
            <a:pPr>
              <a:lnSpc>
                <a:spcPts val="1125"/>
              </a:lnSpc>
            </a:pPr>
            <a:r>
              <a:rPr lang="en-US" sz="1400" b="1">
                <a:solidFill>
                  <a:schemeClr val="accent6"/>
                </a:solidFill>
                <a:latin typeface="Moderat" pitchFamily="2" charset="77"/>
                <a:ea typeface="Raleway" pitchFamily="34" charset="-122"/>
                <a:cs typeface="Raleway" pitchFamily="34" charset="-120"/>
              </a:rPr>
              <a:t>Critical Thinking Foundations</a:t>
            </a:r>
          </a:p>
        </p:txBody>
      </p:sp>
      <p:sp>
        <p:nvSpPr>
          <p:cNvPr id="10" name="Text 5">
            <a:extLst>
              <a:ext uri="{FF2B5EF4-FFF2-40B4-BE49-F238E27FC236}">
                <a16:creationId xmlns:a16="http://schemas.microsoft.com/office/drawing/2014/main" id="{48BCEA21-D658-1E6E-BB34-6D8A11B7768B}"/>
              </a:ext>
            </a:extLst>
          </p:cNvPr>
          <p:cNvSpPr/>
          <p:nvPr/>
        </p:nvSpPr>
        <p:spPr>
          <a:xfrm>
            <a:off x="4583920" y="2577152"/>
            <a:ext cx="3007505" cy="574309"/>
          </a:xfrm>
          <a:prstGeom prst="rect">
            <a:avLst/>
          </a:prstGeom>
          <a:noFill/>
          <a:ln/>
        </p:spPr>
        <p:txBody>
          <a:bodyPr wrap="square" lIns="0" tIns="0" rIns="0" bIns="0" rtlCol="0" anchor="t"/>
          <a:lstStyle/>
          <a:p>
            <a:pPr>
              <a:lnSpc>
                <a:spcPts val="1440"/>
              </a:lnSpc>
            </a:pPr>
            <a:r>
              <a:rPr lang="en-US" sz="1200">
                <a:solidFill>
                  <a:srgbClr val="3C3939"/>
                </a:solidFill>
                <a:latin typeface="Moderat" pitchFamily="2" charset="77"/>
                <a:ea typeface="Roboto" pitchFamily="34" charset="-122"/>
                <a:cs typeface="Roboto" pitchFamily="34" charset="-120"/>
              </a:rPr>
              <a:t>Applying the RED Model (Recognize–Evaluate–Draw Conclusions) to improve judgment clarity and decision-making accuracy</a:t>
            </a:r>
          </a:p>
        </p:txBody>
      </p:sp>
      <p:sp>
        <p:nvSpPr>
          <p:cNvPr id="12" name="Rectangle 11">
            <a:extLst>
              <a:ext uri="{FF2B5EF4-FFF2-40B4-BE49-F238E27FC236}">
                <a16:creationId xmlns:a16="http://schemas.microsoft.com/office/drawing/2014/main" id="{DA262BA1-2E98-B045-862C-8231536AA3BA}"/>
              </a:ext>
            </a:extLst>
          </p:cNvPr>
          <p:cNvSpPr/>
          <p:nvPr/>
        </p:nvSpPr>
        <p:spPr>
          <a:xfrm rot="5400000">
            <a:off x="6049988" y="149167"/>
            <a:ext cx="72979" cy="3382937"/>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a:solidFill>
                <a:srgbClr val="FFFFFF"/>
              </a:solidFill>
              <a:latin typeface="Moderat" pitchFamily="2" charset="77"/>
            </a:endParaRPr>
          </a:p>
        </p:txBody>
      </p:sp>
      <p:sp>
        <p:nvSpPr>
          <p:cNvPr id="16" name="Shape 2">
            <a:extLst>
              <a:ext uri="{FF2B5EF4-FFF2-40B4-BE49-F238E27FC236}">
                <a16:creationId xmlns:a16="http://schemas.microsoft.com/office/drawing/2014/main" id="{253EBAD5-9991-0E0A-AA1C-CAF4B1C587B2}"/>
              </a:ext>
            </a:extLst>
          </p:cNvPr>
          <p:cNvSpPr/>
          <p:nvPr/>
        </p:nvSpPr>
        <p:spPr>
          <a:xfrm flipV="1">
            <a:off x="8274078" y="1804144"/>
            <a:ext cx="3382937" cy="1445740"/>
          </a:xfrm>
          <a:prstGeom prst="round2SameRect">
            <a:avLst>
              <a:gd name="adj1" fmla="val 4098"/>
              <a:gd name="adj2" fmla="val 0"/>
            </a:avLst>
          </a:prstGeom>
          <a:solidFill>
            <a:schemeClr val="bg1">
              <a:lumMod val="95000"/>
            </a:schemeClr>
          </a:solidFill>
          <a:ln w="7620">
            <a:noFill/>
            <a:prstDash val="solid"/>
          </a:ln>
        </p:spPr>
        <p:txBody>
          <a:bodyPr/>
          <a:lstStyle/>
          <a:p>
            <a:endParaRPr lang="en-IN" sz="1125">
              <a:latin typeface="Moderat" pitchFamily="2" charset="77"/>
            </a:endParaRPr>
          </a:p>
        </p:txBody>
      </p:sp>
      <p:sp>
        <p:nvSpPr>
          <p:cNvPr id="17" name="Text 4">
            <a:extLst>
              <a:ext uri="{FF2B5EF4-FFF2-40B4-BE49-F238E27FC236}">
                <a16:creationId xmlns:a16="http://schemas.microsoft.com/office/drawing/2014/main" id="{076D997A-809C-4F0E-394A-D86AB8ED35E2}"/>
              </a:ext>
            </a:extLst>
          </p:cNvPr>
          <p:cNvSpPr/>
          <p:nvPr/>
        </p:nvSpPr>
        <p:spPr>
          <a:xfrm>
            <a:off x="8462990" y="2381389"/>
            <a:ext cx="2819663" cy="144262"/>
          </a:xfrm>
          <a:prstGeom prst="rect">
            <a:avLst/>
          </a:prstGeom>
          <a:noFill/>
          <a:ln/>
        </p:spPr>
        <p:txBody>
          <a:bodyPr wrap="none" lIns="0" tIns="0" rIns="0" bIns="0" rtlCol="0" anchor="t"/>
          <a:lstStyle/>
          <a:p>
            <a:pPr>
              <a:lnSpc>
                <a:spcPts val="1125"/>
              </a:lnSpc>
            </a:pPr>
            <a:r>
              <a:rPr lang="en-US" sz="1400" b="1">
                <a:solidFill>
                  <a:schemeClr val="accent6"/>
                </a:solidFill>
                <a:latin typeface="Moderat" pitchFamily="2" charset="77"/>
                <a:ea typeface="Raleway" pitchFamily="34" charset="-122"/>
                <a:cs typeface="Raleway" pitchFamily="34" charset="-120"/>
              </a:rPr>
              <a:t>Contextual Thinking</a:t>
            </a:r>
          </a:p>
        </p:txBody>
      </p:sp>
      <p:sp>
        <p:nvSpPr>
          <p:cNvPr id="18" name="Text 5">
            <a:extLst>
              <a:ext uri="{FF2B5EF4-FFF2-40B4-BE49-F238E27FC236}">
                <a16:creationId xmlns:a16="http://schemas.microsoft.com/office/drawing/2014/main" id="{FC9EABDE-850B-4592-74B7-0A85CCFED417}"/>
              </a:ext>
            </a:extLst>
          </p:cNvPr>
          <p:cNvSpPr/>
          <p:nvPr/>
        </p:nvSpPr>
        <p:spPr>
          <a:xfrm>
            <a:off x="8462989" y="2577152"/>
            <a:ext cx="2916211" cy="574309"/>
          </a:xfrm>
          <a:prstGeom prst="rect">
            <a:avLst/>
          </a:prstGeom>
          <a:noFill/>
          <a:ln/>
        </p:spPr>
        <p:txBody>
          <a:bodyPr wrap="square" lIns="0" tIns="0" rIns="0" bIns="0" rtlCol="0" anchor="t"/>
          <a:lstStyle/>
          <a:p>
            <a:pPr>
              <a:lnSpc>
                <a:spcPts val="1440"/>
              </a:lnSpc>
            </a:pPr>
            <a:r>
              <a:rPr lang="en-US" sz="1200">
                <a:solidFill>
                  <a:srgbClr val="3C3939"/>
                </a:solidFill>
                <a:latin typeface="Moderat" pitchFamily="2" charset="77"/>
                <a:ea typeface="Roboto" pitchFamily="34" charset="-122"/>
                <a:cs typeface="Roboto" pitchFamily="34" charset="-120"/>
              </a:rPr>
              <a:t>Using systems thinking and stakeholder mapping to identify interdependencies and anticipate downstream organizational impact</a:t>
            </a:r>
          </a:p>
        </p:txBody>
      </p:sp>
      <p:sp>
        <p:nvSpPr>
          <p:cNvPr id="19" name="Rectangle 18">
            <a:extLst>
              <a:ext uri="{FF2B5EF4-FFF2-40B4-BE49-F238E27FC236}">
                <a16:creationId xmlns:a16="http://schemas.microsoft.com/office/drawing/2014/main" id="{B0902052-4FFF-5967-F280-494954C1FE36}"/>
              </a:ext>
            </a:extLst>
          </p:cNvPr>
          <p:cNvSpPr/>
          <p:nvPr/>
        </p:nvSpPr>
        <p:spPr>
          <a:xfrm rot="5400000">
            <a:off x="9929057" y="149167"/>
            <a:ext cx="72979" cy="3382937"/>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04770"/>
            <a:endParaRPr lang="en-US" sz="1200">
              <a:solidFill>
                <a:srgbClr val="FFFFFF"/>
              </a:solidFill>
              <a:latin typeface="Moderat" pitchFamily="2" charset="77"/>
            </a:endParaRPr>
          </a:p>
        </p:txBody>
      </p:sp>
      <p:cxnSp>
        <p:nvCxnSpPr>
          <p:cNvPr id="4" name="Straight Connector 3">
            <a:extLst>
              <a:ext uri="{FF2B5EF4-FFF2-40B4-BE49-F238E27FC236}">
                <a16:creationId xmlns:a16="http://schemas.microsoft.com/office/drawing/2014/main" id="{8A061E15-65F6-D520-FFFE-1231DFDF1CA4}"/>
              </a:ext>
            </a:extLst>
          </p:cNvPr>
          <p:cNvCxnSpPr>
            <a:cxnSpLocks/>
          </p:cNvCxnSpPr>
          <p:nvPr/>
        </p:nvCxnSpPr>
        <p:spPr>
          <a:xfrm>
            <a:off x="515939" y="3370932"/>
            <a:ext cx="11141076"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6" name="Shape 5">
            <a:extLst>
              <a:ext uri="{FF2B5EF4-FFF2-40B4-BE49-F238E27FC236}">
                <a16:creationId xmlns:a16="http://schemas.microsoft.com/office/drawing/2014/main" id="{0B901D6F-8BE0-1472-E042-98219AE4FF46}"/>
              </a:ext>
            </a:extLst>
          </p:cNvPr>
          <p:cNvSpPr>
            <a:spLocks/>
          </p:cNvSpPr>
          <p:nvPr/>
        </p:nvSpPr>
        <p:spPr>
          <a:xfrm>
            <a:off x="2914058" y="3519562"/>
            <a:ext cx="2335109" cy="1202497"/>
          </a:xfrm>
          <a:prstGeom prst="roundRect">
            <a:avLst>
              <a:gd name="adj" fmla="val 5135"/>
            </a:avLst>
          </a:prstGeom>
          <a:solidFill>
            <a:schemeClr val="accent2">
              <a:lumMod val="10000"/>
              <a:lumOff val="90000"/>
            </a:schemeClr>
          </a:solidFill>
          <a:ln w="9525">
            <a:noFill/>
          </a:ln>
        </p:spPr>
        <p:txBody>
          <a:bodyPr wrap="square" tIns="108000" anchor="t">
            <a:noAutofit/>
          </a:bodyPr>
          <a:lstStyle/>
          <a:p>
            <a:pPr algn="r"/>
            <a:r>
              <a:rPr lang="en-US" sz="1400">
                <a:solidFill>
                  <a:schemeClr val="bg2">
                    <a:lumMod val="25000"/>
                  </a:schemeClr>
                </a:solidFill>
                <a:latin typeface="Moderat" pitchFamily="2" charset="77"/>
              </a:rPr>
              <a:t>Analyze decisions </a:t>
            </a:r>
            <a:br>
              <a:rPr lang="en-US" sz="1400">
                <a:solidFill>
                  <a:schemeClr val="bg2">
                    <a:lumMod val="25000"/>
                  </a:schemeClr>
                </a:solidFill>
                <a:latin typeface="Moderat" pitchFamily="2" charset="77"/>
              </a:rPr>
            </a:br>
            <a:r>
              <a:rPr lang="en-US" sz="1400">
                <a:solidFill>
                  <a:schemeClr val="bg2">
                    <a:lumMod val="25000"/>
                  </a:schemeClr>
                </a:solidFill>
                <a:latin typeface="Moderat" pitchFamily="2" charset="77"/>
              </a:rPr>
              <a:t>and outcomes</a:t>
            </a:r>
          </a:p>
        </p:txBody>
      </p:sp>
      <p:sp>
        <p:nvSpPr>
          <p:cNvPr id="167" name="Shape 5">
            <a:extLst>
              <a:ext uri="{FF2B5EF4-FFF2-40B4-BE49-F238E27FC236}">
                <a16:creationId xmlns:a16="http://schemas.microsoft.com/office/drawing/2014/main" id="{6C859349-2584-C98B-994C-9E6BBC58D716}"/>
              </a:ext>
            </a:extLst>
          </p:cNvPr>
          <p:cNvSpPr>
            <a:spLocks/>
          </p:cNvSpPr>
          <p:nvPr/>
        </p:nvSpPr>
        <p:spPr>
          <a:xfrm>
            <a:off x="529425" y="4771583"/>
            <a:ext cx="2335109" cy="1213292"/>
          </a:xfrm>
          <a:prstGeom prst="roundRect">
            <a:avLst>
              <a:gd name="adj" fmla="val 5135"/>
            </a:avLst>
          </a:prstGeom>
          <a:solidFill>
            <a:schemeClr val="accent2">
              <a:lumMod val="10000"/>
              <a:lumOff val="90000"/>
            </a:schemeClr>
          </a:solidFill>
          <a:ln w="9525">
            <a:noFill/>
          </a:ln>
        </p:spPr>
        <p:txBody>
          <a:bodyPr wrap="square" bIns="108000" anchor="b">
            <a:noAutofit/>
          </a:bodyPr>
          <a:lstStyle/>
          <a:p>
            <a:r>
              <a:rPr lang="en-US" sz="1400">
                <a:solidFill>
                  <a:schemeClr val="bg2">
                    <a:lumMod val="25000"/>
                  </a:schemeClr>
                </a:solidFill>
                <a:latin typeface="Moderat" pitchFamily="2" charset="77"/>
              </a:rPr>
              <a:t>Implement </a:t>
            </a:r>
            <a:br>
              <a:rPr lang="en-US" sz="1400">
                <a:solidFill>
                  <a:schemeClr val="bg2">
                    <a:lumMod val="25000"/>
                  </a:schemeClr>
                </a:solidFill>
                <a:latin typeface="Moderat" pitchFamily="2" charset="77"/>
              </a:rPr>
            </a:br>
            <a:r>
              <a:rPr lang="en-US" sz="1400">
                <a:solidFill>
                  <a:schemeClr val="bg2">
                    <a:lumMod val="25000"/>
                  </a:schemeClr>
                </a:solidFill>
                <a:latin typeface="Moderat" pitchFamily="2" charset="77"/>
              </a:rPr>
              <a:t>new approaches immediately</a:t>
            </a:r>
          </a:p>
        </p:txBody>
      </p:sp>
      <p:sp>
        <p:nvSpPr>
          <p:cNvPr id="168" name="Shape 5">
            <a:extLst>
              <a:ext uri="{FF2B5EF4-FFF2-40B4-BE49-F238E27FC236}">
                <a16:creationId xmlns:a16="http://schemas.microsoft.com/office/drawing/2014/main" id="{7F1F7992-2DDE-B9A2-5EE3-008C77911B2F}"/>
              </a:ext>
            </a:extLst>
          </p:cNvPr>
          <p:cNvSpPr>
            <a:spLocks/>
          </p:cNvSpPr>
          <p:nvPr/>
        </p:nvSpPr>
        <p:spPr>
          <a:xfrm>
            <a:off x="2914057" y="4771582"/>
            <a:ext cx="2335109" cy="1213292"/>
          </a:xfrm>
          <a:prstGeom prst="roundRect">
            <a:avLst>
              <a:gd name="adj" fmla="val 5135"/>
            </a:avLst>
          </a:prstGeom>
          <a:solidFill>
            <a:schemeClr val="accent2">
              <a:lumMod val="10000"/>
              <a:lumOff val="90000"/>
            </a:schemeClr>
          </a:solidFill>
          <a:ln w="9525">
            <a:noFill/>
          </a:ln>
        </p:spPr>
        <p:txBody>
          <a:bodyPr wrap="square" bIns="108000" anchor="b">
            <a:noAutofit/>
          </a:bodyPr>
          <a:lstStyle/>
          <a:p>
            <a:pPr algn="r"/>
            <a:r>
              <a:rPr lang="en-US" sz="1400">
                <a:solidFill>
                  <a:schemeClr val="bg2">
                    <a:lumMod val="25000"/>
                  </a:schemeClr>
                </a:solidFill>
                <a:latin typeface="Moderat" pitchFamily="2" charset="77"/>
              </a:rPr>
              <a:t>Build </a:t>
            </a:r>
            <a:br>
              <a:rPr lang="en-US" sz="1400">
                <a:solidFill>
                  <a:schemeClr val="bg2">
                    <a:lumMod val="25000"/>
                  </a:schemeClr>
                </a:solidFill>
                <a:latin typeface="Moderat" pitchFamily="2" charset="77"/>
              </a:rPr>
            </a:br>
            <a:r>
              <a:rPr lang="en-US" sz="1400">
                <a:solidFill>
                  <a:schemeClr val="bg2">
                    <a:lumMod val="25000"/>
                  </a:schemeClr>
                </a:solidFill>
                <a:latin typeface="Moderat" pitchFamily="2" charset="77"/>
              </a:rPr>
              <a:t>frameworks </a:t>
            </a:r>
            <a:br>
              <a:rPr lang="en-US" sz="1400">
                <a:solidFill>
                  <a:schemeClr val="bg2">
                    <a:lumMod val="25000"/>
                  </a:schemeClr>
                </a:solidFill>
                <a:latin typeface="Moderat" pitchFamily="2" charset="77"/>
              </a:rPr>
            </a:br>
            <a:r>
              <a:rPr lang="en-US" sz="1400">
                <a:solidFill>
                  <a:schemeClr val="bg2">
                    <a:lumMod val="25000"/>
                  </a:schemeClr>
                </a:solidFill>
                <a:latin typeface="Moderat" pitchFamily="2" charset="77"/>
              </a:rPr>
              <a:t>for understanding</a:t>
            </a:r>
          </a:p>
        </p:txBody>
      </p:sp>
      <p:sp>
        <p:nvSpPr>
          <p:cNvPr id="162" name="Shape 5">
            <a:extLst>
              <a:ext uri="{FF2B5EF4-FFF2-40B4-BE49-F238E27FC236}">
                <a16:creationId xmlns:a16="http://schemas.microsoft.com/office/drawing/2014/main" id="{C16D675A-DB96-386F-C267-87E0220CB8D3}"/>
              </a:ext>
            </a:extLst>
          </p:cNvPr>
          <p:cNvSpPr>
            <a:spLocks/>
          </p:cNvSpPr>
          <p:nvPr/>
        </p:nvSpPr>
        <p:spPr>
          <a:xfrm>
            <a:off x="529425" y="3519562"/>
            <a:ext cx="2335109" cy="1202497"/>
          </a:xfrm>
          <a:prstGeom prst="roundRect">
            <a:avLst>
              <a:gd name="adj" fmla="val 5135"/>
            </a:avLst>
          </a:prstGeom>
          <a:solidFill>
            <a:schemeClr val="accent2">
              <a:lumMod val="10000"/>
              <a:lumOff val="90000"/>
            </a:schemeClr>
          </a:solidFill>
          <a:ln w="9525">
            <a:noFill/>
          </a:ln>
        </p:spPr>
        <p:txBody>
          <a:bodyPr wrap="square" tIns="108000" anchor="t">
            <a:noAutofit/>
          </a:bodyPr>
          <a:lstStyle/>
          <a:p>
            <a:r>
              <a:rPr lang="en-US" sz="1400">
                <a:solidFill>
                  <a:schemeClr val="bg2">
                    <a:lumMod val="25000"/>
                  </a:schemeClr>
                </a:solidFill>
                <a:latin typeface="Moderat" pitchFamily="2" charset="77"/>
              </a:rPr>
              <a:t>Engage with </a:t>
            </a:r>
            <a:br>
              <a:rPr lang="en-US" sz="1400">
                <a:solidFill>
                  <a:schemeClr val="bg2">
                    <a:lumMod val="25000"/>
                  </a:schemeClr>
                </a:solidFill>
                <a:latin typeface="Moderat" pitchFamily="2" charset="77"/>
              </a:rPr>
            </a:br>
            <a:r>
              <a:rPr lang="en-US" sz="1400">
                <a:solidFill>
                  <a:schemeClr val="bg2">
                    <a:lumMod val="25000"/>
                  </a:schemeClr>
                </a:solidFill>
                <a:latin typeface="Moderat" pitchFamily="2" charset="77"/>
              </a:rPr>
              <a:t>real leadership </a:t>
            </a:r>
            <a:br>
              <a:rPr lang="en-US" sz="1400">
                <a:solidFill>
                  <a:schemeClr val="bg2">
                    <a:lumMod val="25000"/>
                  </a:schemeClr>
                </a:solidFill>
                <a:latin typeface="Moderat" pitchFamily="2" charset="77"/>
              </a:rPr>
            </a:br>
            <a:r>
              <a:rPr lang="en-US" sz="1400">
                <a:solidFill>
                  <a:schemeClr val="bg2">
                    <a:lumMod val="25000"/>
                  </a:schemeClr>
                </a:solidFill>
                <a:latin typeface="Moderat" pitchFamily="2" charset="77"/>
              </a:rPr>
              <a:t>scenarios</a:t>
            </a:r>
          </a:p>
        </p:txBody>
      </p:sp>
      <p:sp>
        <p:nvSpPr>
          <p:cNvPr id="156" name="Freeform: Shape 155">
            <a:extLst>
              <a:ext uri="{FF2B5EF4-FFF2-40B4-BE49-F238E27FC236}">
                <a16:creationId xmlns:a16="http://schemas.microsoft.com/office/drawing/2014/main" id="{8EEE29A3-FE20-BEB5-6845-9BB69AA6F6BA}"/>
              </a:ext>
            </a:extLst>
          </p:cNvPr>
          <p:cNvSpPr/>
          <p:nvPr/>
        </p:nvSpPr>
        <p:spPr>
          <a:xfrm>
            <a:off x="1657830" y="3519563"/>
            <a:ext cx="1206704" cy="1202497"/>
          </a:xfrm>
          <a:custGeom>
            <a:avLst/>
            <a:gdLst>
              <a:gd name="connsiteX0" fmla="*/ 0 w 1437931"/>
              <a:gd name="connsiteY0" fmla="*/ 1437931 h 1437931"/>
              <a:gd name="connsiteX1" fmla="*/ 1437931 w 1437931"/>
              <a:gd name="connsiteY1" fmla="*/ 0 h 1437931"/>
              <a:gd name="connsiteX2" fmla="*/ 1437931 w 1437931"/>
              <a:gd name="connsiteY2" fmla="*/ 1437931 h 1437931"/>
              <a:gd name="connsiteX3" fmla="*/ 0 w 1437931"/>
              <a:gd name="connsiteY3" fmla="*/ 1437931 h 1437931"/>
            </a:gdLst>
            <a:ahLst/>
            <a:cxnLst>
              <a:cxn ang="0">
                <a:pos x="connsiteX0" y="connsiteY0"/>
              </a:cxn>
              <a:cxn ang="0">
                <a:pos x="connsiteX1" y="connsiteY1"/>
              </a:cxn>
              <a:cxn ang="0">
                <a:pos x="connsiteX2" y="connsiteY2"/>
              </a:cxn>
              <a:cxn ang="0">
                <a:pos x="connsiteX3" y="connsiteY3"/>
              </a:cxn>
            </a:cxnLst>
            <a:rect l="l" t="t" r="r" b="b"/>
            <a:pathLst>
              <a:path w="1437931" h="1437931">
                <a:moveTo>
                  <a:pt x="0" y="1437931"/>
                </a:moveTo>
                <a:cubicBezTo>
                  <a:pt x="0" y="643784"/>
                  <a:pt x="643784" y="0"/>
                  <a:pt x="1437931" y="0"/>
                </a:cubicBezTo>
                <a:lnTo>
                  <a:pt x="1437931" y="1437931"/>
                </a:lnTo>
                <a:lnTo>
                  <a:pt x="0" y="1437931"/>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latin typeface="Moderat" pitchFamily="2" charset="77"/>
            </a:endParaRPr>
          </a:p>
        </p:txBody>
      </p:sp>
      <p:sp>
        <p:nvSpPr>
          <p:cNvPr id="157" name="Freeform: Shape 156">
            <a:extLst>
              <a:ext uri="{FF2B5EF4-FFF2-40B4-BE49-F238E27FC236}">
                <a16:creationId xmlns:a16="http://schemas.microsoft.com/office/drawing/2014/main" id="{421614EB-69E5-F9E1-EEC7-0A9EB1D430B7}"/>
              </a:ext>
            </a:extLst>
          </p:cNvPr>
          <p:cNvSpPr/>
          <p:nvPr/>
        </p:nvSpPr>
        <p:spPr>
          <a:xfrm>
            <a:off x="2914058" y="3519562"/>
            <a:ext cx="1191998" cy="1202497"/>
          </a:xfrm>
          <a:custGeom>
            <a:avLst/>
            <a:gdLst>
              <a:gd name="connsiteX0" fmla="*/ 0 w 1437931"/>
              <a:gd name="connsiteY0" fmla="*/ 1437931 h 1437931"/>
              <a:gd name="connsiteX1" fmla="*/ 1437931 w 1437931"/>
              <a:gd name="connsiteY1" fmla="*/ 0 h 1437931"/>
              <a:gd name="connsiteX2" fmla="*/ 1437931 w 1437931"/>
              <a:gd name="connsiteY2" fmla="*/ 1437931 h 1437931"/>
              <a:gd name="connsiteX3" fmla="*/ 0 w 1437931"/>
              <a:gd name="connsiteY3" fmla="*/ 1437931 h 1437931"/>
            </a:gdLst>
            <a:ahLst/>
            <a:cxnLst>
              <a:cxn ang="0">
                <a:pos x="connsiteX0" y="connsiteY0"/>
              </a:cxn>
              <a:cxn ang="0">
                <a:pos x="connsiteX1" y="connsiteY1"/>
              </a:cxn>
              <a:cxn ang="0">
                <a:pos x="connsiteX2" y="connsiteY2"/>
              </a:cxn>
              <a:cxn ang="0">
                <a:pos x="connsiteX3" y="connsiteY3"/>
              </a:cxn>
            </a:cxnLst>
            <a:rect l="l" t="t" r="r" b="b"/>
            <a:pathLst>
              <a:path w="1437931" h="1437931">
                <a:moveTo>
                  <a:pt x="0" y="0"/>
                </a:moveTo>
                <a:cubicBezTo>
                  <a:pt x="794147" y="0"/>
                  <a:pt x="1437931" y="643784"/>
                  <a:pt x="1437931" y="1437931"/>
                </a:cubicBezTo>
                <a:lnTo>
                  <a:pt x="0" y="1437931"/>
                </a:lnTo>
                <a:lnTo>
                  <a:pt x="0" y="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latin typeface="Moderat" pitchFamily="2" charset="77"/>
            </a:endParaRPr>
          </a:p>
        </p:txBody>
      </p:sp>
      <p:sp>
        <p:nvSpPr>
          <p:cNvPr id="158" name="Freeform: Shape 157">
            <a:extLst>
              <a:ext uri="{FF2B5EF4-FFF2-40B4-BE49-F238E27FC236}">
                <a16:creationId xmlns:a16="http://schemas.microsoft.com/office/drawing/2014/main" id="{1B55B94F-2565-8AE6-A4F0-F00D68C75EE6}"/>
              </a:ext>
            </a:extLst>
          </p:cNvPr>
          <p:cNvSpPr/>
          <p:nvPr/>
        </p:nvSpPr>
        <p:spPr>
          <a:xfrm>
            <a:off x="2914057" y="4771582"/>
            <a:ext cx="1191998" cy="1213292"/>
          </a:xfrm>
          <a:custGeom>
            <a:avLst/>
            <a:gdLst>
              <a:gd name="connsiteX0" fmla="*/ 0 w 1437931"/>
              <a:gd name="connsiteY0" fmla="*/ 1437931 h 1437931"/>
              <a:gd name="connsiteX1" fmla="*/ 1437931 w 1437931"/>
              <a:gd name="connsiteY1" fmla="*/ 0 h 1437931"/>
              <a:gd name="connsiteX2" fmla="*/ 1437931 w 1437931"/>
              <a:gd name="connsiteY2" fmla="*/ 1437931 h 1437931"/>
              <a:gd name="connsiteX3" fmla="*/ 0 w 1437931"/>
              <a:gd name="connsiteY3" fmla="*/ 1437931 h 1437931"/>
            </a:gdLst>
            <a:ahLst/>
            <a:cxnLst>
              <a:cxn ang="0">
                <a:pos x="connsiteX0" y="connsiteY0"/>
              </a:cxn>
              <a:cxn ang="0">
                <a:pos x="connsiteX1" y="connsiteY1"/>
              </a:cxn>
              <a:cxn ang="0">
                <a:pos x="connsiteX2" y="connsiteY2"/>
              </a:cxn>
              <a:cxn ang="0">
                <a:pos x="connsiteX3" y="connsiteY3"/>
              </a:cxn>
            </a:cxnLst>
            <a:rect l="l" t="t" r="r" b="b"/>
            <a:pathLst>
              <a:path w="1437931" h="1437931">
                <a:moveTo>
                  <a:pt x="1437931" y="0"/>
                </a:moveTo>
                <a:cubicBezTo>
                  <a:pt x="1437931" y="794147"/>
                  <a:pt x="794147" y="1437931"/>
                  <a:pt x="0" y="1437931"/>
                </a:cubicBezTo>
                <a:lnTo>
                  <a:pt x="0" y="0"/>
                </a:lnTo>
                <a:lnTo>
                  <a:pt x="1437931" y="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latin typeface="Moderat" pitchFamily="2" charset="77"/>
            </a:endParaRPr>
          </a:p>
        </p:txBody>
      </p:sp>
      <p:sp>
        <p:nvSpPr>
          <p:cNvPr id="159" name="Freeform: Shape 158">
            <a:extLst>
              <a:ext uri="{FF2B5EF4-FFF2-40B4-BE49-F238E27FC236}">
                <a16:creationId xmlns:a16="http://schemas.microsoft.com/office/drawing/2014/main" id="{2C843C5C-A4B0-FBDB-17C6-E83AA2D3FE62}"/>
              </a:ext>
            </a:extLst>
          </p:cNvPr>
          <p:cNvSpPr/>
          <p:nvPr/>
        </p:nvSpPr>
        <p:spPr>
          <a:xfrm>
            <a:off x="1657830" y="4771583"/>
            <a:ext cx="1206704" cy="1213292"/>
          </a:xfrm>
          <a:custGeom>
            <a:avLst/>
            <a:gdLst>
              <a:gd name="connsiteX0" fmla="*/ 0 w 1437931"/>
              <a:gd name="connsiteY0" fmla="*/ 1437931 h 1437931"/>
              <a:gd name="connsiteX1" fmla="*/ 1437931 w 1437931"/>
              <a:gd name="connsiteY1" fmla="*/ 0 h 1437931"/>
              <a:gd name="connsiteX2" fmla="*/ 1437931 w 1437931"/>
              <a:gd name="connsiteY2" fmla="*/ 1437931 h 1437931"/>
              <a:gd name="connsiteX3" fmla="*/ 0 w 1437931"/>
              <a:gd name="connsiteY3" fmla="*/ 1437931 h 1437931"/>
            </a:gdLst>
            <a:ahLst/>
            <a:cxnLst>
              <a:cxn ang="0">
                <a:pos x="connsiteX0" y="connsiteY0"/>
              </a:cxn>
              <a:cxn ang="0">
                <a:pos x="connsiteX1" y="connsiteY1"/>
              </a:cxn>
              <a:cxn ang="0">
                <a:pos x="connsiteX2" y="connsiteY2"/>
              </a:cxn>
              <a:cxn ang="0">
                <a:pos x="connsiteX3" y="connsiteY3"/>
              </a:cxn>
            </a:cxnLst>
            <a:rect l="l" t="t" r="r" b="b"/>
            <a:pathLst>
              <a:path w="1437931" h="1437931">
                <a:moveTo>
                  <a:pt x="1437931" y="1437931"/>
                </a:moveTo>
                <a:cubicBezTo>
                  <a:pt x="643784" y="1437931"/>
                  <a:pt x="0" y="794147"/>
                  <a:pt x="0" y="0"/>
                </a:cubicBezTo>
                <a:lnTo>
                  <a:pt x="1437931" y="0"/>
                </a:lnTo>
                <a:lnTo>
                  <a:pt x="1437931" y="1437931"/>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latin typeface="Moderat" pitchFamily="2" charset="77"/>
            </a:endParaRPr>
          </a:p>
        </p:txBody>
      </p:sp>
      <p:sp>
        <p:nvSpPr>
          <p:cNvPr id="163" name="Text 5">
            <a:extLst>
              <a:ext uri="{FF2B5EF4-FFF2-40B4-BE49-F238E27FC236}">
                <a16:creationId xmlns:a16="http://schemas.microsoft.com/office/drawing/2014/main" id="{AB30B042-12FA-91E7-F767-A52D0D2E7939}"/>
              </a:ext>
            </a:extLst>
          </p:cNvPr>
          <p:cNvSpPr/>
          <p:nvPr/>
        </p:nvSpPr>
        <p:spPr>
          <a:xfrm>
            <a:off x="2994359" y="4095250"/>
            <a:ext cx="764078" cy="353639"/>
          </a:xfrm>
          <a:prstGeom prst="rect">
            <a:avLst/>
          </a:prstGeom>
          <a:noFill/>
          <a:ln/>
        </p:spPr>
        <p:txBody>
          <a:bodyPr wrap="square" lIns="36000" tIns="0" rIns="36000" bIns="0" rtlCol="0" anchor="ctr"/>
          <a:lstStyle/>
          <a:p>
            <a:pPr algn="ctr" defTabSz="571500">
              <a:lnSpc>
                <a:spcPts val="1440"/>
              </a:lnSpc>
              <a:spcAft>
                <a:spcPts val="1200"/>
              </a:spcAft>
              <a:buClr>
                <a:schemeClr val="accent5"/>
              </a:buClr>
              <a:buSzPct val="100000"/>
            </a:pPr>
            <a:r>
              <a:rPr lang="en-US" sz="1400" b="1">
                <a:solidFill>
                  <a:schemeClr val="bg1"/>
                </a:solidFill>
                <a:latin typeface="Moderat" pitchFamily="2" charset="77"/>
              </a:rPr>
              <a:t>Reflect</a:t>
            </a:r>
          </a:p>
        </p:txBody>
      </p:sp>
      <p:sp>
        <p:nvSpPr>
          <p:cNvPr id="171" name="Text 5">
            <a:extLst>
              <a:ext uri="{FF2B5EF4-FFF2-40B4-BE49-F238E27FC236}">
                <a16:creationId xmlns:a16="http://schemas.microsoft.com/office/drawing/2014/main" id="{866F7938-1058-FBB7-4B17-7FE11D2F7302}"/>
              </a:ext>
            </a:extLst>
          </p:cNvPr>
          <p:cNvSpPr/>
          <p:nvPr/>
        </p:nvSpPr>
        <p:spPr>
          <a:xfrm>
            <a:off x="1834003" y="4155423"/>
            <a:ext cx="949875" cy="286606"/>
          </a:xfrm>
          <a:prstGeom prst="rect">
            <a:avLst/>
          </a:prstGeom>
          <a:noFill/>
          <a:ln/>
        </p:spPr>
        <p:txBody>
          <a:bodyPr wrap="square" lIns="36000" tIns="0" rIns="36000" bIns="0" rtlCol="0" anchor="ctr"/>
          <a:lstStyle/>
          <a:p>
            <a:pPr algn="ctr" defTabSz="571500">
              <a:lnSpc>
                <a:spcPts val="1440"/>
              </a:lnSpc>
              <a:spcAft>
                <a:spcPts val="1200"/>
              </a:spcAft>
              <a:buClr>
                <a:schemeClr val="accent5"/>
              </a:buClr>
              <a:buSzPct val="100000"/>
            </a:pPr>
            <a:r>
              <a:rPr lang="en-US" sz="1400" b="1">
                <a:solidFill>
                  <a:schemeClr val="bg1"/>
                </a:solidFill>
                <a:latin typeface="Moderat" pitchFamily="2" charset="77"/>
              </a:rPr>
              <a:t>Experience</a:t>
            </a:r>
          </a:p>
        </p:txBody>
      </p:sp>
      <p:sp>
        <p:nvSpPr>
          <p:cNvPr id="172" name="Text 5">
            <a:extLst>
              <a:ext uri="{FF2B5EF4-FFF2-40B4-BE49-F238E27FC236}">
                <a16:creationId xmlns:a16="http://schemas.microsoft.com/office/drawing/2014/main" id="{1DA176C2-A2D6-1252-C015-E2D9D30E871C}"/>
              </a:ext>
            </a:extLst>
          </p:cNvPr>
          <p:cNvSpPr/>
          <p:nvPr/>
        </p:nvSpPr>
        <p:spPr>
          <a:xfrm>
            <a:off x="1834003" y="5115586"/>
            <a:ext cx="949875" cy="353639"/>
          </a:xfrm>
          <a:prstGeom prst="rect">
            <a:avLst/>
          </a:prstGeom>
          <a:noFill/>
          <a:ln/>
        </p:spPr>
        <p:txBody>
          <a:bodyPr wrap="square" lIns="36000" tIns="0" rIns="36000" bIns="0" rtlCol="0" anchor="ctr"/>
          <a:lstStyle/>
          <a:p>
            <a:pPr algn="ctr" defTabSz="571500">
              <a:lnSpc>
                <a:spcPts val="1440"/>
              </a:lnSpc>
              <a:spcAft>
                <a:spcPts val="1200"/>
              </a:spcAft>
              <a:buClr>
                <a:schemeClr val="accent5"/>
              </a:buClr>
              <a:buSzPct val="100000"/>
            </a:pPr>
            <a:r>
              <a:rPr lang="en-US" sz="1400" b="1">
                <a:solidFill>
                  <a:schemeClr val="bg1"/>
                </a:solidFill>
                <a:latin typeface="Moderat" pitchFamily="2" charset="77"/>
              </a:rPr>
              <a:t>Apply</a:t>
            </a:r>
          </a:p>
        </p:txBody>
      </p:sp>
      <p:sp>
        <p:nvSpPr>
          <p:cNvPr id="173" name="Text 5">
            <a:extLst>
              <a:ext uri="{FF2B5EF4-FFF2-40B4-BE49-F238E27FC236}">
                <a16:creationId xmlns:a16="http://schemas.microsoft.com/office/drawing/2014/main" id="{9D8DA3B2-23DF-1F11-3203-44CEA4BCF31C}"/>
              </a:ext>
            </a:extLst>
          </p:cNvPr>
          <p:cNvSpPr/>
          <p:nvPr/>
        </p:nvSpPr>
        <p:spPr>
          <a:xfrm>
            <a:off x="2943405" y="5131457"/>
            <a:ext cx="918636" cy="321895"/>
          </a:xfrm>
          <a:prstGeom prst="rect">
            <a:avLst/>
          </a:prstGeom>
          <a:noFill/>
          <a:ln/>
        </p:spPr>
        <p:txBody>
          <a:bodyPr wrap="square" lIns="36000" tIns="0" rIns="36000" bIns="0" rtlCol="0" anchor="ctr"/>
          <a:lstStyle/>
          <a:p>
            <a:pPr algn="ctr" defTabSz="571500">
              <a:lnSpc>
                <a:spcPts val="1440"/>
              </a:lnSpc>
              <a:spcAft>
                <a:spcPts val="1200"/>
              </a:spcAft>
              <a:buClr>
                <a:schemeClr val="accent5"/>
              </a:buClr>
              <a:buSzPct val="100000"/>
            </a:pPr>
            <a:r>
              <a:rPr lang="en-US" sz="1400" b="1">
                <a:solidFill>
                  <a:schemeClr val="bg1"/>
                </a:solidFill>
                <a:latin typeface="Moderat" pitchFamily="2" charset="77"/>
              </a:rPr>
              <a:t>Concept-</a:t>
            </a:r>
            <a:r>
              <a:rPr lang="en-US" sz="1400" b="1" err="1">
                <a:solidFill>
                  <a:schemeClr val="bg1"/>
                </a:solidFill>
                <a:latin typeface="Moderat" pitchFamily="2" charset="77"/>
              </a:rPr>
              <a:t>ualize</a:t>
            </a:r>
            <a:endParaRPr lang="en-US" sz="1400" b="1">
              <a:solidFill>
                <a:schemeClr val="bg1"/>
              </a:solidFill>
              <a:latin typeface="Moderat" pitchFamily="2" charset="77"/>
            </a:endParaRPr>
          </a:p>
        </p:txBody>
      </p:sp>
      <p:grpSp>
        <p:nvGrpSpPr>
          <p:cNvPr id="15" name="Group 14">
            <a:extLst>
              <a:ext uri="{FF2B5EF4-FFF2-40B4-BE49-F238E27FC236}">
                <a16:creationId xmlns:a16="http://schemas.microsoft.com/office/drawing/2014/main" id="{C909ED5F-083F-67F4-D25D-B0F7F2D66773}"/>
              </a:ext>
            </a:extLst>
          </p:cNvPr>
          <p:cNvGrpSpPr/>
          <p:nvPr/>
        </p:nvGrpSpPr>
        <p:grpSpPr>
          <a:xfrm>
            <a:off x="9621019" y="1514851"/>
            <a:ext cx="689054" cy="689054"/>
            <a:chOff x="9621019" y="1514851"/>
            <a:chExt cx="689054" cy="689054"/>
          </a:xfrm>
        </p:grpSpPr>
        <p:sp>
          <p:nvSpPr>
            <p:cNvPr id="24" name="Oval 23">
              <a:extLst>
                <a:ext uri="{FF2B5EF4-FFF2-40B4-BE49-F238E27FC236}">
                  <a16:creationId xmlns:a16="http://schemas.microsoft.com/office/drawing/2014/main" id="{BB6CC5D3-B19C-3803-969A-31A4ACBB64DB}"/>
                </a:ext>
              </a:extLst>
            </p:cNvPr>
            <p:cNvSpPr>
              <a:spLocks noChangeAspect="1"/>
            </p:cNvSpPr>
            <p:nvPr/>
          </p:nvSpPr>
          <p:spPr>
            <a:xfrm>
              <a:off x="9621019" y="1514851"/>
              <a:ext cx="689054" cy="68905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sp>
          <p:nvSpPr>
            <p:cNvPr id="179" name="Pic">
              <a:extLst>
                <a:ext uri="{FF2B5EF4-FFF2-40B4-BE49-F238E27FC236}">
                  <a16:creationId xmlns:a16="http://schemas.microsoft.com/office/drawing/2014/main" id="{8C68ABBC-50FF-1EFA-BC6E-FF55B4FD7D49}"/>
                </a:ext>
              </a:extLst>
            </p:cNvPr>
            <p:cNvSpPr>
              <a:spLocks noChangeAspect="1"/>
            </p:cNvSpPr>
            <p:nvPr/>
          </p:nvSpPr>
          <p:spPr>
            <a:xfrm>
              <a:off x="9759872" y="1653708"/>
              <a:ext cx="411349" cy="411341"/>
            </a:xfrm>
            <a:custGeom>
              <a:avLst/>
              <a:gdLst>
                <a:gd name="csX0" fmla="*/ 275079 w 881762"/>
                <a:gd name="csY0" fmla="*/ 238821 h 881744"/>
                <a:gd name="csX1" fmla="*/ 108498 w 881762"/>
                <a:gd name="csY1" fmla="*/ 405401 h 881744"/>
                <a:gd name="csX2" fmla="*/ 264103 w 881762"/>
                <a:gd name="csY2" fmla="*/ 571597 h 881744"/>
                <a:gd name="csX3" fmla="*/ 264103 w 881762"/>
                <a:gd name="csY3" fmla="*/ 605843 h 881744"/>
                <a:gd name="csX4" fmla="*/ 246358 w 881762"/>
                <a:gd name="csY4" fmla="*/ 605843 h 881744"/>
                <a:gd name="csX5" fmla="*/ 235382 w 881762"/>
                <a:gd name="csY5" fmla="*/ 616819 h 881744"/>
                <a:gd name="csX6" fmla="*/ 235382 w 881762"/>
                <a:gd name="csY6" fmla="*/ 705981 h 881744"/>
                <a:gd name="csX7" fmla="*/ 275079 w 881762"/>
                <a:gd name="csY7" fmla="*/ 745678 h 881744"/>
                <a:gd name="csX8" fmla="*/ 314776 w 881762"/>
                <a:gd name="csY8" fmla="*/ 705981 h 881744"/>
                <a:gd name="csX9" fmla="*/ 314776 w 881762"/>
                <a:gd name="csY9" fmla="*/ 616819 h 881744"/>
                <a:gd name="csX10" fmla="*/ 303799 w 881762"/>
                <a:gd name="csY10" fmla="*/ 605843 h 881744"/>
                <a:gd name="csX11" fmla="*/ 286055 w 881762"/>
                <a:gd name="csY11" fmla="*/ 605843 h 881744"/>
                <a:gd name="csX12" fmla="*/ 286055 w 881762"/>
                <a:gd name="csY12" fmla="*/ 571597 h 881744"/>
                <a:gd name="csX13" fmla="*/ 441659 w 881762"/>
                <a:gd name="csY13" fmla="*/ 405401 h 881744"/>
                <a:gd name="csX14" fmla="*/ 275079 w 881762"/>
                <a:gd name="csY14" fmla="*/ 238821 h 881744"/>
                <a:gd name="csX15" fmla="*/ 292823 w 881762"/>
                <a:gd name="csY15" fmla="*/ 705981 h 881744"/>
                <a:gd name="csX16" fmla="*/ 275079 w 881762"/>
                <a:gd name="csY16" fmla="*/ 723726 h 881744"/>
                <a:gd name="csX17" fmla="*/ 257334 w 881762"/>
                <a:gd name="csY17" fmla="*/ 705981 h 881744"/>
                <a:gd name="csX18" fmla="*/ 257334 w 881762"/>
                <a:gd name="csY18" fmla="*/ 627795 h 881744"/>
                <a:gd name="csX19" fmla="*/ 292823 w 881762"/>
                <a:gd name="csY19" fmla="*/ 627795 h 881744"/>
                <a:gd name="csX20" fmla="*/ 275079 w 881762"/>
                <a:gd name="csY20" fmla="*/ 550029 h 881744"/>
                <a:gd name="csX21" fmla="*/ 130451 w 881762"/>
                <a:gd name="csY21" fmla="*/ 405401 h 881744"/>
                <a:gd name="csX22" fmla="*/ 275079 w 881762"/>
                <a:gd name="csY22" fmla="*/ 260773 h 881744"/>
                <a:gd name="csX23" fmla="*/ 419707 w 881762"/>
                <a:gd name="csY23" fmla="*/ 405401 h 881744"/>
                <a:gd name="csX24" fmla="*/ 275079 w 881762"/>
                <a:gd name="csY24" fmla="*/ 550029 h 881744"/>
                <a:gd name="csX25" fmla="*/ 359247 w 881762"/>
                <a:gd name="csY25" fmla="*/ 324874 h 881744"/>
                <a:gd name="csX26" fmla="*/ 333782 w 881762"/>
                <a:gd name="csY26" fmla="*/ 333654 h 881744"/>
                <a:gd name="csX27" fmla="*/ 307842 w 881762"/>
                <a:gd name="csY27" fmla="*/ 318654 h 881744"/>
                <a:gd name="csX28" fmla="*/ 302720 w 881762"/>
                <a:gd name="csY28" fmla="*/ 292238 h 881744"/>
                <a:gd name="csX29" fmla="*/ 291945 w 881762"/>
                <a:gd name="csY29" fmla="*/ 283347 h 881744"/>
                <a:gd name="csX30" fmla="*/ 258194 w 881762"/>
                <a:gd name="csY30" fmla="*/ 283347 h 881744"/>
                <a:gd name="csX31" fmla="*/ 247419 w 881762"/>
                <a:gd name="csY31" fmla="*/ 292238 h 881744"/>
                <a:gd name="csX32" fmla="*/ 242297 w 881762"/>
                <a:gd name="csY32" fmla="*/ 318654 h 881744"/>
                <a:gd name="csX33" fmla="*/ 216357 w 881762"/>
                <a:gd name="csY33" fmla="*/ 333654 h 881744"/>
                <a:gd name="csX34" fmla="*/ 190892 w 881762"/>
                <a:gd name="csY34" fmla="*/ 324874 h 881744"/>
                <a:gd name="csX35" fmla="*/ 177812 w 881762"/>
                <a:gd name="csY35" fmla="*/ 329758 h 881744"/>
                <a:gd name="csX36" fmla="*/ 160946 w 881762"/>
                <a:gd name="csY36" fmla="*/ 358991 h 881744"/>
                <a:gd name="csX37" fmla="*/ 163251 w 881762"/>
                <a:gd name="csY37" fmla="*/ 372766 h 881744"/>
                <a:gd name="csX38" fmla="*/ 183575 w 881762"/>
                <a:gd name="csY38" fmla="*/ 390419 h 881744"/>
                <a:gd name="csX39" fmla="*/ 182367 w 881762"/>
                <a:gd name="csY39" fmla="*/ 405401 h 881744"/>
                <a:gd name="csX40" fmla="*/ 183575 w 881762"/>
                <a:gd name="csY40" fmla="*/ 420384 h 881744"/>
                <a:gd name="csX41" fmla="*/ 163251 w 881762"/>
                <a:gd name="csY41" fmla="*/ 438037 h 881744"/>
                <a:gd name="csX42" fmla="*/ 160946 w 881762"/>
                <a:gd name="csY42" fmla="*/ 451812 h 881744"/>
                <a:gd name="csX43" fmla="*/ 177812 w 881762"/>
                <a:gd name="csY43" fmla="*/ 481045 h 881744"/>
                <a:gd name="csX44" fmla="*/ 190892 w 881762"/>
                <a:gd name="csY44" fmla="*/ 485929 h 881744"/>
                <a:gd name="csX45" fmla="*/ 216357 w 881762"/>
                <a:gd name="csY45" fmla="*/ 477148 h 881744"/>
                <a:gd name="csX46" fmla="*/ 242297 w 881762"/>
                <a:gd name="csY46" fmla="*/ 492149 h 881744"/>
                <a:gd name="csX47" fmla="*/ 247419 w 881762"/>
                <a:gd name="csY47" fmla="*/ 518565 h 881744"/>
                <a:gd name="csX48" fmla="*/ 258194 w 881762"/>
                <a:gd name="csY48" fmla="*/ 527455 h 881744"/>
                <a:gd name="csX49" fmla="*/ 291945 w 881762"/>
                <a:gd name="csY49" fmla="*/ 527455 h 881744"/>
                <a:gd name="csX50" fmla="*/ 302720 w 881762"/>
                <a:gd name="csY50" fmla="*/ 518565 h 881744"/>
                <a:gd name="csX51" fmla="*/ 307842 w 881762"/>
                <a:gd name="csY51" fmla="*/ 492149 h 881744"/>
                <a:gd name="csX52" fmla="*/ 333782 w 881762"/>
                <a:gd name="csY52" fmla="*/ 477148 h 881744"/>
                <a:gd name="csX53" fmla="*/ 359247 w 881762"/>
                <a:gd name="csY53" fmla="*/ 485929 h 881744"/>
                <a:gd name="csX54" fmla="*/ 372327 w 881762"/>
                <a:gd name="csY54" fmla="*/ 481045 h 881744"/>
                <a:gd name="csX55" fmla="*/ 389193 w 881762"/>
                <a:gd name="csY55" fmla="*/ 451812 h 881744"/>
                <a:gd name="csX56" fmla="*/ 386888 w 881762"/>
                <a:gd name="csY56" fmla="*/ 438037 h 881744"/>
                <a:gd name="csX57" fmla="*/ 366564 w 881762"/>
                <a:gd name="csY57" fmla="*/ 420384 h 881744"/>
                <a:gd name="csX58" fmla="*/ 367772 w 881762"/>
                <a:gd name="csY58" fmla="*/ 405401 h 881744"/>
                <a:gd name="csX59" fmla="*/ 366564 w 881762"/>
                <a:gd name="csY59" fmla="*/ 390419 h 881744"/>
                <a:gd name="csX60" fmla="*/ 386888 w 881762"/>
                <a:gd name="csY60" fmla="*/ 372766 h 881744"/>
                <a:gd name="csX61" fmla="*/ 389193 w 881762"/>
                <a:gd name="csY61" fmla="*/ 358991 h 881744"/>
                <a:gd name="csX62" fmla="*/ 372327 w 881762"/>
                <a:gd name="csY62" fmla="*/ 329758 h 881744"/>
                <a:gd name="csX63" fmla="*/ 359247 w 881762"/>
                <a:gd name="csY63" fmla="*/ 324874 h 881744"/>
                <a:gd name="csX64" fmla="*/ 343880 w 881762"/>
                <a:gd name="csY64" fmla="*/ 388864 h 881744"/>
                <a:gd name="csX65" fmla="*/ 345820 w 881762"/>
                <a:gd name="csY65" fmla="*/ 405401 h 881744"/>
                <a:gd name="csX66" fmla="*/ 343880 w 881762"/>
                <a:gd name="csY66" fmla="*/ 421939 h 881744"/>
                <a:gd name="csX67" fmla="*/ 347356 w 881762"/>
                <a:gd name="csY67" fmla="*/ 432787 h 881744"/>
                <a:gd name="csX68" fmla="*/ 365668 w 881762"/>
                <a:gd name="csY68" fmla="*/ 448684 h 881744"/>
                <a:gd name="csX69" fmla="*/ 357838 w 881762"/>
                <a:gd name="csY69" fmla="*/ 462239 h 881744"/>
                <a:gd name="csX70" fmla="*/ 334898 w 881762"/>
                <a:gd name="csY70" fmla="*/ 454336 h 881744"/>
                <a:gd name="csX71" fmla="*/ 323758 w 881762"/>
                <a:gd name="csY71" fmla="*/ 456751 h 881744"/>
                <a:gd name="csX72" fmla="*/ 295147 w 881762"/>
                <a:gd name="csY72" fmla="*/ 473288 h 881744"/>
                <a:gd name="csX73" fmla="*/ 287482 w 881762"/>
                <a:gd name="csY73" fmla="*/ 481722 h 881744"/>
                <a:gd name="csX74" fmla="*/ 282872 w 881762"/>
                <a:gd name="csY74" fmla="*/ 505521 h 881744"/>
                <a:gd name="csX75" fmla="*/ 267231 w 881762"/>
                <a:gd name="csY75" fmla="*/ 505521 h 881744"/>
                <a:gd name="csX76" fmla="*/ 262621 w 881762"/>
                <a:gd name="csY76" fmla="*/ 481722 h 881744"/>
                <a:gd name="csX77" fmla="*/ 254956 w 881762"/>
                <a:gd name="csY77" fmla="*/ 473288 h 881744"/>
                <a:gd name="csX78" fmla="*/ 226345 w 881762"/>
                <a:gd name="csY78" fmla="*/ 456751 h 881744"/>
                <a:gd name="csX79" fmla="*/ 215204 w 881762"/>
                <a:gd name="csY79" fmla="*/ 454336 h 881744"/>
                <a:gd name="csX80" fmla="*/ 192264 w 881762"/>
                <a:gd name="csY80" fmla="*/ 462239 h 881744"/>
                <a:gd name="csX81" fmla="*/ 184435 w 881762"/>
                <a:gd name="csY81" fmla="*/ 448684 h 881744"/>
                <a:gd name="csX82" fmla="*/ 202746 w 881762"/>
                <a:gd name="csY82" fmla="*/ 432787 h 881744"/>
                <a:gd name="csX83" fmla="*/ 206222 w 881762"/>
                <a:gd name="csY83" fmla="*/ 421939 h 881744"/>
                <a:gd name="csX84" fmla="*/ 204283 w 881762"/>
                <a:gd name="csY84" fmla="*/ 405401 h 881744"/>
                <a:gd name="csX85" fmla="*/ 206222 w 881762"/>
                <a:gd name="csY85" fmla="*/ 388864 h 881744"/>
                <a:gd name="csX86" fmla="*/ 202746 w 881762"/>
                <a:gd name="csY86" fmla="*/ 378016 h 881744"/>
                <a:gd name="csX87" fmla="*/ 184435 w 881762"/>
                <a:gd name="csY87" fmla="*/ 362119 h 881744"/>
                <a:gd name="csX88" fmla="*/ 192264 w 881762"/>
                <a:gd name="csY88" fmla="*/ 348564 h 881744"/>
                <a:gd name="csX89" fmla="*/ 215204 w 881762"/>
                <a:gd name="csY89" fmla="*/ 356466 h 881744"/>
                <a:gd name="csX90" fmla="*/ 226345 w 881762"/>
                <a:gd name="csY90" fmla="*/ 354052 h 881744"/>
                <a:gd name="csX91" fmla="*/ 254956 w 881762"/>
                <a:gd name="csY91" fmla="*/ 337514 h 881744"/>
                <a:gd name="csX92" fmla="*/ 262621 w 881762"/>
                <a:gd name="csY92" fmla="*/ 329081 h 881744"/>
                <a:gd name="csX93" fmla="*/ 267231 w 881762"/>
                <a:gd name="csY93" fmla="*/ 305281 h 881744"/>
                <a:gd name="csX94" fmla="*/ 282872 w 881762"/>
                <a:gd name="csY94" fmla="*/ 305281 h 881744"/>
                <a:gd name="csX95" fmla="*/ 287482 w 881762"/>
                <a:gd name="csY95" fmla="*/ 329081 h 881744"/>
                <a:gd name="csX96" fmla="*/ 295147 w 881762"/>
                <a:gd name="csY96" fmla="*/ 337514 h 881744"/>
                <a:gd name="csX97" fmla="*/ 323758 w 881762"/>
                <a:gd name="csY97" fmla="*/ 354052 h 881744"/>
                <a:gd name="csX98" fmla="*/ 334898 w 881762"/>
                <a:gd name="csY98" fmla="*/ 356466 h 881744"/>
                <a:gd name="csX99" fmla="*/ 357838 w 881762"/>
                <a:gd name="csY99" fmla="*/ 348564 h 881744"/>
                <a:gd name="csX100" fmla="*/ 365668 w 881762"/>
                <a:gd name="csY100" fmla="*/ 362119 h 881744"/>
                <a:gd name="csX101" fmla="*/ 347356 w 881762"/>
                <a:gd name="csY101" fmla="*/ 378016 h 881744"/>
                <a:gd name="csX102" fmla="*/ 343880 w 881762"/>
                <a:gd name="csY102" fmla="*/ 388864 h 881744"/>
                <a:gd name="csX103" fmla="*/ 275079 w 881762"/>
                <a:gd name="csY103" fmla="*/ 356137 h 881744"/>
                <a:gd name="csX104" fmla="*/ 225814 w 881762"/>
                <a:gd name="csY104" fmla="*/ 405401 h 881744"/>
                <a:gd name="csX105" fmla="*/ 275079 w 881762"/>
                <a:gd name="csY105" fmla="*/ 454666 h 881744"/>
                <a:gd name="csX106" fmla="*/ 324343 w 881762"/>
                <a:gd name="csY106" fmla="*/ 405401 h 881744"/>
                <a:gd name="csX107" fmla="*/ 275079 w 881762"/>
                <a:gd name="csY107" fmla="*/ 356137 h 881744"/>
                <a:gd name="csX108" fmla="*/ 275079 w 881762"/>
                <a:gd name="csY108" fmla="*/ 432695 h 881744"/>
                <a:gd name="csX109" fmla="*/ 247767 w 881762"/>
                <a:gd name="csY109" fmla="*/ 405383 h 881744"/>
                <a:gd name="csX110" fmla="*/ 275079 w 881762"/>
                <a:gd name="csY110" fmla="*/ 378071 h 881744"/>
                <a:gd name="csX111" fmla="*/ 302391 w 881762"/>
                <a:gd name="csY111" fmla="*/ 405383 h 881744"/>
                <a:gd name="csX112" fmla="*/ 275079 w 881762"/>
                <a:gd name="csY112" fmla="*/ 432695 h 881744"/>
                <a:gd name="csX113" fmla="*/ 881726 w 881762"/>
                <a:gd name="csY113" fmla="*/ 129993 h 881744"/>
                <a:gd name="csX114" fmla="*/ 878543 w 881762"/>
                <a:gd name="csY114" fmla="*/ 122237 h 881744"/>
                <a:gd name="csX115" fmla="*/ 759526 w 881762"/>
                <a:gd name="csY115" fmla="*/ 3220 h 881744"/>
                <a:gd name="csX116" fmla="*/ 751770 w 881762"/>
                <a:gd name="csY116" fmla="*/ 37 h 881744"/>
                <a:gd name="csX117" fmla="*/ 751770 w 881762"/>
                <a:gd name="csY117" fmla="*/ 0 h 881744"/>
                <a:gd name="csX118" fmla="*/ 533712 w 881762"/>
                <a:gd name="csY118" fmla="*/ 0 h 881744"/>
                <a:gd name="csX119" fmla="*/ 478923 w 881762"/>
                <a:gd name="csY119" fmla="*/ 54789 h 881744"/>
                <a:gd name="csX120" fmla="*/ 478923 w 881762"/>
                <a:gd name="csY120" fmla="*/ 224955 h 881744"/>
                <a:gd name="csX121" fmla="*/ 434890 w 881762"/>
                <a:gd name="csY121" fmla="*/ 189978 h 881744"/>
                <a:gd name="csX122" fmla="*/ 282341 w 881762"/>
                <a:gd name="csY122" fmla="*/ 145268 h 881744"/>
                <a:gd name="csX123" fmla="*/ 0 w 881762"/>
                <a:gd name="csY123" fmla="*/ 427610 h 881744"/>
                <a:gd name="csX124" fmla="*/ 67722 w 881762"/>
                <a:gd name="csY124" fmla="*/ 611075 h 881744"/>
                <a:gd name="csX125" fmla="*/ 93461 w 881762"/>
                <a:gd name="csY125" fmla="*/ 680718 h 881744"/>
                <a:gd name="csX126" fmla="*/ 93461 w 881762"/>
                <a:gd name="csY126" fmla="*/ 870769 h 881744"/>
                <a:gd name="csX127" fmla="*/ 104437 w 881762"/>
                <a:gd name="csY127" fmla="*/ 881745 h 881744"/>
                <a:gd name="csX128" fmla="*/ 360052 w 881762"/>
                <a:gd name="csY128" fmla="*/ 881745 h 881744"/>
                <a:gd name="csX129" fmla="*/ 371028 w 881762"/>
                <a:gd name="csY129" fmla="*/ 870769 h 881744"/>
                <a:gd name="csX130" fmla="*/ 371028 w 881762"/>
                <a:gd name="csY130" fmla="*/ 853573 h 881744"/>
                <a:gd name="csX131" fmla="*/ 435860 w 881762"/>
                <a:gd name="csY131" fmla="*/ 788741 h 881744"/>
                <a:gd name="csX132" fmla="*/ 481905 w 881762"/>
                <a:gd name="csY132" fmla="*/ 788741 h 881744"/>
                <a:gd name="csX133" fmla="*/ 544011 w 881762"/>
                <a:gd name="csY133" fmla="*/ 726634 h 881744"/>
                <a:gd name="csX134" fmla="*/ 544011 w 881762"/>
                <a:gd name="csY134" fmla="*/ 702835 h 881744"/>
                <a:gd name="csX135" fmla="*/ 543243 w 881762"/>
                <a:gd name="csY135" fmla="*/ 698792 h 881744"/>
                <a:gd name="csX136" fmla="*/ 540462 w 881762"/>
                <a:gd name="csY136" fmla="*/ 691749 h 881744"/>
                <a:gd name="csX137" fmla="*/ 552133 w 881762"/>
                <a:gd name="csY137" fmla="*/ 685419 h 881744"/>
                <a:gd name="csX138" fmla="*/ 564024 w 881762"/>
                <a:gd name="csY138" fmla="*/ 668772 h 881744"/>
                <a:gd name="csX139" fmla="*/ 558225 w 881762"/>
                <a:gd name="csY139" fmla="*/ 649162 h 881744"/>
                <a:gd name="csX140" fmla="*/ 555792 w 881762"/>
                <a:gd name="csY140" fmla="*/ 646509 h 881744"/>
                <a:gd name="csX141" fmla="*/ 566109 w 881762"/>
                <a:gd name="csY141" fmla="*/ 639045 h 881744"/>
                <a:gd name="csX142" fmla="*/ 575622 w 881762"/>
                <a:gd name="csY142" fmla="*/ 622746 h 881744"/>
                <a:gd name="csX143" fmla="*/ 569951 w 881762"/>
                <a:gd name="csY143" fmla="*/ 604727 h 881744"/>
                <a:gd name="csX144" fmla="*/ 564811 w 881762"/>
                <a:gd name="csY144" fmla="*/ 598873 h 881744"/>
                <a:gd name="csX145" fmla="*/ 591867 w 881762"/>
                <a:gd name="csY145" fmla="*/ 589470 h 881744"/>
                <a:gd name="csX146" fmla="*/ 613965 w 881762"/>
                <a:gd name="csY146" fmla="*/ 563823 h 881744"/>
                <a:gd name="csX147" fmla="*/ 609886 w 881762"/>
                <a:gd name="csY147" fmla="*/ 531553 h 881744"/>
                <a:gd name="csX148" fmla="*/ 597995 w 881762"/>
                <a:gd name="csY148" fmla="*/ 511448 h 881744"/>
                <a:gd name="csX149" fmla="*/ 826974 w 881762"/>
                <a:gd name="csY149" fmla="*/ 511448 h 881744"/>
                <a:gd name="csX150" fmla="*/ 881763 w 881762"/>
                <a:gd name="csY150" fmla="*/ 456660 h 881744"/>
                <a:gd name="csX151" fmla="*/ 881763 w 881762"/>
                <a:gd name="csY151" fmla="*/ 129993 h 881744"/>
                <a:gd name="csX152" fmla="*/ 762727 w 881762"/>
                <a:gd name="csY152" fmla="*/ 37483 h 881744"/>
                <a:gd name="csX153" fmla="*/ 844280 w 881762"/>
                <a:gd name="csY153" fmla="*/ 119036 h 881744"/>
                <a:gd name="csX154" fmla="*/ 795564 w 881762"/>
                <a:gd name="csY154" fmla="*/ 119036 h 881744"/>
                <a:gd name="csX155" fmla="*/ 762727 w 881762"/>
                <a:gd name="csY155" fmla="*/ 86199 h 881744"/>
                <a:gd name="csX156" fmla="*/ 592873 w 881762"/>
                <a:gd name="csY156" fmla="*/ 557731 h 881744"/>
                <a:gd name="csX157" fmla="*/ 584641 w 881762"/>
                <a:gd name="csY157" fmla="*/ 568780 h 881744"/>
                <a:gd name="csX158" fmla="*/ 557036 w 881762"/>
                <a:gd name="csY158" fmla="*/ 578384 h 881744"/>
                <a:gd name="csX159" fmla="*/ 543261 w 881762"/>
                <a:gd name="csY159" fmla="*/ 593257 h 881744"/>
                <a:gd name="csX160" fmla="*/ 547926 w 881762"/>
                <a:gd name="csY160" fmla="*/ 612977 h 881744"/>
                <a:gd name="csX161" fmla="*/ 553469 w 881762"/>
                <a:gd name="csY161" fmla="*/ 619270 h 881744"/>
                <a:gd name="csX162" fmla="*/ 553798 w 881762"/>
                <a:gd name="csY162" fmla="*/ 620331 h 881744"/>
                <a:gd name="csX163" fmla="*/ 553249 w 881762"/>
                <a:gd name="csY163" fmla="*/ 621282 h 881744"/>
                <a:gd name="csX164" fmla="*/ 542566 w 881762"/>
                <a:gd name="csY164" fmla="*/ 629002 h 881744"/>
                <a:gd name="csX165" fmla="*/ 533748 w 881762"/>
                <a:gd name="csY165" fmla="*/ 644296 h 881744"/>
                <a:gd name="csX166" fmla="*/ 539309 w 881762"/>
                <a:gd name="csY166" fmla="*/ 661052 h 881744"/>
                <a:gd name="csX167" fmla="*/ 542035 w 881762"/>
                <a:gd name="csY167" fmla="*/ 664034 h 881744"/>
                <a:gd name="csX168" fmla="*/ 542383 w 881762"/>
                <a:gd name="csY168" fmla="*/ 665187 h 881744"/>
                <a:gd name="csX169" fmla="*/ 541688 w 881762"/>
                <a:gd name="csY169" fmla="*/ 666156 h 881744"/>
                <a:gd name="csX170" fmla="*/ 529705 w 881762"/>
                <a:gd name="csY170" fmla="*/ 672650 h 881744"/>
                <a:gd name="csX171" fmla="*/ 519937 w 881762"/>
                <a:gd name="csY171" fmla="*/ 699524 h 881744"/>
                <a:gd name="csX172" fmla="*/ 522077 w 881762"/>
                <a:gd name="csY172" fmla="*/ 704957 h 881744"/>
                <a:gd name="csX173" fmla="*/ 522077 w 881762"/>
                <a:gd name="csY173" fmla="*/ 726653 h 881744"/>
                <a:gd name="csX174" fmla="*/ 481923 w 881762"/>
                <a:gd name="csY174" fmla="*/ 766807 h 881744"/>
                <a:gd name="csX175" fmla="*/ 435878 w 881762"/>
                <a:gd name="csY175" fmla="*/ 766807 h 881744"/>
                <a:gd name="csX176" fmla="*/ 349094 w 881762"/>
                <a:gd name="csY176" fmla="*/ 853591 h 881744"/>
                <a:gd name="csX177" fmla="*/ 349094 w 881762"/>
                <a:gd name="csY177" fmla="*/ 859811 h 881744"/>
                <a:gd name="csX178" fmla="*/ 115413 w 881762"/>
                <a:gd name="csY178" fmla="*/ 859811 h 881744"/>
                <a:gd name="csX179" fmla="*/ 115413 w 881762"/>
                <a:gd name="csY179" fmla="*/ 680754 h 881744"/>
                <a:gd name="csX180" fmla="*/ 84406 w 881762"/>
                <a:gd name="csY180" fmla="*/ 596824 h 881744"/>
                <a:gd name="csX181" fmla="*/ 21952 w 881762"/>
                <a:gd name="csY181" fmla="*/ 427610 h 881744"/>
                <a:gd name="csX182" fmla="*/ 282341 w 881762"/>
                <a:gd name="csY182" fmla="*/ 167221 h 881744"/>
                <a:gd name="csX183" fmla="*/ 517412 w 881762"/>
                <a:gd name="csY183" fmla="*/ 315434 h 881744"/>
                <a:gd name="csX184" fmla="*/ 528315 w 881762"/>
                <a:gd name="csY184" fmla="*/ 368631 h 881744"/>
                <a:gd name="csX185" fmla="*/ 527528 w 881762"/>
                <a:gd name="csY185" fmla="*/ 387327 h 881744"/>
                <a:gd name="csX186" fmla="*/ 548584 w 881762"/>
                <a:gd name="csY186" fmla="*/ 471093 h 881744"/>
                <a:gd name="csX187" fmla="*/ 590988 w 881762"/>
                <a:gd name="csY187" fmla="*/ 542749 h 881744"/>
                <a:gd name="csX188" fmla="*/ 592873 w 881762"/>
                <a:gd name="csY188" fmla="*/ 557731 h 881744"/>
                <a:gd name="csX189" fmla="*/ 826956 w 881762"/>
                <a:gd name="csY189" fmla="*/ 489533 h 881744"/>
                <a:gd name="csX190" fmla="*/ 584988 w 881762"/>
                <a:gd name="csY190" fmla="*/ 489533 h 881744"/>
                <a:gd name="csX191" fmla="*/ 567481 w 881762"/>
                <a:gd name="csY191" fmla="*/ 459934 h 881744"/>
                <a:gd name="csX192" fmla="*/ 549462 w 881762"/>
                <a:gd name="csY192" fmla="*/ 388260 h 881744"/>
                <a:gd name="csX193" fmla="*/ 550249 w 881762"/>
                <a:gd name="csY193" fmla="*/ 369564 h 881744"/>
                <a:gd name="csX194" fmla="*/ 537224 w 881762"/>
                <a:gd name="csY194" fmla="*/ 305976 h 881744"/>
                <a:gd name="csX195" fmla="*/ 500893 w 881762"/>
                <a:gd name="csY195" fmla="*/ 248809 h 881744"/>
                <a:gd name="csX196" fmla="*/ 500893 w 881762"/>
                <a:gd name="csY196" fmla="*/ 54789 h 881744"/>
                <a:gd name="csX197" fmla="*/ 533730 w 881762"/>
                <a:gd name="csY197" fmla="*/ 21952 h 881744"/>
                <a:gd name="csX198" fmla="*/ 740775 w 881762"/>
                <a:gd name="csY198" fmla="*/ 21952 h 881744"/>
                <a:gd name="csX199" fmla="*/ 740775 w 881762"/>
                <a:gd name="csY199" fmla="*/ 86180 h 881744"/>
                <a:gd name="csX200" fmla="*/ 795564 w 881762"/>
                <a:gd name="csY200" fmla="*/ 140969 h 881744"/>
                <a:gd name="csX201" fmla="*/ 859793 w 881762"/>
                <a:gd name="csY201" fmla="*/ 140969 h 881744"/>
                <a:gd name="csX202" fmla="*/ 859793 w 881762"/>
                <a:gd name="csY202" fmla="*/ 456678 h 881744"/>
                <a:gd name="csX203" fmla="*/ 826956 w 881762"/>
                <a:gd name="csY203" fmla="*/ 489533 h 881744"/>
                <a:gd name="csX204" fmla="*/ 808845 w 881762"/>
                <a:gd name="csY204" fmla="*/ 204960 h 881744"/>
                <a:gd name="csX205" fmla="*/ 797869 w 881762"/>
                <a:gd name="csY205" fmla="*/ 215936 h 881744"/>
                <a:gd name="csX206" fmla="*/ 562798 w 881762"/>
                <a:gd name="csY206" fmla="*/ 215936 h 881744"/>
                <a:gd name="csX207" fmla="*/ 551822 w 881762"/>
                <a:gd name="csY207" fmla="*/ 204960 h 881744"/>
                <a:gd name="csX208" fmla="*/ 562798 w 881762"/>
                <a:gd name="csY208" fmla="*/ 193984 h 881744"/>
                <a:gd name="csX209" fmla="*/ 797851 w 881762"/>
                <a:gd name="csY209" fmla="*/ 193984 h 881744"/>
                <a:gd name="csX210" fmla="*/ 808845 w 881762"/>
                <a:gd name="csY210" fmla="*/ 204960 h 881744"/>
                <a:gd name="csX211" fmla="*/ 808845 w 881762"/>
                <a:gd name="csY211" fmla="*/ 307202 h 881744"/>
                <a:gd name="csX212" fmla="*/ 797869 w 881762"/>
                <a:gd name="csY212" fmla="*/ 318178 h 881744"/>
                <a:gd name="csX213" fmla="*/ 590293 w 881762"/>
                <a:gd name="csY213" fmla="*/ 318178 h 881744"/>
                <a:gd name="csX214" fmla="*/ 579317 w 881762"/>
                <a:gd name="csY214" fmla="*/ 307202 h 881744"/>
                <a:gd name="csX215" fmla="*/ 590293 w 881762"/>
                <a:gd name="csY215" fmla="*/ 296226 h 881744"/>
                <a:gd name="csX216" fmla="*/ 797851 w 881762"/>
                <a:gd name="csY216" fmla="*/ 296226 h 881744"/>
                <a:gd name="csX217" fmla="*/ 808845 w 881762"/>
                <a:gd name="csY217" fmla="*/ 307202 h 881744"/>
                <a:gd name="csX218" fmla="*/ 808845 w 881762"/>
                <a:gd name="csY218" fmla="*/ 409426 h 881744"/>
                <a:gd name="csX219" fmla="*/ 797869 w 881762"/>
                <a:gd name="csY219" fmla="*/ 420402 h 881744"/>
                <a:gd name="csX220" fmla="*/ 599495 w 881762"/>
                <a:gd name="csY220" fmla="*/ 420402 h 881744"/>
                <a:gd name="csX221" fmla="*/ 588519 w 881762"/>
                <a:gd name="csY221" fmla="*/ 409426 h 881744"/>
                <a:gd name="csX222" fmla="*/ 599495 w 881762"/>
                <a:gd name="csY222" fmla="*/ 398450 h 881744"/>
                <a:gd name="csX223" fmla="*/ 797869 w 881762"/>
                <a:gd name="csY223" fmla="*/ 398450 h 881744"/>
                <a:gd name="csX224" fmla="*/ 808845 w 881762"/>
                <a:gd name="csY224" fmla="*/ 409426 h 88174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Lst>
              <a:rect l="l" t="t" r="r" b="b"/>
              <a:pathLst>
                <a:path w="881762" h="881744">
                  <a:moveTo>
                    <a:pt x="275079" y="238821"/>
                  </a:moveTo>
                  <a:cubicBezTo>
                    <a:pt x="183227" y="238821"/>
                    <a:pt x="108498" y="313550"/>
                    <a:pt x="108498" y="405401"/>
                  </a:cubicBezTo>
                  <a:cubicBezTo>
                    <a:pt x="108498" y="493557"/>
                    <a:pt x="177355" y="565926"/>
                    <a:pt x="264103" y="571597"/>
                  </a:cubicBezTo>
                  <a:lnTo>
                    <a:pt x="264103" y="605843"/>
                  </a:lnTo>
                  <a:lnTo>
                    <a:pt x="246358" y="605843"/>
                  </a:lnTo>
                  <a:cubicBezTo>
                    <a:pt x="240303" y="605843"/>
                    <a:pt x="235382" y="610764"/>
                    <a:pt x="235382" y="616819"/>
                  </a:cubicBezTo>
                  <a:lnTo>
                    <a:pt x="235382" y="705981"/>
                  </a:lnTo>
                  <a:cubicBezTo>
                    <a:pt x="235382" y="727878"/>
                    <a:pt x="253200" y="745678"/>
                    <a:pt x="275079" y="745678"/>
                  </a:cubicBezTo>
                  <a:cubicBezTo>
                    <a:pt x="296958" y="745678"/>
                    <a:pt x="314776" y="727860"/>
                    <a:pt x="314776" y="705981"/>
                  </a:cubicBezTo>
                  <a:lnTo>
                    <a:pt x="314776" y="616819"/>
                  </a:lnTo>
                  <a:cubicBezTo>
                    <a:pt x="314776" y="610764"/>
                    <a:pt x="309855" y="605843"/>
                    <a:pt x="303799" y="605843"/>
                  </a:cubicBezTo>
                  <a:lnTo>
                    <a:pt x="286055" y="605843"/>
                  </a:lnTo>
                  <a:lnTo>
                    <a:pt x="286055" y="571597"/>
                  </a:lnTo>
                  <a:cubicBezTo>
                    <a:pt x="372802" y="565926"/>
                    <a:pt x="441659" y="493557"/>
                    <a:pt x="441659" y="405401"/>
                  </a:cubicBezTo>
                  <a:cubicBezTo>
                    <a:pt x="441641" y="313550"/>
                    <a:pt x="366930" y="238821"/>
                    <a:pt x="275079" y="238821"/>
                  </a:cubicBezTo>
                  <a:close/>
                  <a:moveTo>
                    <a:pt x="292823" y="705981"/>
                  </a:moveTo>
                  <a:cubicBezTo>
                    <a:pt x="292823" y="715768"/>
                    <a:pt x="284866" y="723726"/>
                    <a:pt x="275079" y="723726"/>
                  </a:cubicBezTo>
                  <a:cubicBezTo>
                    <a:pt x="265292" y="723726"/>
                    <a:pt x="257334" y="715768"/>
                    <a:pt x="257334" y="705981"/>
                  </a:cubicBezTo>
                  <a:lnTo>
                    <a:pt x="257334" y="627795"/>
                  </a:lnTo>
                  <a:lnTo>
                    <a:pt x="292823" y="627795"/>
                  </a:lnTo>
                  <a:close/>
                  <a:moveTo>
                    <a:pt x="275079" y="550029"/>
                  </a:moveTo>
                  <a:cubicBezTo>
                    <a:pt x="195338" y="550029"/>
                    <a:pt x="130451" y="485161"/>
                    <a:pt x="130451" y="405401"/>
                  </a:cubicBezTo>
                  <a:cubicBezTo>
                    <a:pt x="130451" y="325660"/>
                    <a:pt x="195319" y="260773"/>
                    <a:pt x="275079" y="260773"/>
                  </a:cubicBezTo>
                  <a:cubicBezTo>
                    <a:pt x="354838" y="260773"/>
                    <a:pt x="419707" y="325642"/>
                    <a:pt x="419707" y="405401"/>
                  </a:cubicBezTo>
                  <a:cubicBezTo>
                    <a:pt x="419689" y="485143"/>
                    <a:pt x="354820" y="550029"/>
                    <a:pt x="275079" y="550029"/>
                  </a:cubicBezTo>
                  <a:close/>
                  <a:moveTo>
                    <a:pt x="359247" y="324874"/>
                  </a:moveTo>
                  <a:lnTo>
                    <a:pt x="333782" y="333654"/>
                  </a:lnTo>
                  <a:cubicBezTo>
                    <a:pt x="326008" y="327288"/>
                    <a:pt x="317209" y="322203"/>
                    <a:pt x="307842" y="318654"/>
                  </a:cubicBezTo>
                  <a:lnTo>
                    <a:pt x="302720" y="292238"/>
                  </a:lnTo>
                  <a:cubicBezTo>
                    <a:pt x="301714" y="287079"/>
                    <a:pt x="297196" y="283347"/>
                    <a:pt x="291945" y="283347"/>
                  </a:cubicBezTo>
                  <a:lnTo>
                    <a:pt x="258194" y="283347"/>
                  </a:lnTo>
                  <a:cubicBezTo>
                    <a:pt x="252944" y="283347"/>
                    <a:pt x="248425" y="287079"/>
                    <a:pt x="247419" y="292238"/>
                  </a:cubicBezTo>
                  <a:lnTo>
                    <a:pt x="242297" y="318654"/>
                  </a:lnTo>
                  <a:cubicBezTo>
                    <a:pt x="232931" y="322203"/>
                    <a:pt x="224131" y="327288"/>
                    <a:pt x="216357" y="333654"/>
                  </a:cubicBezTo>
                  <a:lnTo>
                    <a:pt x="190892" y="324874"/>
                  </a:lnTo>
                  <a:cubicBezTo>
                    <a:pt x="185935" y="323154"/>
                    <a:pt x="180428" y="325203"/>
                    <a:pt x="177812" y="329758"/>
                  </a:cubicBezTo>
                  <a:lnTo>
                    <a:pt x="160946" y="358991"/>
                  </a:lnTo>
                  <a:cubicBezTo>
                    <a:pt x="158312" y="363546"/>
                    <a:pt x="159281" y="369327"/>
                    <a:pt x="163251" y="372766"/>
                  </a:cubicBezTo>
                  <a:lnTo>
                    <a:pt x="183575" y="390419"/>
                  </a:lnTo>
                  <a:cubicBezTo>
                    <a:pt x="182770" y="395358"/>
                    <a:pt x="182367" y="400371"/>
                    <a:pt x="182367" y="405401"/>
                  </a:cubicBezTo>
                  <a:cubicBezTo>
                    <a:pt x="182367" y="410432"/>
                    <a:pt x="182770" y="415444"/>
                    <a:pt x="183575" y="420384"/>
                  </a:cubicBezTo>
                  <a:lnTo>
                    <a:pt x="163251" y="438037"/>
                  </a:lnTo>
                  <a:cubicBezTo>
                    <a:pt x="159281" y="441476"/>
                    <a:pt x="158312" y="447257"/>
                    <a:pt x="160946" y="451812"/>
                  </a:cubicBezTo>
                  <a:lnTo>
                    <a:pt x="177812" y="481045"/>
                  </a:lnTo>
                  <a:cubicBezTo>
                    <a:pt x="180447" y="485600"/>
                    <a:pt x="185935" y="487649"/>
                    <a:pt x="190892" y="485929"/>
                  </a:cubicBezTo>
                  <a:lnTo>
                    <a:pt x="216357" y="477148"/>
                  </a:lnTo>
                  <a:cubicBezTo>
                    <a:pt x="224131" y="483514"/>
                    <a:pt x="232931" y="488600"/>
                    <a:pt x="242297" y="492149"/>
                  </a:cubicBezTo>
                  <a:lnTo>
                    <a:pt x="247419" y="518565"/>
                  </a:lnTo>
                  <a:cubicBezTo>
                    <a:pt x="248425" y="523723"/>
                    <a:pt x="252944" y="527455"/>
                    <a:pt x="258194" y="527455"/>
                  </a:cubicBezTo>
                  <a:lnTo>
                    <a:pt x="291945" y="527455"/>
                  </a:lnTo>
                  <a:cubicBezTo>
                    <a:pt x="297196" y="527455"/>
                    <a:pt x="301714" y="523723"/>
                    <a:pt x="302720" y="518565"/>
                  </a:cubicBezTo>
                  <a:lnTo>
                    <a:pt x="307842" y="492149"/>
                  </a:lnTo>
                  <a:cubicBezTo>
                    <a:pt x="317209" y="488600"/>
                    <a:pt x="326008" y="483514"/>
                    <a:pt x="333782" y="477148"/>
                  </a:cubicBezTo>
                  <a:lnTo>
                    <a:pt x="359247" y="485929"/>
                  </a:lnTo>
                  <a:cubicBezTo>
                    <a:pt x="364204" y="487649"/>
                    <a:pt x="369711" y="485600"/>
                    <a:pt x="372327" y="481045"/>
                  </a:cubicBezTo>
                  <a:lnTo>
                    <a:pt x="389193" y="451812"/>
                  </a:lnTo>
                  <a:cubicBezTo>
                    <a:pt x="391828" y="447257"/>
                    <a:pt x="390858" y="441476"/>
                    <a:pt x="386888" y="438037"/>
                  </a:cubicBezTo>
                  <a:lnTo>
                    <a:pt x="366564" y="420384"/>
                  </a:lnTo>
                  <a:cubicBezTo>
                    <a:pt x="367369" y="415444"/>
                    <a:pt x="367772" y="410432"/>
                    <a:pt x="367772" y="405401"/>
                  </a:cubicBezTo>
                  <a:cubicBezTo>
                    <a:pt x="367772" y="400371"/>
                    <a:pt x="367369" y="395358"/>
                    <a:pt x="366564" y="390419"/>
                  </a:cubicBezTo>
                  <a:lnTo>
                    <a:pt x="386888" y="372766"/>
                  </a:lnTo>
                  <a:cubicBezTo>
                    <a:pt x="390858" y="369327"/>
                    <a:pt x="391828" y="363546"/>
                    <a:pt x="389193" y="358991"/>
                  </a:cubicBezTo>
                  <a:lnTo>
                    <a:pt x="372327" y="329758"/>
                  </a:lnTo>
                  <a:cubicBezTo>
                    <a:pt x="369711" y="325203"/>
                    <a:pt x="364223" y="323154"/>
                    <a:pt x="359247" y="324874"/>
                  </a:cubicBezTo>
                  <a:close/>
                  <a:moveTo>
                    <a:pt x="343880" y="388864"/>
                  </a:moveTo>
                  <a:cubicBezTo>
                    <a:pt x="345179" y="394261"/>
                    <a:pt x="345820" y="399822"/>
                    <a:pt x="345820" y="405401"/>
                  </a:cubicBezTo>
                  <a:cubicBezTo>
                    <a:pt x="345820" y="410981"/>
                    <a:pt x="345161" y="416542"/>
                    <a:pt x="343880" y="421939"/>
                  </a:cubicBezTo>
                  <a:cubicBezTo>
                    <a:pt x="342929" y="425927"/>
                    <a:pt x="344265" y="430097"/>
                    <a:pt x="347356" y="432787"/>
                  </a:cubicBezTo>
                  <a:lnTo>
                    <a:pt x="365668" y="448684"/>
                  </a:lnTo>
                  <a:lnTo>
                    <a:pt x="357838" y="462239"/>
                  </a:lnTo>
                  <a:lnTo>
                    <a:pt x="334898" y="454336"/>
                  </a:lnTo>
                  <a:cubicBezTo>
                    <a:pt x="331020" y="453001"/>
                    <a:pt x="326739" y="453934"/>
                    <a:pt x="323758" y="456751"/>
                  </a:cubicBezTo>
                  <a:cubicBezTo>
                    <a:pt x="315672" y="464416"/>
                    <a:pt x="305775" y="470142"/>
                    <a:pt x="295147" y="473288"/>
                  </a:cubicBezTo>
                  <a:cubicBezTo>
                    <a:pt x="291214" y="474459"/>
                    <a:pt x="288268" y="477697"/>
                    <a:pt x="287482" y="481722"/>
                  </a:cubicBezTo>
                  <a:lnTo>
                    <a:pt x="282872" y="505521"/>
                  </a:lnTo>
                  <a:lnTo>
                    <a:pt x="267231" y="505521"/>
                  </a:lnTo>
                  <a:lnTo>
                    <a:pt x="262621" y="481722"/>
                  </a:lnTo>
                  <a:cubicBezTo>
                    <a:pt x="261834" y="477697"/>
                    <a:pt x="258889" y="474441"/>
                    <a:pt x="254956" y="473288"/>
                  </a:cubicBezTo>
                  <a:cubicBezTo>
                    <a:pt x="244327" y="470142"/>
                    <a:pt x="234431" y="464434"/>
                    <a:pt x="226345" y="456751"/>
                  </a:cubicBezTo>
                  <a:cubicBezTo>
                    <a:pt x="223381" y="453934"/>
                    <a:pt x="219082" y="453001"/>
                    <a:pt x="215204" y="454336"/>
                  </a:cubicBezTo>
                  <a:lnTo>
                    <a:pt x="192264" y="462239"/>
                  </a:lnTo>
                  <a:lnTo>
                    <a:pt x="184435" y="448684"/>
                  </a:lnTo>
                  <a:lnTo>
                    <a:pt x="202746" y="432787"/>
                  </a:lnTo>
                  <a:cubicBezTo>
                    <a:pt x="205838" y="430097"/>
                    <a:pt x="207173" y="425927"/>
                    <a:pt x="206222" y="421939"/>
                  </a:cubicBezTo>
                  <a:cubicBezTo>
                    <a:pt x="204923" y="416542"/>
                    <a:pt x="204283" y="410981"/>
                    <a:pt x="204283" y="405401"/>
                  </a:cubicBezTo>
                  <a:cubicBezTo>
                    <a:pt x="204283" y="399822"/>
                    <a:pt x="204942" y="394261"/>
                    <a:pt x="206222" y="388864"/>
                  </a:cubicBezTo>
                  <a:cubicBezTo>
                    <a:pt x="207173" y="384876"/>
                    <a:pt x="205838" y="380705"/>
                    <a:pt x="202746" y="378016"/>
                  </a:cubicBezTo>
                  <a:lnTo>
                    <a:pt x="184435" y="362119"/>
                  </a:lnTo>
                  <a:lnTo>
                    <a:pt x="192264" y="348564"/>
                  </a:lnTo>
                  <a:lnTo>
                    <a:pt x="215204" y="356466"/>
                  </a:lnTo>
                  <a:cubicBezTo>
                    <a:pt x="219082" y="357802"/>
                    <a:pt x="223363" y="356869"/>
                    <a:pt x="226345" y="354052"/>
                  </a:cubicBezTo>
                  <a:cubicBezTo>
                    <a:pt x="234431" y="346387"/>
                    <a:pt x="244327" y="340661"/>
                    <a:pt x="254956" y="337514"/>
                  </a:cubicBezTo>
                  <a:cubicBezTo>
                    <a:pt x="258889" y="336344"/>
                    <a:pt x="261834" y="333106"/>
                    <a:pt x="262621" y="329081"/>
                  </a:cubicBezTo>
                  <a:lnTo>
                    <a:pt x="267231" y="305281"/>
                  </a:lnTo>
                  <a:lnTo>
                    <a:pt x="282872" y="305281"/>
                  </a:lnTo>
                  <a:lnTo>
                    <a:pt x="287482" y="329081"/>
                  </a:lnTo>
                  <a:cubicBezTo>
                    <a:pt x="288268" y="333106"/>
                    <a:pt x="291214" y="336362"/>
                    <a:pt x="295147" y="337514"/>
                  </a:cubicBezTo>
                  <a:cubicBezTo>
                    <a:pt x="305775" y="340661"/>
                    <a:pt x="315672" y="346368"/>
                    <a:pt x="323758" y="354052"/>
                  </a:cubicBezTo>
                  <a:cubicBezTo>
                    <a:pt x="326721" y="356869"/>
                    <a:pt x="331020" y="357802"/>
                    <a:pt x="334898" y="356466"/>
                  </a:cubicBezTo>
                  <a:lnTo>
                    <a:pt x="357838" y="348564"/>
                  </a:lnTo>
                  <a:lnTo>
                    <a:pt x="365668" y="362119"/>
                  </a:lnTo>
                  <a:lnTo>
                    <a:pt x="347356" y="378016"/>
                  </a:lnTo>
                  <a:cubicBezTo>
                    <a:pt x="344283" y="380705"/>
                    <a:pt x="342929" y="384876"/>
                    <a:pt x="343880" y="388864"/>
                  </a:cubicBezTo>
                  <a:close/>
                  <a:moveTo>
                    <a:pt x="275079" y="356137"/>
                  </a:moveTo>
                  <a:cubicBezTo>
                    <a:pt x="247913" y="356137"/>
                    <a:pt x="225814" y="378236"/>
                    <a:pt x="225814" y="405401"/>
                  </a:cubicBezTo>
                  <a:cubicBezTo>
                    <a:pt x="225814" y="432567"/>
                    <a:pt x="247913" y="454666"/>
                    <a:pt x="275079" y="454666"/>
                  </a:cubicBezTo>
                  <a:cubicBezTo>
                    <a:pt x="302245" y="454666"/>
                    <a:pt x="324343" y="432567"/>
                    <a:pt x="324343" y="405401"/>
                  </a:cubicBezTo>
                  <a:cubicBezTo>
                    <a:pt x="324325" y="378236"/>
                    <a:pt x="302226" y="356137"/>
                    <a:pt x="275079" y="356137"/>
                  </a:cubicBezTo>
                  <a:close/>
                  <a:moveTo>
                    <a:pt x="275079" y="432695"/>
                  </a:moveTo>
                  <a:cubicBezTo>
                    <a:pt x="260023" y="432695"/>
                    <a:pt x="247767" y="420439"/>
                    <a:pt x="247767" y="405383"/>
                  </a:cubicBezTo>
                  <a:cubicBezTo>
                    <a:pt x="247767" y="390327"/>
                    <a:pt x="260023" y="378071"/>
                    <a:pt x="275079" y="378071"/>
                  </a:cubicBezTo>
                  <a:cubicBezTo>
                    <a:pt x="290134" y="378071"/>
                    <a:pt x="302391" y="390327"/>
                    <a:pt x="302391" y="405383"/>
                  </a:cubicBezTo>
                  <a:cubicBezTo>
                    <a:pt x="302391" y="420439"/>
                    <a:pt x="290134" y="432695"/>
                    <a:pt x="275079" y="432695"/>
                  </a:cubicBezTo>
                  <a:close/>
                  <a:moveTo>
                    <a:pt x="881726" y="129993"/>
                  </a:moveTo>
                  <a:cubicBezTo>
                    <a:pt x="881726" y="127140"/>
                    <a:pt x="880629" y="124322"/>
                    <a:pt x="878543" y="122237"/>
                  </a:cubicBezTo>
                  <a:lnTo>
                    <a:pt x="759526" y="3220"/>
                  </a:lnTo>
                  <a:cubicBezTo>
                    <a:pt x="757422" y="1116"/>
                    <a:pt x="754623" y="37"/>
                    <a:pt x="751770" y="37"/>
                  </a:cubicBezTo>
                  <a:lnTo>
                    <a:pt x="751770" y="0"/>
                  </a:lnTo>
                  <a:lnTo>
                    <a:pt x="533712" y="0"/>
                  </a:lnTo>
                  <a:cubicBezTo>
                    <a:pt x="503491" y="0"/>
                    <a:pt x="478923" y="24586"/>
                    <a:pt x="478923" y="54789"/>
                  </a:cubicBezTo>
                  <a:lnTo>
                    <a:pt x="478923" y="224955"/>
                  </a:lnTo>
                  <a:cubicBezTo>
                    <a:pt x="465495" y="211948"/>
                    <a:pt x="450787" y="200204"/>
                    <a:pt x="434890" y="189978"/>
                  </a:cubicBezTo>
                  <a:cubicBezTo>
                    <a:pt x="389413" y="160726"/>
                    <a:pt x="336655" y="145268"/>
                    <a:pt x="282341" y="145268"/>
                  </a:cubicBezTo>
                  <a:cubicBezTo>
                    <a:pt x="126664" y="145268"/>
                    <a:pt x="0" y="271932"/>
                    <a:pt x="0" y="427610"/>
                  </a:cubicBezTo>
                  <a:cubicBezTo>
                    <a:pt x="0" y="494875"/>
                    <a:pt x="24056" y="560036"/>
                    <a:pt x="67722" y="611075"/>
                  </a:cubicBezTo>
                  <a:cubicBezTo>
                    <a:pt x="85028" y="631307"/>
                    <a:pt x="93461" y="654101"/>
                    <a:pt x="93461" y="680718"/>
                  </a:cubicBezTo>
                  <a:lnTo>
                    <a:pt x="93461" y="870769"/>
                  </a:lnTo>
                  <a:cubicBezTo>
                    <a:pt x="93461" y="876824"/>
                    <a:pt x="98382" y="881745"/>
                    <a:pt x="104437" y="881745"/>
                  </a:cubicBezTo>
                  <a:lnTo>
                    <a:pt x="360052" y="881745"/>
                  </a:lnTo>
                  <a:cubicBezTo>
                    <a:pt x="366107" y="881745"/>
                    <a:pt x="371028" y="876824"/>
                    <a:pt x="371028" y="870769"/>
                  </a:cubicBezTo>
                  <a:lnTo>
                    <a:pt x="371028" y="853573"/>
                  </a:lnTo>
                  <a:cubicBezTo>
                    <a:pt x="371028" y="817827"/>
                    <a:pt x="400115" y="788741"/>
                    <a:pt x="435860" y="788741"/>
                  </a:cubicBezTo>
                  <a:lnTo>
                    <a:pt x="481905" y="788741"/>
                  </a:lnTo>
                  <a:cubicBezTo>
                    <a:pt x="516150" y="788741"/>
                    <a:pt x="544011" y="760880"/>
                    <a:pt x="544011" y="726634"/>
                  </a:cubicBezTo>
                  <a:lnTo>
                    <a:pt x="544011" y="702835"/>
                  </a:lnTo>
                  <a:cubicBezTo>
                    <a:pt x="544011" y="701463"/>
                    <a:pt x="543755" y="700091"/>
                    <a:pt x="543243" y="698792"/>
                  </a:cubicBezTo>
                  <a:lnTo>
                    <a:pt x="540462" y="691749"/>
                  </a:lnTo>
                  <a:lnTo>
                    <a:pt x="552133" y="685419"/>
                  </a:lnTo>
                  <a:cubicBezTo>
                    <a:pt x="558591" y="681925"/>
                    <a:pt x="562798" y="676016"/>
                    <a:pt x="564024" y="668772"/>
                  </a:cubicBezTo>
                  <a:cubicBezTo>
                    <a:pt x="565231" y="661528"/>
                    <a:pt x="563182" y="654577"/>
                    <a:pt x="558225" y="649162"/>
                  </a:cubicBezTo>
                  <a:lnTo>
                    <a:pt x="555792" y="646509"/>
                  </a:lnTo>
                  <a:lnTo>
                    <a:pt x="566109" y="639045"/>
                  </a:lnTo>
                  <a:cubicBezTo>
                    <a:pt x="571506" y="635149"/>
                    <a:pt x="574890" y="629350"/>
                    <a:pt x="575622" y="622746"/>
                  </a:cubicBezTo>
                  <a:cubicBezTo>
                    <a:pt x="576372" y="616124"/>
                    <a:pt x="574360" y="609739"/>
                    <a:pt x="569951" y="604727"/>
                  </a:cubicBezTo>
                  <a:lnTo>
                    <a:pt x="564811" y="598873"/>
                  </a:lnTo>
                  <a:lnTo>
                    <a:pt x="591867" y="589470"/>
                  </a:lnTo>
                  <a:cubicBezTo>
                    <a:pt x="602532" y="585757"/>
                    <a:pt x="610178" y="576884"/>
                    <a:pt x="613965" y="563823"/>
                  </a:cubicBezTo>
                  <a:cubicBezTo>
                    <a:pt x="617203" y="552682"/>
                    <a:pt x="615776" y="541523"/>
                    <a:pt x="609886" y="531553"/>
                  </a:cubicBezTo>
                  <a:lnTo>
                    <a:pt x="597995" y="511448"/>
                  </a:lnTo>
                  <a:lnTo>
                    <a:pt x="826974" y="511448"/>
                  </a:lnTo>
                  <a:cubicBezTo>
                    <a:pt x="857195" y="511448"/>
                    <a:pt x="881763" y="486862"/>
                    <a:pt x="881763" y="456660"/>
                  </a:cubicBezTo>
                  <a:lnTo>
                    <a:pt x="881763" y="129993"/>
                  </a:lnTo>
                  <a:close/>
                  <a:moveTo>
                    <a:pt x="762727" y="37483"/>
                  </a:moveTo>
                  <a:lnTo>
                    <a:pt x="844280" y="119036"/>
                  </a:lnTo>
                  <a:lnTo>
                    <a:pt x="795564" y="119036"/>
                  </a:lnTo>
                  <a:cubicBezTo>
                    <a:pt x="777454" y="119036"/>
                    <a:pt x="762727" y="104309"/>
                    <a:pt x="762727" y="86199"/>
                  </a:cubicBezTo>
                  <a:close/>
                  <a:moveTo>
                    <a:pt x="592873" y="557731"/>
                  </a:moveTo>
                  <a:cubicBezTo>
                    <a:pt x="591117" y="563768"/>
                    <a:pt x="588354" y="567481"/>
                    <a:pt x="584641" y="568780"/>
                  </a:cubicBezTo>
                  <a:lnTo>
                    <a:pt x="557036" y="578384"/>
                  </a:lnTo>
                  <a:cubicBezTo>
                    <a:pt x="550139" y="580781"/>
                    <a:pt x="545127" y="586196"/>
                    <a:pt x="543261" y="593257"/>
                  </a:cubicBezTo>
                  <a:cubicBezTo>
                    <a:pt x="541413" y="600318"/>
                    <a:pt x="543115" y="607507"/>
                    <a:pt x="547926" y="612977"/>
                  </a:cubicBezTo>
                  <a:lnTo>
                    <a:pt x="553469" y="619270"/>
                  </a:lnTo>
                  <a:cubicBezTo>
                    <a:pt x="553816" y="619654"/>
                    <a:pt x="553853" y="619819"/>
                    <a:pt x="553798" y="620331"/>
                  </a:cubicBezTo>
                  <a:cubicBezTo>
                    <a:pt x="553743" y="620843"/>
                    <a:pt x="553651" y="620990"/>
                    <a:pt x="553249" y="621282"/>
                  </a:cubicBezTo>
                  <a:lnTo>
                    <a:pt x="542566" y="629002"/>
                  </a:lnTo>
                  <a:cubicBezTo>
                    <a:pt x="537517" y="632661"/>
                    <a:pt x="534370" y="638076"/>
                    <a:pt x="533748" y="644296"/>
                  </a:cubicBezTo>
                  <a:cubicBezTo>
                    <a:pt x="533108" y="650497"/>
                    <a:pt x="535084" y="656461"/>
                    <a:pt x="539309" y="661052"/>
                  </a:cubicBezTo>
                  <a:lnTo>
                    <a:pt x="542035" y="664034"/>
                  </a:lnTo>
                  <a:cubicBezTo>
                    <a:pt x="542401" y="664437"/>
                    <a:pt x="542474" y="664638"/>
                    <a:pt x="542383" y="665187"/>
                  </a:cubicBezTo>
                  <a:cubicBezTo>
                    <a:pt x="542291" y="665717"/>
                    <a:pt x="542163" y="665900"/>
                    <a:pt x="541688" y="666156"/>
                  </a:cubicBezTo>
                  <a:lnTo>
                    <a:pt x="529705" y="672650"/>
                  </a:lnTo>
                  <a:cubicBezTo>
                    <a:pt x="520138" y="677846"/>
                    <a:pt x="515930" y="689389"/>
                    <a:pt x="519937" y="699524"/>
                  </a:cubicBezTo>
                  <a:lnTo>
                    <a:pt x="522077" y="704957"/>
                  </a:lnTo>
                  <a:lnTo>
                    <a:pt x="522077" y="726653"/>
                  </a:lnTo>
                  <a:cubicBezTo>
                    <a:pt x="522077" y="748788"/>
                    <a:pt x="504058" y="766807"/>
                    <a:pt x="481923" y="766807"/>
                  </a:cubicBezTo>
                  <a:lnTo>
                    <a:pt x="435878" y="766807"/>
                  </a:lnTo>
                  <a:cubicBezTo>
                    <a:pt x="388023" y="766807"/>
                    <a:pt x="349094" y="805735"/>
                    <a:pt x="349094" y="853591"/>
                  </a:cubicBezTo>
                  <a:lnTo>
                    <a:pt x="349094" y="859811"/>
                  </a:lnTo>
                  <a:lnTo>
                    <a:pt x="115413" y="859811"/>
                  </a:lnTo>
                  <a:lnTo>
                    <a:pt x="115413" y="680754"/>
                  </a:lnTo>
                  <a:cubicBezTo>
                    <a:pt x="115413" y="648668"/>
                    <a:pt x="105279" y="621209"/>
                    <a:pt x="84406" y="596824"/>
                  </a:cubicBezTo>
                  <a:cubicBezTo>
                    <a:pt x="44124" y="549755"/>
                    <a:pt x="21952" y="489661"/>
                    <a:pt x="21952" y="427610"/>
                  </a:cubicBezTo>
                  <a:cubicBezTo>
                    <a:pt x="21952" y="284024"/>
                    <a:pt x="138774" y="167221"/>
                    <a:pt x="282341" y="167221"/>
                  </a:cubicBezTo>
                  <a:cubicBezTo>
                    <a:pt x="382095" y="167221"/>
                    <a:pt x="474349" y="225394"/>
                    <a:pt x="517412" y="315434"/>
                  </a:cubicBezTo>
                  <a:cubicBezTo>
                    <a:pt x="525754" y="332886"/>
                    <a:pt x="529120" y="349295"/>
                    <a:pt x="528315" y="368631"/>
                  </a:cubicBezTo>
                  <a:lnTo>
                    <a:pt x="527528" y="387327"/>
                  </a:lnTo>
                  <a:cubicBezTo>
                    <a:pt x="526248" y="418024"/>
                    <a:pt x="532925" y="444641"/>
                    <a:pt x="548584" y="471093"/>
                  </a:cubicBezTo>
                  <a:lnTo>
                    <a:pt x="590988" y="542749"/>
                  </a:lnTo>
                  <a:cubicBezTo>
                    <a:pt x="593787" y="547523"/>
                    <a:pt x="594409" y="552426"/>
                    <a:pt x="592873" y="557731"/>
                  </a:cubicBezTo>
                  <a:close/>
                  <a:moveTo>
                    <a:pt x="826956" y="489533"/>
                  </a:moveTo>
                  <a:lnTo>
                    <a:pt x="584988" y="489533"/>
                  </a:lnTo>
                  <a:lnTo>
                    <a:pt x="567481" y="459934"/>
                  </a:lnTo>
                  <a:cubicBezTo>
                    <a:pt x="554091" y="437305"/>
                    <a:pt x="548365" y="414530"/>
                    <a:pt x="549462" y="388260"/>
                  </a:cubicBezTo>
                  <a:lnTo>
                    <a:pt x="550249" y="369564"/>
                  </a:lnTo>
                  <a:cubicBezTo>
                    <a:pt x="551200" y="346771"/>
                    <a:pt x="547066" y="326557"/>
                    <a:pt x="537224" y="305976"/>
                  </a:cubicBezTo>
                  <a:cubicBezTo>
                    <a:pt x="527400" y="285433"/>
                    <a:pt x="515180" y="266261"/>
                    <a:pt x="500893" y="248809"/>
                  </a:cubicBezTo>
                  <a:lnTo>
                    <a:pt x="500893" y="54789"/>
                  </a:lnTo>
                  <a:cubicBezTo>
                    <a:pt x="500893" y="36678"/>
                    <a:pt x="515619" y="21952"/>
                    <a:pt x="533730" y="21952"/>
                  </a:cubicBezTo>
                  <a:lnTo>
                    <a:pt x="740775" y="21952"/>
                  </a:lnTo>
                  <a:lnTo>
                    <a:pt x="740775" y="86180"/>
                  </a:lnTo>
                  <a:cubicBezTo>
                    <a:pt x="740775" y="116401"/>
                    <a:pt x="765362" y="140969"/>
                    <a:pt x="795564" y="140969"/>
                  </a:cubicBezTo>
                  <a:lnTo>
                    <a:pt x="859793" y="140969"/>
                  </a:lnTo>
                  <a:lnTo>
                    <a:pt x="859793" y="456678"/>
                  </a:lnTo>
                  <a:cubicBezTo>
                    <a:pt x="859793" y="474788"/>
                    <a:pt x="845066" y="489533"/>
                    <a:pt x="826956" y="489533"/>
                  </a:cubicBezTo>
                  <a:close/>
                  <a:moveTo>
                    <a:pt x="808845" y="204960"/>
                  </a:moveTo>
                  <a:cubicBezTo>
                    <a:pt x="808845" y="211015"/>
                    <a:pt x="803924" y="215936"/>
                    <a:pt x="797869" y="215936"/>
                  </a:cubicBezTo>
                  <a:lnTo>
                    <a:pt x="562798" y="215936"/>
                  </a:lnTo>
                  <a:cubicBezTo>
                    <a:pt x="556743" y="215936"/>
                    <a:pt x="551822" y="211015"/>
                    <a:pt x="551822" y="204960"/>
                  </a:cubicBezTo>
                  <a:cubicBezTo>
                    <a:pt x="551822" y="198905"/>
                    <a:pt x="556743" y="193984"/>
                    <a:pt x="562798" y="193984"/>
                  </a:cubicBezTo>
                  <a:lnTo>
                    <a:pt x="797851" y="193984"/>
                  </a:lnTo>
                  <a:cubicBezTo>
                    <a:pt x="803924" y="193984"/>
                    <a:pt x="808845" y="198905"/>
                    <a:pt x="808845" y="204960"/>
                  </a:cubicBezTo>
                  <a:close/>
                  <a:moveTo>
                    <a:pt x="808845" y="307202"/>
                  </a:moveTo>
                  <a:cubicBezTo>
                    <a:pt x="808845" y="313257"/>
                    <a:pt x="803924" y="318178"/>
                    <a:pt x="797869" y="318178"/>
                  </a:cubicBezTo>
                  <a:lnTo>
                    <a:pt x="590293" y="318178"/>
                  </a:lnTo>
                  <a:cubicBezTo>
                    <a:pt x="584238" y="318178"/>
                    <a:pt x="579317" y="313257"/>
                    <a:pt x="579317" y="307202"/>
                  </a:cubicBezTo>
                  <a:cubicBezTo>
                    <a:pt x="579317" y="301147"/>
                    <a:pt x="584238" y="296226"/>
                    <a:pt x="590293" y="296226"/>
                  </a:cubicBezTo>
                  <a:lnTo>
                    <a:pt x="797851" y="296226"/>
                  </a:lnTo>
                  <a:cubicBezTo>
                    <a:pt x="803924" y="296226"/>
                    <a:pt x="808845" y="301147"/>
                    <a:pt x="808845" y="307202"/>
                  </a:cubicBezTo>
                  <a:close/>
                  <a:moveTo>
                    <a:pt x="808845" y="409426"/>
                  </a:moveTo>
                  <a:cubicBezTo>
                    <a:pt x="808845" y="415481"/>
                    <a:pt x="803924" y="420402"/>
                    <a:pt x="797869" y="420402"/>
                  </a:cubicBezTo>
                  <a:lnTo>
                    <a:pt x="599495" y="420402"/>
                  </a:lnTo>
                  <a:cubicBezTo>
                    <a:pt x="593440" y="420402"/>
                    <a:pt x="588519" y="415481"/>
                    <a:pt x="588519" y="409426"/>
                  </a:cubicBezTo>
                  <a:cubicBezTo>
                    <a:pt x="588519" y="403371"/>
                    <a:pt x="593440" y="398450"/>
                    <a:pt x="599495" y="398450"/>
                  </a:cubicBezTo>
                  <a:lnTo>
                    <a:pt x="797869" y="398450"/>
                  </a:lnTo>
                  <a:cubicBezTo>
                    <a:pt x="803924" y="398450"/>
                    <a:pt x="808845" y="403371"/>
                    <a:pt x="808845" y="409426"/>
                  </a:cubicBezTo>
                  <a:close/>
                </a:path>
              </a:pathLst>
            </a:custGeom>
            <a:solidFill>
              <a:schemeClr val="bg1"/>
            </a:solidFill>
            <a:ln w="1823"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14" name="Group 13">
            <a:extLst>
              <a:ext uri="{FF2B5EF4-FFF2-40B4-BE49-F238E27FC236}">
                <a16:creationId xmlns:a16="http://schemas.microsoft.com/office/drawing/2014/main" id="{62660F68-D177-B8BF-F8F4-EBB9A7FC2619}"/>
              </a:ext>
            </a:extLst>
          </p:cNvPr>
          <p:cNvGrpSpPr/>
          <p:nvPr/>
        </p:nvGrpSpPr>
        <p:grpSpPr>
          <a:xfrm>
            <a:off x="5741950" y="1514851"/>
            <a:ext cx="689054" cy="689054"/>
            <a:chOff x="5741950" y="1514851"/>
            <a:chExt cx="689054" cy="689054"/>
          </a:xfrm>
        </p:grpSpPr>
        <p:sp>
          <p:nvSpPr>
            <p:cNvPr id="13" name="Oval 12">
              <a:extLst>
                <a:ext uri="{FF2B5EF4-FFF2-40B4-BE49-F238E27FC236}">
                  <a16:creationId xmlns:a16="http://schemas.microsoft.com/office/drawing/2014/main" id="{0F43BD01-3B9F-4C37-5D94-65BB9086ECE8}"/>
                </a:ext>
              </a:extLst>
            </p:cNvPr>
            <p:cNvSpPr>
              <a:spLocks noChangeAspect="1"/>
            </p:cNvSpPr>
            <p:nvPr/>
          </p:nvSpPr>
          <p:spPr>
            <a:xfrm>
              <a:off x="5741950" y="1514851"/>
              <a:ext cx="689054" cy="68905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grpSp>
          <p:nvGrpSpPr>
            <p:cNvPr id="180" name="Pic">
              <a:extLst>
                <a:ext uri="{FF2B5EF4-FFF2-40B4-BE49-F238E27FC236}">
                  <a16:creationId xmlns:a16="http://schemas.microsoft.com/office/drawing/2014/main" id="{A3D721B9-0007-596E-CA0D-132B08CD566E}"/>
                </a:ext>
              </a:extLst>
            </p:cNvPr>
            <p:cNvGrpSpPr>
              <a:grpSpLocks noChangeAspect="1"/>
            </p:cNvGrpSpPr>
            <p:nvPr/>
          </p:nvGrpSpPr>
          <p:grpSpPr>
            <a:xfrm>
              <a:off x="5902322" y="1658784"/>
              <a:ext cx="361959" cy="401188"/>
              <a:chOff x="795479" y="941388"/>
              <a:chExt cx="529945" cy="587380"/>
            </a:xfrm>
            <a:solidFill>
              <a:schemeClr val="bg1"/>
            </a:solidFill>
          </p:grpSpPr>
          <p:sp>
            <p:nvSpPr>
              <p:cNvPr id="187" name="Freeform: Shape 186">
                <a:extLst>
                  <a:ext uri="{FF2B5EF4-FFF2-40B4-BE49-F238E27FC236}">
                    <a16:creationId xmlns:a16="http://schemas.microsoft.com/office/drawing/2014/main" id="{C5360E5D-0D6D-25BA-2D4F-055C40DCDC1A}"/>
                  </a:ext>
                </a:extLst>
              </p:cNvPr>
              <p:cNvSpPr/>
              <p:nvPr/>
            </p:nvSpPr>
            <p:spPr>
              <a:xfrm>
                <a:off x="795479" y="941388"/>
                <a:ext cx="529945" cy="587380"/>
              </a:xfrm>
              <a:custGeom>
                <a:avLst/>
                <a:gdLst>
                  <a:gd name="csX0" fmla="*/ 519646 w 529945"/>
                  <a:gd name="csY0" fmla="*/ 142702 h 587380"/>
                  <a:gd name="csX1" fmla="*/ 461119 w 529945"/>
                  <a:gd name="csY1" fmla="*/ 58530 h 587380"/>
                  <a:gd name="csX2" fmla="*/ 293855 w 529945"/>
                  <a:gd name="csY2" fmla="*/ 337 h 587380"/>
                  <a:gd name="csX3" fmla="*/ 199162 w 529945"/>
                  <a:gd name="csY3" fmla="*/ 13865 h 587380"/>
                  <a:gd name="csX4" fmla="*/ 101084 w 529945"/>
                  <a:gd name="csY4" fmla="*/ 61331 h 587380"/>
                  <a:gd name="csX5" fmla="*/ 61810 w 529945"/>
                  <a:gd name="csY5" fmla="*/ 125340 h 587380"/>
                  <a:gd name="csX6" fmla="*/ 52957 w 529945"/>
                  <a:gd name="csY6" fmla="*/ 157213 h 587380"/>
                  <a:gd name="csX7" fmla="*/ 52134 w 529945"/>
                  <a:gd name="csY7" fmla="*/ 160756 h 587380"/>
                  <a:gd name="csX8" fmla="*/ 43837 w 529945"/>
                  <a:gd name="csY8" fmla="*/ 182849 h 587380"/>
                  <a:gd name="csX9" fmla="*/ 38034 w 529945"/>
                  <a:gd name="csY9" fmla="*/ 196558 h 587380"/>
                  <a:gd name="csX10" fmla="*/ 35395 w 529945"/>
                  <a:gd name="csY10" fmla="*/ 213034 h 587380"/>
                  <a:gd name="csX11" fmla="*/ 49678 w 529945"/>
                  <a:gd name="csY11" fmla="*/ 234845 h 587380"/>
                  <a:gd name="csX12" fmla="*/ 57660 w 529945"/>
                  <a:gd name="csY12" fmla="*/ 245142 h 587380"/>
                  <a:gd name="csX13" fmla="*/ 55949 w 529945"/>
                  <a:gd name="csY13" fmla="*/ 249320 h 587380"/>
                  <a:gd name="csX14" fmla="*/ 13100 w 529945"/>
                  <a:gd name="csY14" fmla="*/ 319022 h 587380"/>
                  <a:gd name="csX15" fmla="*/ 194 w 529945"/>
                  <a:gd name="csY15" fmla="*/ 347803 h 587380"/>
                  <a:gd name="csX16" fmla="*/ 14382 w 529945"/>
                  <a:gd name="csY16" fmla="*/ 366058 h 587380"/>
                  <a:gd name="csX17" fmla="*/ 24592 w 529945"/>
                  <a:gd name="csY17" fmla="*/ 371981 h 587380"/>
                  <a:gd name="csX18" fmla="*/ 36380 w 529945"/>
                  <a:gd name="csY18" fmla="*/ 380318 h 587380"/>
                  <a:gd name="csX19" fmla="*/ 35308 w 529945"/>
                  <a:gd name="csY19" fmla="*/ 390136 h 587380"/>
                  <a:gd name="csX20" fmla="*/ 31044 w 529945"/>
                  <a:gd name="csY20" fmla="*/ 398147 h 587380"/>
                  <a:gd name="csX21" fmla="*/ 30508 w 529945"/>
                  <a:gd name="csY21" fmla="*/ 422759 h 587380"/>
                  <a:gd name="csX22" fmla="*/ 39543 w 529945"/>
                  <a:gd name="csY22" fmla="*/ 429996 h 587380"/>
                  <a:gd name="csX23" fmla="*/ 36388 w 529945"/>
                  <a:gd name="csY23" fmla="*/ 444173 h 587380"/>
                  <a:gd name="csX24" fmla="*/ 42152 w 529945"/>
                  <a:gd name="csY24" fmla="*/ 453691 h 587380"/>
                  <a:gd name="csX25" fmla="*/ 49007 w 529945"/>
                  <a:gd name="csY25" fmla="*/ 457926 h 587380"/>
                  <a:gd name="csX26" fmla="*/ 57783 w 529945"/>
                  <a:gd name="csY26" fmla="*/ 465789 h 587380"/>
                  <a:gd name="csX27" fmla="*/ 56722 w 529945"/>
                  <a:gd name="csY27" fmla="*/ 477658 h 587380"/>
                  <a:gd name="csX28" fmla="*/ 55259 w 529945"/>
                  <a:gd name="csY28" fmla="*/ 485354 h 587380"/>
                  <a:gd name="csX29" fmla="*/ 58539 w 529945"/>
                  <a:gd name="csY29" fmla="*/ 511658 h 587380"/>
                  <a:gd name="csX30" fmla="*/ 101187 w 529945"/>
                  <a:gd name="csY30" fmla="*/ 537537 h 587380"/>
                  <a:gd name="csX31" fmla="*/ 183776 w 529945"/>
                  <a:gd name="csY31" fmla="*/ 512839 h 587380"/>
                  <a:gd name="csX32" fmla="*/ 223307 w 529945"/>
                  <a:gd name="csY32" fmla="*/ 579922 h 587380"/>
                  <a:gd name="csX33" fmla="*/ 232820 w 529945"/>
                  <a:gd name="csY33" fmla="*/ 587379 h 587380"/>
                  <a:gd name="csX34" fmla="*/ 480332 w 529945"/>
                  <a:gd name="csY34" fmla="*/ 587379 h 587380"/>
                  <a:gd name="csX35" fmla="*/ 488201 w 529945"/>
                  <a:gd name="csY35" fmla="*/ 583411 h 587380"/>
                  <a:gd name="csX36" fmla="*/ 489692 w 529945"/>
                  <a:gd name="csY36" fmla="*/ 574727 h 587380"/>
                  <a:gd name="csX37" fmla="*/ 478668 w 529945"/>
                  <a:gd name="csY37" fmla="*/ 555702 h 587380"/>
                  <a:gd name="csX38" fmla="*/ 471613 w 529945"/>
                  <a:gd name="csY38" fmla="*/ 544932 h 587380"/>
                  <a:gd name="csX39" fmla="*/ 460552 w 529945"/>
                  <a:gd name="csY39" fmla="*/ 516931 h 587380"/>
                  <a:gd name="csX40" fmla="*/ 449013 w 529945"/>
                  <a:gd name="csY40" fmla="*/ 459040 h 587380"/>
                  <a:gd name="csX41" fmla="*/ 461814 w 529945"/>
                  <a:gd name="csY41" fmla="*/ 373104 h 587380"/>
                  <a:gd name="csX42" fmla="*/ 488391 w 529945"/>
                  <a:gd name="csY42" fmla="*/ 331159 h 587380"/>
                  <a:gd name="csX43" fmla="*/ 505924 w 529945"/>
                  <a:gd name="csY43" fmla="*/ 306288 h 587380"/>
                  <a:gd name="csX44" fmla="*/ 529881 w 529945"/>
                  <a:gd name="csY44" fmla="*/ 225830 h 587380"/>
                  <a:gd name="csX45" fmla="*/ 519646 w 529945"/>
                  <a:gd name="csY45" fmla="*/ 142702 h 587380"/>
                  <a:gd name="csX46" fmla="*/ 510305 w 529945"/>
                  <a:gd name="csY46" fmla="*/ 225554 h 587380"/>
                  <a:gd name="csX47" fmla="*/ 489378 w 529945"/>
                  <a:gd name="csY47" fmla="*/ 295816 h 587380"/>
                  <a:gd name="csX48" fmla="*/ 472677 w 529945"/>
                  <a:gd name="csY48" fmla="*/ 319488 h 587380"/>
                  <a:gd name="csX49" fmla="*/ 443872 w 529945"/>
                  <a:gd name="csY49" fmla="*/ 365271 h 587380"/>
                  <a:gd name="csX50" fmla="*/ 429579 w 529945"/>
                  <a:gd name="csY50" fmla="*/ 461394 h 587380"/>
                  <a:gd name="csX51" fmla="*/ 441845 w 529945"/>
                  <a:gd name="csY51" fmla="*/ 522713 h 587380"/>
                  <a:gd name="csX52" fmla="*/ 453986 w 529945"/>
                  <a:gd name="csY52" fmla="*/ 553468 h 587380"/>
                  <a:gd name="csX53" fmla="*/ 462868 w 529945"/>
                  <a:gd name="csY53" fmla="*/ 567263 h 587380"/>
                  <a:gd name="csX54" fmla="*/ 463259 w 529945"/>
                  <a:gd name="csY54" fmla="*/ 567803 h 587380"/>
                  <a:gd name="csX55" fmla="*/ 240232 w 529945"/>
                  <a:gd name="csY55" fmla="*/ 567803 h 587380"/>
                  <a:gd name="csX56" fmla="*/ 205720 w 529945"/>
                  <a:gd name="csY56" fmla="*/ 505256 h 587380"/>
                  <a:gd name="csX57" fmla="*/ 212967 w 529945"/>
                  <a:gd name="csY57" fmla="*/ 502717 h 587380"/>
                  <a:gd name="csX58" fmla="*/ 228607 w 529945"/>
                  <a:gd name="csY58" fmla="*/ 497334 h 587380"/>
                  <a:gd name="csX59" fmla="*/ 290996 w 529945"/>
                  <a:gd name="csY59" fmla="*/ 440642 h 587380"/>
                  <a:gd name="csX60" fmla="*/ 280978 w 529945"/>
                  <a:gd name="csY60" fmla="*/ 431082 h 587380"/>
                  <a:gd name="csX61" fmla="*/ 271418 w 529945"/>
                  <a:gd name="csY61" fmla="*/ 441101 h 587380"/>
                  <a:gd name="csX62" fmla="*/ 222728 w 529945"/>
                  <a:gd name="csY62" fmla="*/ 478659 h 587380"/>
                  <a:gd name="csX63" fmla="*/ 206495 w 529945"/>
                  <a:gd name="csY63" fmla="*/ 484242 h 587380"/>
                  <a:gd name="csX64" fmla="*/ 181380 w 529945"/>
                  <a:gd name="csY64" fmla="*/ 492956 h 587380"/>
                  <a:gd name="csX65" fmla="*/ 181322 w 529945"/>
                  <a:gd name="csY65" fmla="*/ 492976 h 587380"/>
                  <a:gd name="csX66" fmla="*/ 97222 w 529945"/>
                  <a:gd name="csY66" fmla="*/ 518367 h 587380"/>
                  <a:gd name="csX67" fmla="*/ 77031 w 529945"/>
                  <a:gd name="csY67" fmla="*/ 505236 h 587380"/>
                  <a:gd name="csX68" fmla="*/ 74670 w 529945"/>
                  <a:gd name="csY68" fmla="*/ 487956 h 587380"/>
                  <a:gd name="csX69" fmla="*/ 75846 w 529945"/>
                  <a:gd name="csY69" fmla="*/ 481875 h 587380"/>
                  <a:gd name="csX70" fmla="*/ 76755 w 529945"/>
                  <a:gd name="csY70" fmla="*/ 460963 h 587380"/>
                  <a:gd name="csX71" fmla="*/ 58715 w 529945"/>
                  <a:gd name="csY71" fmla="*/ 440920 h 587380"/>
                  <a:gd name="csX72" fmla="*/ 56621 w 529945"/>
                  <a:gd name="csY72" fmla="*/ 439715 h 587380"/>
                  <a:gd name="csX73" fmla="*/ 60369 w 529945"/>
                  <a:gd name="csY73" fmla="*/ 433650 h 587380"/>
                  <a:gd name="csX74" fmla="*/ 62368 w 529945"/>
                  <a:gd name="csY74" fmla="*/ 426299 h 587380"/>
                  <a:gd name="csX75" fmla="*/ 58486 w 529945"/>
                  <a:gd name="csY75" fmla="*/ 419743 h 587380"/>
                  <a:gd name="csX76" fmla="*/ 46518 w 529945"/>
                  <a:gd name="csY76" fmla="*/ 410603 h 587380"/>
                  <a:gd name="csX77" fmla="*/ 48095 w 529945"/>
                  <a:gd name="csY77" fmla="*/ 407788 h 587380"/>
                  <a:gd name="csX78" fmla="*/ 52990 w 529945"/>
                  <a:gd name="csY78" fmla="*/ 398553 h 587380"/>
                  <a:gd name="csX79" fmla="*/ 55620 w 529945"/>
                  <a:gd name="csY79" fmla="*/ 376655 h 587380"/>
                  <a:gd name="csX80" fmla="*/ 33487 w 529945"/>
                  <a:gd name="csY80" fmla="*/ 354533 h 587380"/>
                  <a:gd name="csX81" fmla="*/ 25351 w 529945"/>
                  <a:gd name="csY81" fmla="*/ 349821 h 587380"/>
                  <a:gd name="csX82" fmla="*/ 19587 w 529945"/>
                  <a:gd name="csY82" fmla="*/ 345150 h 587380"/>
                  <a:gd name="csX83" fmla="*/ 28678 w 529945"/>
                  <a:gd name="csY83" fmla="*/ 330905 h 587380"/>
                  <a:gd name="csX84" fmla="*/ 73411 w 529945"/>
                  <a:gd name="csY84" fmla="*/ 258181 h 587380"/>
                  <a:gd name="csX85" fmla="*/ 77245 w 529945"/>
                  <a:gd name="csY85" fmla="*/ 244906 h 587380"/>
                  <a:gd name="csX86" fmla="*/ 62904 w 529945"/>
                  <a:gd name="csY86" fmla="*/ 220404 h 587380"/>
                  <a:gd name="csX87" fmla="*/ 54788 w 529945"/>
                  <a:gd name="csY87" fmla="*/ 210357 h 587380"/>
                  <a:gd name="csX88" fmla="*/ 56356 w 529945"/>
                  <a:gd name="csY88" fmla="*/ 203473 h 587380"/>
                  <a:gd name="csX89" fmla="*/ 61710 w 529945"/>
                  <a:gd name="csY89" fmla="*/ 190845 h 587380"/>
                  <a:gd name="csX90" fmla="*/ 71203 w 529945"/>
                  <a:gd name="csY90" fmla="*/ 165194 h 587380"/>
                  <a:gd name="csX91" fmla="*/ 72035 w 529945"/>
                  <a:gd name="csY91" fmla="*/ 161624 h 587380"/>
                  <a:gd name="csX92" fmla="*/ 80180 w 529945"/>
                  <a:gd name="csY92" fmla="*/ 132126 h 587380"/>
                  <a:gd name="csX93" fmla="*/ 115294 w 529945"/>
                  <a:gd name="csY93" fmla="*/ 74794 h 587380"/>
                  <a:gd name="csX94" fmla="*/ 203028 w 529945"/>
                  <a:gd name="csY94" fmla="*/ 33059 h 587380"/>
                  <a:gd name="csX95" fmla="*/ 294862 w 529945"/>
                  <a:gd name="csY95" fmla="*/ 19886 h 587380"/>
                  <a:gd name="csX96" fmla="*/ 449059 w 529945"/>
                  <a:gd name="csY96" fmla="*/ 73944 h 587380"/>
                  <a:gd name="csX97" fmla="*/ 500818 w 529945"/>
                  <a:gd name="csY97" fmla="*/ 148054 h 587380"/>
                  <a:gd name="csX98" fmla="*/ 510305 w 529945"/>
                  <a:gd name="csY98" fmla="*/ 225554 h 58738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Lst>
                <a:rect l="l" t="t" r="r" b="b"/>
                <a:pathLst>
                  <a:path w="529945" h="587380">
                    <a:moveTo>
                      <a:pt x="519646" y="142702"/>
                    </a:moveTo>
                    <a:cubicBezTo>
                      <a:pt x="509745" y="109058"/>
                      <a:pt x="489211" y="79526"/>
                      <a:pt x="461119" y="58530"/>
                    </a:cubicBezTo>
                    <a:cubicBezTo>
                      <a:pt x="405890" y="15208"/>
                      <a:pt x="354256" y="-2750"/>
                      <a:pt x="293855" y="337"/>
                    </a:cubicBezTo>
                    <a:cubicBezTo>
                      <a:pt x="262004" y="2536"/>
                      <a:pt x="230356" y="7057"/>
                      <a:pt x="199162" y="13865"/>
                    </a:cubicBezTo>
                    <a:cubicBezTo>
                      <a:pt x="154994" y="22756"/>
                      <a:pt x="122920" y="38281"/>
                      <a:pt x="101084" y="61331"/>
                    </a:cubicBezTo>
                    <a:cubicBezTo>
                      <a:pt x="83769" y="79769"/>
                      <a:pt x="70404" y="101551"/>
                      <a:pt x="61810" y="125340"/>
                    </a:cubicBezTo>
                    <a:cubicBezTo>
                      <a:pt x="58180" y="135765"/>
                      <a:pt x="55224" y="146411"/>
                      <a:pt x="52957" y="157213"/>
                    </a:cubicBezTo>
                    <a:lnTo>
                      <a:pt x="52134" y="160756"/>
                    </a:lnTo>
                    <a:cubicBezTo>
                      <a:pt x="50077" y="168368"/>
                      <a:pt x="47299" y="175766"/>
                      <a:pt x="43837" y="182849"/>
                    </a:cubicBezTo>
                    <a:cubicBezTo>
                      <a:pt x="41800" y="187390"/>
                      <a:pt x="39774" y="191936"/>
                      <a:pt x="38034" y="196558"/>
                    </a:cubicBezTo>
                    <a:cubicBezTo>
                      <a:pt x="35773" y="201738"/>
                      <a:pt x="34865" y="207407"/>
                      <a:pt x="35395" y="213034"/>
                    </a:cubicBezTo>
                    <a:cubicBezTo>
                      <a:pt x="37382" y="221784"/>
                      <a:pt x="42452" y="229527"/>
                      <a:pt x="49678" y="234845"/>
                    </a:cubicBezTo>
                    <a:cubicBezTo>
                      <a:pt x="54477" y="239243"/>
                      <a:pt x="57632" y="242331"/>
                      <a:pt x="57660" y="245142"/>
                    </a:cubicBezTo>
                    <a:cubicBezTo>
                      <a:pt x="57281" y="246605"/>
                      <a:pt x="56705" y="248011"/>
                      <a:pt x="55949" y="249320"/>
                    </a:cubicBezTo>
                    <a:cubicBezTo>
                      <a:pt x="44224" y="274033"/>
                      <a:pt x="29858" y="297403"/>
                      <a:pt x="13100" y="319022"/>
                    </a:cubicBezTo>
                    <a:cubicBezTo>
                      <a:pt x="6074" y="327602"/>
                      <a:pt x="-1297" y="337612"/>
                      <a:pt x="194" y="347803"/>
                    </a:cubicBezTo>
                    <a:cubicBezTo>
                      <a:pt x="2327" y="355522"/>
                      <a:pt x="7427" y="362085"/>
                      <a:pt x="14382" y="366058"/>
                    </a:cubicBezTo>
                    <a:cubicBezTo>
                      <a:pt x="17618" y="368308"/>
                      <a:pt x="21032" y="370289"/>
                      <a:pt x="24592" y="371981"/>
                    </a:cubicBezTo>
                    <a:cubicBezTo>
                      <a:pt x="28817" y="374132"/>
                      <a:pt x="35892" y="377741"/>
                      <a:pt x="36380" y="380318"/>
                    </a:cubicBezTo>
                    <a:cubicBezTo>
                      <a:pt x="37024" y="383624"/>
                      <a:pt x="36650" y="387048"/>
                      <a:pt x="35308" y="390136"/>
                    </a:cubicBezTo>
                    <a:cubicBezTo>
                      <a:pt x="33855" y="393200"/>
                      <a:pt x="32345" y="395848"/>
                      <a:pt x="31044" y="398147"/>
                    </a:cubicBezTo>
                    <a:cubicBezTo>
                      <a:pt x="27450" y="404505"/>
                      <a:pt x="21427" y="415145"/>
                      <a:pt x="30508" y="422759"/>
                    </a:cubicBezTo>
                    <a:cubicBezTo>
                      <a:pt x="32621" y="424628"/>
                      <a:pt x="36235" y="427469"/>
                      <a:pt x="39543" y="429996"/>
                    </a:cubicBezTo>
                    <a:cubicBezTo>
                      <a:pt x="37093" y="434298"/>
                      <a:pt x="35994" y="439238"/>
                      <a:pt x="36388" y="444173"/>
                    </a:cubicBezTo>
                    <a:cubicBezTo>
                      <a:pt x="36917" y="448004"/>
                      <a:pt x="39002" y="451447"/>
                      <a:pt x="42152" y="453691"/>
                    </a:cubicBezTo>
                    <a:cubicBezTo>
                      <a:pt x="44341" y="455244"/>
                      <a:pt x="46684" y="456597"/>
                      <a:pt x="49007" y="457926"/>
                    </a:cubicBezTo>
                    <a:cubicBezTo>
                      <a:pt x="54763" y="461206"/>
                      <a:pt x="57009" y="462735"/>
                      <a:pt x="57783" y="465789"/>
                    </a:cubicBezTo>
                    <a:cubicBezTo>
                      <a:pt x="58297" y="469776"/>
                      <a:pt x="57936" y="473827"/>
                      <a:pt x="56722" y="477658"/>
                    </a:cubicBezTo>
                    <a:cubicBezTo>
                      <a:pt x="56158" y="480225"/>
                      <a:pt x="55604" y="482792"/>
                      <a:pt x="55259" y="485354"/>
                    </a:cubicBezTo>
                    <a:cubicBezTo>
                      <a:pt x="54276" y="494257"/>
                      <a:pt x="55399" y="503269"/>
                      <a:pt x="58539" y="511658"/>
                    </a:cubicBezTo>
                    <a:cubicBezTo>
                      <a:pt x="63619" y="530247"/>
                      <a:pt x="82353" y="541615"/>
                      <a:pt x="101187" y="537537"/>
                    </a:cubicBezTo>
                    <a:cubicBezTo>
                      <a:pt x="129141" y="530796"/>
                      <a:pt x="156711" y="522551"/>
                      <a:pt x="183776" y="512839"/>
                    </a:cubicBezTo>
                    <a:cubicBezTo>
                      <a:pt x="205783" y="525836"/>
                      <a:pt x="219684" y="565171"/>
                      <a:pt x="223307" y="579922"/>
                    </a:cubicBezTo>
                    <a:cubicBezTo>
                      <a:pt x="224388" y="584298"/>
                      <a:pt x="228312" y="587375"/>
                      <a:pt x="232820" y="587379"/>
                    </a:cubicBezTo>
                    <a:lnTo>
                      <a:pt x="480332" y="587379"/>
                    </a:lnTo>
                    <a:cubicBezTo>
                      <a:pt x="483435" y="587378"/>
                      <a:pt x="486355" y="585906"/>
                      <a:pt x="488201" y="583411"/>
                    </a:cubicBezTo>
                    <a:cubicBezTo>
                      <a:pt x="490047" y="580916"/>
                      <a:pt x="490599" y="577693"/>
                      <a:pt x="489692" y="574727"/>
                    </a:cubicBezTo>
                    <a:cubicBezTo>
                      <a:pt x="487078" y="567827"/>
                      <a:pt x="483355" y="561401"/>
                      <a:pt x="478668" y="555702"/>
                    </a:cubicBezTo>
                    <a:cubicBezTo>
                      <a:pt x="476015" y="552319"/>
                      <a:pt x="473655" y="548716"/>
                      <a:pt x="471613" y="544932"/>
                    </a:cubicBezTo>
                    <a:cubicBezTo>
                      <a:pt x="467202" y="535900"/>
                      <a:pt x="463505" y="526538"/>
                      <a:pt x="460552" y="516931"/>
                    </a:cubicBezTo>
                    <a:cubicBezTo>
                      <a:pt x="454954" y="498025"/>
                      <a:pt x="451093" y="478647"/>
                      <a:pt x="449013" y="459040"/>
                    </a:cubicBezTo>
                    <a:cubicBezTo>
                      <a:pt x="445552" y="429765"/>
                      <a:pt x="449971" y="400098"/>
                      <a:pt x="461814" y="373104"/>
                    </a:cubicBezTo>
                    <a:cubicBezTo>
                      <a:pt x="469060" y="358164"/>
                      <a:pt x="477975" y="344092"/>
                      <a:pt x="488391" y="331159"/>
                    </a:cubicBezTo>
                    <a:cubicBezTo>
                      <a:pt x="494308" y="323199"/>
                      <a:pt x="500417" y="314969"/>
                      <a:pt x="505924" y="306288"/>
                    </a:cubicBezTo>
                    <a:cubicBezTo>
                      <a:pt x="521377" y="282283"/>
                      <a:pt x="529686" y="254379"/>
                      <a:pt x="529881" y="225830"/>
                    </a:cubicBezTo>
                    <a:cubicBezTo>
                      <a:pt x="530470" y="197774"/>
                      <a:pt x="527022" y="169779"/>
                      <a:pt x="519646" y="142702"/>
                    </a:cubicBezTo>
                    <a:close/>
                    <a:moveTo>
                      <a:pt x="510305" y="225554"/>
                    </a:moveTo>
                    <a:cubicBezTo>
                      <a:pt x="510140" y="250486"/>
                      <a:pt x="502882" y="274857"/>
                      <a:pt x="489378" y="295816"/>
                    </a:cubicBezTo>
                    <a:cubicBezTo>
                      <a:pt x="484263" y="303876"/>
                      <a:pt x="478375" y="311811"/>
                      <a:pt x="472677" y="319488"/>
                    </a:cubicBezTo>
                    <a:cubicBezTo>
                      <a:pt x="461372" y="333608"/>
                      <a:pt x="451708" y="348968"/>
                      <a:pt x="443872" y="365271"/>
                    </a:cubicBezTo>
                    <a:cubicBezTo>
                      <a:pt x="430631" y="395467"/>
                      <a:pt x="425696" y="428652"/>
                      <a:pt x="429579" y="461394"/>
                    </a:cubicBezTo>
                    <a:cubicBezTo>
                      <a:pt x="431794" y="482165"/>
                      <a:pt x="435900" y="502688"/>
                      <a:pt x="441845" y="522713"/>
                    </a:cubicBezTo>
                    <a:cubicBezTo>
                      <a:pt x="445091" y="533264"/>
                      <a:pt x="449149" y="543546"/>
                      <a:pt x="453986" y="553468"/>
                    </a:cubicBezTo>
                    <a:cubicBezTo>
                      <a:pt x="456528" y="558323"/>
                      <a:pt x="459501" y="562939"/>
                      <a:pt x="462868" y="567263"/>
                    </a:cubicBezTo>
                    <a:cubicBezTo>
                      <a:pt x="463002" y="567440"/>
                      <a:pt x="463135" y="567622"/>
                      <a:pt x="463259" y="567803"/>
                    </a:cubicBezTo>
                    <a:lnTo>
                      <a:pt x="240232" y="567803"/>
                    </a:lnTo>
                    <a:cubicBezTo>
                      <a:pt x="233712" y="544569"/>
                      <a:pt x="221899" y="523160"/>
                      <a:pt x="205720" y="505256"/>
                    </a:cubicBezTo>
                    <a:cubicBezTo>
                      <a:pt x="208282" y="504362"/>
                      <a:pt x="210711" y="503511"/>
                      <a:pt x="212967" y="502717"/>
                    </a:cubicBezTo>
                    <a:cubicBezTo>
                      <a:pt x="220299" y="500151"/>
                      <a:pt x="225825" y="498210"/>
                      <a:pt x="228607" y="497334"/>
                    </a:cubicBezTo>
                    <a:cubicBezTo>
                      <a:pt x="270576" y="484161"/>
                      <a:pt x="291570" y="465088"/>
                      <a:pt x="290996" y="440642"/>
                    </a:cubicBezTo>
                    <a:cubicBezTo>
                      <a:pt x="290870" y="435235"/>
                      <a:pt x="286383" y="430955"/>
                      <a:pt x="280978" y="431082"/>
                    </a:cubicBezTo>
                    <a:cubicBezTo>
                      <a:pt x="275572" y="431210"/>
                      <a:pt x="271291" y="435695"/>
                      <a:pt x="271418" y="441101"/>
                    </a:cubicBezTo>
                    <a:cubicBezTo>
                      <a:pt x="271657" y="451187"/>
                      <a:pt x="263407" y="465890"/>
                      <a:pt x="222728" y="478659"/>
                    </a:cubicBezTo>
                    <a:cubicBezTo>
                      <a:pt x="219840" y="479572"/>
                      <a:pt x="214095" y="481575"/>
                      <a:pt x="206495" y="484242"/>
                    </a:cubicBezTo>
                    <a:cubicBezTo>
                      <a:pt x="199477" y="486700"/>
                      <a:pt x="190835" y="489725"/>
                      <a:pt x="181380" y="492956"/>
                    </a:cubicBezTo>
                    <a:lnTo>
                      <a:pt x="181322" y="492976"/>
                    </a:lnTo>
                    <a:cubicBezTo>
                      <a:pt x="153766" y="502948"/>
                      <a:pt x="125692" y="511424"/>
                      <a:pt x="97222" y="518367"/>
                    </a:cubicBezTo>
                    <a:cubicBezTo>
                      <a:pt x="88053" y="520147"/>
                      <a:pt x="79124" y="514339"/>
                      <a:pt x="77031" y="505236"/>
                    </a:cubicBezTo>
                    <a:cubicBezTo>
                      <a:pt x="74912" y="499738"/>
                      <a:pt x="74104" y="493821"/>
                      <a:pt x="74670" y="487956"/>
                    </a:cubicBezTo>
                    <a:cubicBezTo>
                      <a:pt x="74938" y="485930"/>
                      <a:pt x="75396" y="483903"/>
                      <a:pt x="75846" y="481875"/>
                    </a:cubicBezTo>
                    <a:cubicBezTo>
                      <a:pt x="77854" y="475084"/>
                      <a:pt x="78166" y="467904"/>
                      <a:pt x="76755" y="460963"/>
                    </a:cubicBezTo>
                    <a:cubicBezTo>
                      <a:pt x="73950" y="451972"/>
                      <a:pt x="67361" y="444653"/>
                      <a:pt x="58715" y="440920"/>
                    </a:cubicBezTo>
                    <a:cubicBezTo>
                      <a:pt x="58017" y="440523"/>
                      <a:pt x="57309" y="440121"/>
                      <a:pt x="56621" y="439715"/>
                    </a:cubicBezTo>
                    <a:cubicBezTo>
                      <a:pt x="57666" y="437575"/>
                      <a:pt x="58921" y="435542"/>
                      <a:pt x="60369" y="433650"/>
                    </a:cubicBezTo>
                    <a:cubicBezTo>
                      <a:pt x="62002" y="431570"/>
                      <a:pt x="62722" y="428919"/>
                      <a:pt x="62368" y="426299"/>
                    </a:cubicBezTo>
                    <a:cubicBezTo>
                      <a:pt x="62013" y="423679"/>
                      <a:pt x="60612" y="421314"/>
                      <a:pt x="58486" y="419743"/>
                    </a:cubicBezTo>
                    <a:cubicBezTo>
                      <a:pt x="56135" y="418008"/>
                      <a:pt x="50542" y="413816"/>
                      <a:pt x="46518" y="410603"/>
                    </a:cubicBezTo>
                    <a:cubicBezTo>
                      <a:pt x="47014" y="409690"/>
                      <a:pt x="47579" y="408691"/>
                      <a:pt x="48095" y="407788"/>
                    </a:cubicBezTo>
                    <a:cubicBezTo>
                      <a:pt x="49596" y="405130"/>
                      <a:pt x="51316" y="402067"/>
                      <a:pt x="52990" y="398553"/>
                    </a:cubicBezTo>
                    <a:cubicBezTo>
                      <a:pt x="56123" y="391705"/>
                      <a:pt x="57042" y="384050"/>
                      <a:pt x="55620" y="376655"/>
                    </a:cubicBezTo>
                    <a:cubicBezTo>
                      <a:pt x="53334" y="364653"/>
                      <a:pt x="41862" y="358807"/>
                      <a:pt x="33487" y="354533"/>
                    </a:cubicBezTo>
                    <a:cubicBezTo>
                      <a:pt x="30649" y="353190"/>
                      <a:pt x="27928" y="351614"/>
                      <a:pt x="25351" y="349821"/>
                    </a:cubicBezTo>
                    <a:cubicBezTo>
                      <a:pt x="23317" y="348408"/>
                      <a:pt x="21390" y="346847"/>
                      <a:pt x="19587" y="345150"/>
                    </a:cubicBezTo>
                    <a:cubicBezTo>
                      <a:pt x="19615" y="343678"/>
                      <a:pt x="21145" y="340098"/>
                      <a:pt x="28678" y="330905"/>
                    </a:cubicBezTo>
                    <a:cubicBezTo>
                      <a:pt x="46175" y="308352"/>
                      <a:pt x="61172" y="283968"/>
                      <a:pt x="73411" y="258181"/>
                    </a:cubicBezTo>
                    <a:cubicBezTo>
                      <a:pt x="75767" y="254141"/>
                      <a:pt x="77084" y="249580"/>
                      <a:pt x="77245" y="244906"/>
                    </a:cubicBezTo>
                    <a:cubicBezTo>
                      <a:pt x="76249" y="235044"/>
                      <a:pt x="71015" y="226102"/>
                      <a:pt x="62904" y="220404"/>
                    </a:cubicBezTo>
                    <a:cubicBezTo>
                      <a:pt x="58947" y="216781"/>
                      <a:pt x="55209" y="213358"/>
                      <a:pt x="54788" y="210357"/>
                    </a:cubicBezTo>
                    <a:cubicBezTo>
                      <a:pt x="54825" y="207979"/>
                      <a:pt x="55359" y="205634"/>
                      <a:pt x="56356" y="203473"/>
                    </a:cubicBezTo>
                    <a:cubicBezTo>
                      <a:pt x="57962" y="199205"/>
                      <a:pt x="59846" y="195028"/>
                      <a:pt x="61710" y="190845"/>
                    </a:cubicBezTo>
                    <a:cubicBezTo>
                      <a:pt x="65702" y="182625"/>
                      <a:pt x="68883" y="174034"/>
                      <a:pt x="71203" y="165194"/>
                    </a:cubicBezTo>
                    <a:lnTo>
                      <a:pt x="72035" y="161624"/>
                    </a:lnTo>
                    <a:cubicBezTo>
                      <a:pt x="74117" y="151627"/>
                      <a:pt x="76837" y="141775"/>
                      <a:pt x="80180" y="132126"/>
                    </a:cubicBezTo>
                    <a:cubicBezTo>
                      <a:pt x="87861" y="110824"/>
                      <a:pt x="99809" y="91315"/>
                      <a:pt x="115294" y="74794"/>
                    </a:cubicBezTo>
                    <a:cubicBezTo>
                      <a:pt x="134261" y="54775"/>
                      <a:pt x="162961" y="41123"/>
                      <a:pt x="203028" y="33059"/>
                    </a:cubicBezTo>
                    <a:cubicBezTo>
                      <a:pt x="233280" y="26449"/>
                      <a:pt x="263973" y="22046"/>
                      <a:pt x="294862" y="19886"/>
                    </a:cubicBezTo>
                    <a:cubicBezTo>
                      <a:pt x="350273" y="17099"/>
                      <a:pt x="397806" y="33734"/>
                      <a:pt x="449059" y="73944"/>
                    </a:cubicBezTo>
                    <a:cubicBezTo>
                      <a:pt x="473961" y="92313"/>
                      <a:pt x="492145" y="118349"/>
                      <a:pt x="500818" y="148054"/>
                    </a:cubicBezTo>
                    <a:cubicBezTo>
                      <a:pt x="507669" y="173301"/>
                      <a:pt x="510866" y="199400"/>
                      <a:pt x="510305" y="225554"/>
                    </a:cubicBezTo>
                    <a:close/>
                  </a:path>
                </a:pathLst>
              </a:custGeom>
              <a:grpFill/>
              <a:ln w="1135" cap="flat">
                <a:noFill/>
                <a:prstDash val="solid"/>
                <a:miter/>
              </a:ln>
            </p:spPr>
            <p:txBody>
              <a:bodyPr/>
              <a:lstStyle/>
              <a:p>
                <a:endParaRPr lang="en-IN"/>
              </a:p>
            </p:txBody>
          </p:sp>
          <p:sp>
            <p:nvSpPr>
              <p:cNvPr id="188" name="Freeform: Shape 187">
                <a:extLst>
                  <a:ext uri="{FF2B5EF4-FFF2-40B4-BE49-F238E27FC236}">
                    <a16:creationId xmlns:a16="http://schemas.microsoft.com/office/drawing/2014/main" id="{DAB65A3A-8690-C004-F6A5-0FABC4280970}"/>
                  </a:ext>
                </a:extLst>
              </p:cNvPr>
              <p:cNvSpPr/>
              <p:nvPr/>
            </p:nvSpPr>
            <p:spPr>
              <a:xfrm>
                <a:off x="991916" y="990355"/>
                <a:ext cx="283898" cy="283887"/>
              </a:xfrm>
              <a:custGeom>
                <a:avLst/>
                <a:gdLst>
                  <a:gd name="csX0" fmla="*/ 272101 w 283898"/>
                  <a:gd name="csY0" fmla="*/ 109360 h 283887"/>
                  <a:gd name="csX1" fmla="*/ 251804 w 283898"/>
                  <a:gd name="csY1" fmla="*/ 109360 h 283887"/>
                  <a:gd name="csX2" fmla="*/ 242655 w 283898"/>
                  <a:gd name="csY2" fmla="*/ 87295 h 283887"/>
                  <a:gd name="csX3" fmla="*/ 257015 w 283898"/>
                  <a:gd name="csY3" fmla="*/ 72936 h 283887"/>
                  <a:gd name="csX4" fmla="*/ 258124 w 283898"/>
                  <a:gd name="csY4" fmla="*/ 60411 h 283887"/>
                  <a:gd name="csX5" fmla="*/ 223478 w 283898"/>
                  <a:gd name="csY5" fmla="*/ 25765 h 283887"/>
                  <a:gd name="csX6" fmla="*/ 210954 w 283898"/>
                  <a:gd name="csY6" fmla="*/ 26869 h 283887"/>
                  <a:gd name="csX7" fmla="*/ 196594 w 283898"/>
                  <a:gd name="csY7" fmla="*/ 41229 h 283887"/>
                  <a:gd name="csX8" fmla="*/ 174520 w 283898"/>
                  <a:gd name="csY8" fmla="*/ 32080 h 283887"/>
                  <a:gd name="csX9" fmla="*/ 174520 w 283898"/>
                  <a:gd name="csY9" fmla="*/ 11780 h 283887"/>
                  <a:gd name="csX10" fmla="*/ 166451 w 283898"/>
                  <a:gd name="csY10" fmla="*/ 2143 h 283887"/>
                  <a:gd name="csX11" fmla="*/ 117445 w 283898"/>
                  <a:gd name="csY11" fmla="*/ 2143 h 283887"/>
                  <a:gd name="csX12" fmla="*/ 109377 w 283898"/>
                  <a:gd name="csY12" fmla="*/ 11780 h 283887"/>
                  <a:gd name="csX13" fmla="*/ 109377 w 283898"/>
                  <a:gd name="csY13" fmla="*/ 32081 h 283887"/>
                  <a:gd name="csX14" fmla="*/ 87302 w 283898"/>
                  <a:gd name="csY14" fmla="*/ 41230 h 283887"/>
                  <a:gd name="csX15" fmla="*/ 72943 w 283898"/>
                  <a:gd name="csY15" fmla="*/ 26870 h 283887"/>
                  <a:gd name="csX16" fmla="*/ 60418 w 283898"/>
                  <a:gd name="csY16" fmla="*/ 25767 h 283887"/>
                  <a:gd name="csX17" fmla="*/ 25773 w 283898"/>
                  <a:gd name="csY17" fmla="*/ 60413 h 283887"/>
                  <a:gd name="csX18" fmla="*/ 26882 w 283898"/>
                  <a:gd name="csY18" fmla="*/ 72937 h 283887"/>
                  <a:gd name="csX19" fmla="*/ 41242 w 283898"/>
                  <a:gd name="csY19" fmla="*/ 87296 h 283887"/>
                  <a:gd name="csX20" fmla="*/ 32093 w 283898"/>
                  <a:gd name="csY20" fmla="*/ 109361 h 283887"/>
                  <a:gd name="csX21" fmla="*/ 11797 w 283898"/>
                  <a:gd name="csY21" fmla="*/ 109361 h 283887"/>
                  <a:gd name="csX22" fmla="*/ 2160 w 283898"/>
                  <a:gd name="csY22" fmla="*/ 117429 h 283887"/>
                  <a:gd name="csX23" fmla="*/ 2160 w 283898"/>
                  <a:gd name="csY23" fmla="*/ 166444 h 283887"/>
                  <a:gd name="csX24" fmla="*/ 11797 w 283898"/>
                  <a:gd name="csY24" fmla="*/ 174512 h 283887"/>
                  <a:gd name="csX25" fmla="*/ 32094 w 283898"/>
                  <a:gd name="csY25" fmla="*/ 174512 h 283887"/>
                  <a:gd name="csX26" fmla="*/ 41243 w 283898"/>
                  <a:gd name="csY26" fmla="*/ 196577 h 283887"/>
                  <a:gd name="csX27" fmla="*/ 26883 w 283898"/>
                  <a:gd name="csY27" fmla="*/ 210937 h 283887"/>
                  <a:gd name="csX28" fmla="*/ 25774 w 283898"/>
                  <a:gd name="csY28" fmla="*/ 223461 h 283887"/>
                  <a:gd name="csX29" fmla="*/ 60420 w 283898"/>
                  <a:gd name="csY29" fmla="*/ 258107 h 283887"/>
                  <a:gd name="csX30" fmla="*/ 72944 w 283898"/>
                  <a:gd name="csY30" fmla="*/ 257003 h 283887"/>
                  <a:gd name="csX31" fmla="*/ 87303 w 283898"/>
                  <a:gd name="csY31" fmla="*/ 242643 h 283887"/>
                  <a:gd name="csX32" fmla="*/ 109378 w 283898"/>
                  <a:gd name="csY32" fmla="*/ 251792 h 283887"/>
                  <a:gd name="csX33" fmla="*/ 109378 w 283898"/>
                  <a:gd name="csY33" fmla="*/ 272094 h 283887"/>
                  <a:gd name="csX34" fmla="*/ 117447 w 283898"/>
                  <a:gd name="csY34" fmla="*/ 281730 h 283887"/>
                  <a:gd name="csX35" fmla="*/ 166452 w 283898"/>
                  <a:gd name="csY35" fmla="*/ 281730 h 283887"/>
                  <a:gd name="csX36" fmla="*/ 174521 w 283898"/>
                  <a:gd name="csY36" fmla="*/ 272094 h 283887"/>
                  <a:gd name="csX37" fmla="*/ 174521 w 283898"/>
                  <a:gd name="csY37" fmla="*/ 251792 h 283887"/>
                  <a:gd name="csX38" fmla="*/ 196595 w 283898"/>
                  <a:gd name="csY38" fmla="*/ 242643 h 283887"/>
                  <a:gd name="csX39" fmla="*/ 210955 w 283898"/>
                  <a:gd name="csY39" fmla="*/ 257003 h 283887"/>
                  <a:gd name="csX40" fmla="*/ 223479 w 283898"/>
                  <a:gd name="csY40" fmla="*/ 258107 h 283887"/>
                  <a:gd name="csX41" fmla="*/ 258125 w 283898"/>
                  <a:gd name="csY41" fmla="*/ 223461 h 283887"/>
                  <a:gd name="csX42" fmla="*/ 257016 w 283898"/>
                  <a:gd name="csY42" fmla="*/ 210937 h 283887"/>
                  <a:gd name="csX43" fmla="*/ 242656 w 283898"/>
                  <a:gd name="csY43" fmla="*/ 196577 h 283887"/>
                  <a:gd name="csX44" fmla="*/ 251805 w 283898"/>
                  <a:gd name="csY44" fmla="*/ 174512 h 283887"/>
                  <a:gd name="csX45" fmla="*/ 272102 w 283898"/>
                  <a:gd name="csY45" fmla="*/ 174512 h 283887"/>
                  <a:gd name="csX46" fmla="*/ 281738 w 283898"/>
                  <a:gd name="csY46" fmla="*/ 166444 h 283887"/>
                  <a:gd name="csX47" fmla="*/ 281738 w 283898"/>
                  <a:gd name="csY47" fmla="*/ 117429 h 283887"/>
                  <a:gd name="csX48" fmla="*/ 272101 w 283898"/>
                  <a:gd name="csY48" fmla="*/ 109360 h 283887"/>
                  <a:gd name="csX49" fmla="*/ 263622 w 283898"/>
                  <a:gd name="csY49" fmla="*/ 154934 h 283887"/>
                  <a:gd name="csX50" fmla="*/ 244213 w 283898"/>
                  <a:gd name="csY50" fmla="*/ 154934 h 283887"/>
                  <a:gd name="csX51" fmla="*/ 234653 w 283898"/>
                  <a:gd name="csY51" fmla="*/ 162620 h 283887"/>
                  <a:gd name="csX52" fmla="*/ 222129 w 283898"/>
                  <a:gd name="csY52" fmla="*/ 192836 h 283887"/>
                  <a:gd name="csX53" fmla="*/ 223439 w 283898"/>
                  <a:gd name="csY53" fmla="*/ 205049 h 283887"/>
                  <a:gd name="csX54" fmla="*/ 237177 w 283898"/>
                  <a:gd name="csY54" fmla="*/ 218787 h 283887"/>
                  <a:gd name="csX55" fmla="*/ 218802 w 283898"/>
                  <a:gd name="csY55" fmla="*/ 237162 h 283887"/>
                  <a:gd name="csX56" fmla="*/ 205064 w 283898"/>
                  <a:gd name="csY56" fmla="*/ 223429 h 283887"/>
                  <a:gd name="csX57" fmla="*/ 192855 w 283898"/>
                  <a:gd name="csY57" fmla="*/ 222109 h 283887"/>
                  <a:gd name="csX58" fmla="*/ 162626 w 283898"/>
                  <a:gd name="csY58" fmla="*/ 234643 h 283887"/>
                  <a:gd name="csX59" fmla="*/ 154940 w 283898"/>
                  <a:gd name="csY59" fmla="*/ 244202 h 283887"/>
                  <a:gd name="csX60" fmla="*/ 154940 w 283898"/>
                  <a:gd name="csY60" fmla="*/ 263610 h 283887"/>
                  <a:gd name="csX61" fmla="*/ 128955 w 283898"/>
                  <a:gd name="csY61" fmla="*/ 263610 h 283887"/>
                  <a:gd name="csX62" fmla="*/ 128955 w 283898"/>
                  <a:gd name="csY62" fmla="*/ 244202 h 283887"/>
                  <a:gd name="csX63" fmla="*/ 121269 w 283898"/>
                  <a:gd name="csY63" fmla="*/ 234643 h 283887"/>
                  <a:gd name="csX64" fmla="*/ 91040 w 283898"/>
                  <a:gd name="csY64" fmla="*/ 222109 h 283887"/>
                  <a:gd name="csX65" fmla="*/ 78831 w 283898"/>
                  <a:gd name="csY65" fmla="*/ 223429 h 283887"/>
                  <a:gd name="csX66" fmla="*/ 65093 w 283898"/>
                  <a:gd name="csY66" fmla="*/ 237162 h 283887"/>
                  <a:gd name="csX67" fmla="*/ 46718 w 283898"/>
                  <a:gd name="csY67" fmla="*/ 218787 h 283887"/>
                  <a:gd name="csX68" fmla="*/ 60456 w 283898"/>
                  <a:gd name="csY68" fmla="*/ 205049 h 283887"/>
                  <a:gd name="csX69" fmla="*/ 61766 w 283898"/>
                  <a:gd name="csY69" fmla="*/ 192836 h 283887"/>
                  <a:gd name="csX70" fmla="*/ 49242 w 283898"/>
                  <a:gd name="csY70" fmla="*/ 162620 h 283887"/>
                  <a:gd name="csX71" fmla="*/ 39683 w 283898"/>
                  <a:gd name="csY71" fmla="*/ 154934 h 283887"/>
                  <a:gd name="csX72" fmla="*/ 20276 w 283898"/>
                  <a:gd name="csY72" fmla="*/ 154934 h 283887"/>
                  <a:gd name="csX73" fmla="*/ 20276 w 283898"/>
                  <a:gd name="csY73" fmla="*/ 128940 h 283887"/>
                  <a:gd name="csX74" fmla="*/ 20276 w 283898"/>
                  <a:gd name="csY74" fmla="*/ 128940 h 283887"/>
                  <a:gd name="csX75" fmla="*/ 39684 w 283898"/>
                  <a:gd name="csY75" fmla="*/ 128940 h 283887"/>
                  <a:gd name="csX76" fmla="*/ 49243 w 283898"/>
                  <a:gd name="csY76" fmla="*/ 121254 h 283887"/>
                  <a:gd name="csX77" fmla="*/ 61768 w 283898"/>
                  <a:gd name="csY77" fmla="*/ 91039 h 283887"/>
                  <a:gd name="csX78" fmla="*/ 60457 w 283898"/>
                  <a:gd name="csY78" fmla="*/ 78825 h 283887"/>
                  <a:gd name="csX79" fmla="*/ 46720 w 283898"/>
                  <a:gd name="csY79" fmla="*/ 65087 h 283887"/>
                  <a:gd name="csX80" fmla="*/ 65095 w 283898"/>
                  <a:gd name="csY80" fmla="*/ 46713 h 283887"/>
                  <a:gd name="csX81" fmla="*/ 78832 w 283898"/>
                  <a:gd name="csY81" fmla="*/ 60446 h 283887"/>
                  <a:gd name="csX82" fmla="*/ 91041 w 283898"/>
                  <a:gd name="csY82" fmla="*/ 61765 h 283887"/>
                  <a:gd name="csX83" fmla="*/ 121270 w 283898"/>
                  <a:gd name="csY83" fmla="*/ 49232 h 283887"/>
                  <a:gd name="csX84" fmla="*/ 128957 w 283898"/>
                  <a:gd name="csY84" fmla="*/ 39672 h 283887"/>
                  <a:gd name="csX85" fmla="*/ 128957 w 283898"/>
                  <a:gd name="csY85" fmla="*/ 20265 h 283887"/>
                  <a:gd name="csX86" fmla="*/ 154941 w 283898"/>
                  <a:gd name="csY86" fmla="*/ 20265 h 283887"/>
                  <a:gd name="csX87" fmla="*/ 154941 w 283898"/>
                  <a:gd name="csY87" fmla="*/ 39672 h 283887"/>
                  <a:gd name="csX88" fmla="*/ 162627 w 283898"/>
                  <a:gd name="csY88" fmla="*/ 49232 h 283887"/>
                  <a:gd name="csX89" fmla="*/ 192857 w 283898"/>
                  <a:gd name="csY89" fmla="*/ 61765 h 283887"/>
                  <a:gd name="csX90" fmla="*/ 205065 w 283898"/>
                  <a:gd name="csY90" fmla="*/ 60446 h 283887"/>
                  <a:gd name="csX91" fmla="*/ 218803 w 283898"/>
                  <a:gd name="csY91" fmla="*/ 46713 h 283887"/>
                  <a:gd name="csX92" fmla="*/ 237178 w 283898"/>
                  <a:gd name="csY92" fmla="*/ 65087 h 283887"/>
                  <a:gd name="csX93" fmla="*/ 223440 w 283898"/>
                  <a:gd name="csY93" fmla="*/ 78825 h 283887"/>
                  <a:gd name="csX94" fmla="*/ 222130 w 283898"/>
                  <a:gd name="csY94" fmla="*/ 91039 h 283887"/>
                  <a:gd name="csX95" fmla="*/ 234654 w 283898"/>
                  <a:gd name="csY95" fmla="*/ 121254 h 283887"/>
                  <a:gd name="csX96" fmla="*/ 244214 w 283898"/>
                  <a:gd name="csY96" fmla="*/ 128940 h 283887"/>
                  <a:gd name="csX97" fmla="*/ 263622 w 283898"/>
                  <a:gd name="csY97" fmla="*/ 128940 h 283887"/>
                  <a:gd name="csX98" fmla="*/ 263622 w 283898"/>
                  <a:gd name="csY98" fmla="*/ 154934 h 28388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Lst>
                <a:rect l="l" t="t" r="r" b="b"/>
                <a:pathLst>
                  <a:path w="283898" h="283887">
                    <a:moveTo>
                      <a:pt x="272101" y="109360"/>
                    </a:moveTo>
                    <a:lnTo>
                      <a:pt x="251804" y="109360"/>
                    </a:lnTo>
                    <a:cubicBezTo>
                      <a:pt x="249550" y="101700"/>
                      <a:pt x="246482" y="94303"/>
                      <a:pt x="242655" y="87295"/>
                    </a:cubicBezTo>
                    <a:lnTo>
                      <a:pt x="257015" y="72936"/>
                    </a:lnTo>
                    <a:cubicBezTo>
                      <a:pt x="260370" y="69581"/>
                      <a:pt x="260838" y="64304"/>
                      <a:pt x="258124" y="60411"/>
                    </a:cubicBezTo>
                    <a:cubicBezTo>
                      <a:pt x="248712" y="46908"/>
                      <a:pt x="236982" y="35178"/>
                      <a:pt x="223478" y="25765"/>
                    </a:cubicBezTo>
                    <a:cubicBezTo>
                      <a:pt x="219590" y="23042"/>
                      <a:pt x="214306" y="23508"/>
                      <a:pt x="210954" y="26869"/>
                    </a:cubicBezTo>
                    <a:lnTo>
                      <a:pt x="196594" y="41229"/>
                    </a:lnTo>
                    <a:cubicBezTo>
                      <a:pt x="189584" y="37401"/>
                      <a:pt x="182183" y="34333"/>
                      <a:pt x="174520" y="32080"/>
                    </a:cubicBezTo>
                    <a:lnTo>
                      <a:pt x="174520" y="11780"/>
                    </a:lnTo>
                    <a:cubicBezTo>
                      <a:pt x="174517" y="7038"/>
                      <a:pt x="171118" y="2979"/>
                      <a:pt x="166451" y="2143"/>
                    </a:cubicBezTo>
                    <a:cubicBezTo>
                      <a:pt x="150241" y="-716"/>
                      <a:pt x="133656" y="-716"/>
                      <a:pt x="117445" y="2143"/>
                    </a:cubicBezTo>
                    <a:cubicBezTo>
                      <a:pt x="112777" y="2979"/>
                      <a:pt x="109379" y="7038"/>
                      <a:pt x="109377" y="11780"/>
                    </a:cubicBezTo>
                    <a:lnTo>
                      <a:pt x="109377" y="32081"/>
                    </a:lnTo>
                    <a:cubicBezTo>
                      <a:pt x="101714" y="34334"/>
                      <a:pt x="94313" y="37402"/>
                      <a:pt x="87302" y="41230"/>
                    </a:cubicBezTo>
                    <a:lnTo>
                      <a:pt x="72943" y="26870"/>
                    </a:lnTo>
                    <a:cubicBezTo>
                      <a:pt x="69590" y="23509"/>
                      <a:pt x="64308" y="23043"/>
                      <a:pt x="60418" y="25767"/>
                    </a:cubicBezTo>
                    <a:cubicBezTo>
                      <a:pt x="46915" y="35178"/>
                      <a:pt x="35184" y="46909"/>
                      <a:pt x="25773" y="60413"/>
                    </a:cubicBezTo>
                    <a:cubicBezTo>
                      <a:pt x="23058" y="64304"/>
                      <a:pt x="23525" y="69582"/>
                      <a:pt x="26882" y="72937"/>
                    </a:cubicBezTo>
                    <a:lnTo>
                      <a:pt x="41242" y="87296"/>
                    </a:lnTo>
                    <a:cubicBezTo>
                      <a:pt x="37414" y="94304"/>
                      <a:pt x="34347" y="101701"/>
                      <a:pt x="32093" y="109361"/>
                    </a:cubicBezTo>
                    <a:lnTo>
                      <a:pt x="11797" y="109361"/>
                    </a:lnTo>
                    <a:cubicBezTo>
                      <a:pt x="7055" y="109360"/>
                      <a:pt x="2993" y="112760"/>
                      <a:pt x="2160" y="117429"/>
                    </a:cubicBezTo>
                    <a:cubicBezTo>
                      <a:pt x="-720" y="133641"/>
                      <a:pt x="-720" y="150233"/>
                      <a:pt x="2160" y="166444"/>
                    </a:cubicBezTo>
                    <a:cubicBezTo>
                      <a:pt x="2993" y="171113"/>
                      <a:pt x="7055" y="174514"/>
                      <a:pt x="11797" y="174512"/>
                    </a:cubicBezTo>
                    <a:lnTo>
                      <a:pt x="32094" y="174512"/>
                    </a:lnTo>
                    <a:cubicBezTo>
                      <a:pt x="34348" y="182172"/>
                      <a:pt x="37416" y="189570"/>
                      <a:pt x="41243" y="196577"/>
                    </a:cubicBezTo>
                    <a:lnTo>
                      <a:pt x="26883" y="210937"/>
                    </a:lnTo>
                    <a:cubicBezTo>
                      <a:pt x="23527" y="214291"/>
                      <a:pt x="23059" y="219568"/>
                      <a:pt x="25774" y="223461"/>
                    </a:cubicBezTo>
                    <a:cubicBezTo>
                      <a:pt x="35185" y="236965"/>
                      <a:pt x="46916" y="248695"/>
                      <a:pt x="60420" y="258107"/>
                    </a:cubicBezTo>
                    <a:cubicBezTo>
                      <a:pt x="64312" y="260816"/>
                      <a:pt x="69586" y="260352"/>
                      <a:pt x="72944" y="257003"/>
                    </a:cubicBezTo>
                    <a:lnTo>
                      <a:pt x="87303" y="242643"/>
                    </a:lnTo>
                    <a:cubicBezTo>
                      <a:pt x="94314" y="246472"/>
                      <a:pt x="101715" y="249539"/>
                      <a:pt x="109378" y="251792"/>
                    </a:cubicBezTo>
                    <a:lnTo>
                      <a:pt x="109378" y="272094"/>
                    </a:lnTo>
                    <a:cubicBezTo>
                      <a:pt x="109381" y="276835"/>
                      <a:pt x="112780" y="280894"/>
                      <a:pt x="117447" y="281730"/>
                    </a:cubicBezTo>
                    <a:cubicBezTo>
                      <a:pt x="133656" y="284605"/>
                      <a:pt x="150243" y="284605"/>
                      <a:pt x="166452" y="281730"/>
                    </a:cubicBezTo>
                    <a:cubicBezTo>
                      <a:pt x="171120" y="280894"/>
                      <a:pt x="174518" y="276835"/>
                      <a:pt x="174521" y="272094"/>
                    </a:cubicBezTo>
                    <a:lnTo>
                      <a:pt x="174521" y="251792"/>
                    </a:lnTo>
                    <a:cubicBezTo>
                      <a:pt x="182184" y="249539"/>
                      <a:pt x="189585" y="246472"/>
                      <a:pt x="196595" y="242643"/>
                    </a:cubicBezTo>
                    <a:lnTo>
                      <a:pt x="210955" y="257003"/>
                    </a:lnTo>
                    <a:cubicBezTo>
                      <a:pt x="214312" y="260353"/>
                      <a:pt x="219587" y="260819"/>
                      <a:pt x="223479" y="258107"/>
                    </a:cubicBezTo>
                    <a:cubicBezTo>
                      <a:pt x="236983" y="248695"/>
                      <a:pt x="248713" y="236965"/>
                      <a:pt x="258125" y="223461"/>
                    </a:cubicBezTo>
                    <a:cubicBezTo>
                      <a:pt x="260840" y="219569"/>
                      <a:pt x="260373" y="214291"/>
                      <a:pt x="257016" y="210937"/>
                    </a:cubicBezTo>
                    <a:lnTo>
                      <a:pt x="242656" y="196577"/>
                    </a:lnTo>
                    <a:cubicBezTo>
                      <a:pt x="246483" y="189569"/>
                      <a:pt x="249551" y="182172"/>
                      <a:pt x="251805" y="174512"/>
                    </a:cubicBezTo>
                    <a:lnTo>
                      <a:pt x="272102" y="174512"/>
                    </a:lnTo>
                    <a:cubicBezTo>
                      <a:pt x="276844" y="174514"/>
                      <a:pt x="280906" y="171113"/>
                      <a:pt x="281738" y="166444"/>
                    </a:cubicBezTo>
                    <a:cubicBezTo>
                      <a:pt x="284619" y="150233"/>
                      <a:pt x="284619" y="133641"/>
                      <a:pt x="281738" y="117429"/>
                    </a:cubicBezTo>
                    <a:cubicBezTo>
                      <a:pt x="280904" y="112760"/>
                      <a:pt x="276843" y="109360"/>
                      <a:pt x="272101" y="109360"/>
                    </a:cubicBezTo>
                    <a:close/>
                    <a:moveTo>
                      <a:pt x="263622" y="154934"/>
                    </a:moveTo>
                    <a:lnTo>
                      <a:pt x="244213" y="154934"/>
                    </a:lnTo>
                    <a:cubicBezTo>
                      <a:pt x="239616" y="154933"/>
                      <a:pt x="235639" y="158131"/>
                      <a:pt x="234653" y="162620"/>
                    </a:cubicBezTo>
                    <a:cubicBezTo>
                      <a:pt x="232306" y="173356"/>
                      <a:pt x="228065" y="183587"/>
                      <a:pt x="222129" y="192836"/>
                    </a:cubicBezTo>
                    <a:cubicBezTo>
                      <a:pt x="219634" y="196707"/>
                      <a:pt x="220179" y="201796"/>
                      <a:pt x="223439" y="205049"/>
                    </a:cubicBezTo>
                    <a:lnTo>
                      <a:pt x="237177" y="218787"/>
                    </a:lnTo>
                    <a:cubicBezTo>
                      <a:pt x="231735" y="225559"/>
                      <a:pt x="225573" y="231720"/>
                      <a:pt x="218802" y="237162"/>
                    </a:cubicBezTo>
                    <a:lnTo>
                      <a:pt x="205064" y="223429"/>
                    </a:lnTo>
                    <a:cubicBezTo>
                      <a:pt x="201811" y="220174"/>
                      <a:pt x="196730" y="219624"/>
                      <a:pt x="192855" y="222109"/>
                    </a:cubicBezTo>
                    <a:cubicBezTo>
                      <a:pt x="183604" y="228052"/>
                      <a:pt x="173368" y="232296"/>
                      <a:pt x="162626" y="234643"/>
                    </a:cubicBezTo>
                    <a:cubicBezTo>
                      <a:pt x="158137" y="235630"/>
                      <a:pt x="154940" y="239607"/>
                      <a:pt x="154940" y="244202"/>
                    </a:cubicBezTo>
                    <a:lnTo>
                      <a:pt x="154940" y="263610"/>
                    </a:lnTo>
                    <a:cubicBezTo>
                      <a:pt x="146304" y="264537"/>
                      <a:pt x="137592" y="264537"/>
                      <a:pt x="128955" y="263610"/>
                    </a:cubicBezTo>
                    <a:lnTo>
                      <a:pt x="128955" y="244202"/>
                    </a:lnTo>
                    <a:cubicBezTo>
                      <a:pt x="128955" y="239607"/>
                      <a:pt x="125758" y="235629"/>
                      <a:pt x="121269" y="234643"/>
                    </a:cubicBezTo>
                    <a:cubicBezTo>
                      <a:pt x="110528" y="232296"/>
                      <a:pt x="100291" y="228052"/>
                      <a:pt x="91040" y="222109"/>
                    </a:cubicBezTo>
                    <a:cubicBezTo>
                      <a:pt x="87169" y="219614"/>
                      <a:pt x="82080" y="220165"/>
                      <a:pt x="78831" y="223429"/>
                    </a:cubicBezTo>
                    <a:lnTo>
                      <a:pt x="65093" y="237162"/>
                    </a:lnTo>
                    <a:cubicBezTo>
                      <a:pt x="58321" y="231720"/>
                      <a:pt x="52161" y="225558"/>
                      <a:pt x="46718" y="218787"/>
                    </a:cubicBezTo>
                    <a:lnTo>
                      <a:pt x="60456" y="205049"/>
                    </a:lnTo>
                    <a:cubicBezTo>
                      <a:pt x="63716" y="201796"/>
                      <a:pt x="64262" y="196708"/>
                      <a:pt x="61766" y="192836"/>
                    </a:cubicBezTo>
                    <a:cubicBezTo>
                      <a:pt x="55831" y="183588"/>
                      <a:pt x="51589" y="173356"/>
                      <a:pt x="49242" y="162620"/>
                    </a:cubicBezTo>
                    <a:cubicBezTo>
                      <a:pt x="48257" y="158131"/>
                      <a:pt x="44278" y="154933"/>
                      <a:pt x="39683" y="154934"/>
                    </a:cubicBezTo>
                    <a:lnTo>
                      <a:pt x="20276" y="154934"/>
                    </a:lnTo>
                    <a:cubicBezTo>
                      <a:pt x="19346" y="146294"/>
                      <a:pt x="19346" y="137580"/>
                      <a:pt x="20276" y="128940"/>
                    </a:cubicBezTo>
                    <a:lnTo>
                      <a:pt x="20276" y="128940"/>
                    </a:lnTo>
                    <a:lnTo>
                      <a:pt x="39684" y="128940"/>
                    </a:lnTo>
                    <a:cubicBezTo>
                      <a:pt x="44281" y="128942"/>
                      <a:pt x="48258" y="125743"/>
                      <a:pt x="49243" y="121254"/>
                    </a:cubicBezTo>
                    <a:cubicBezTo>
                      <a:pt x="51591" y="110518"/>
                      <a:pt x="55832" y="100288"/>
                      <a:pt x="61768" y="91039"/>
                    </a:cubicBezTo>
                    <a:cubicBezTo>
                      <a:pt x="64263" y="87168"/>
                      <a:pt x="63718" y="82080"/>
                      <a:pt x="60457" y="78825"/>
                    </a:cubicBezTo>
                    <a:lnTo>
                      <a:pt x="46720" y="65087"/>
                    </a:lnTo>
                    <a:cubicBezTo>
                      <a:pt x="52162" y="58315"/>
                      <a:pt x="58324" y="52155"/>
                      <a:pt x="65095" y="46713"/>
                    </a:cubicBezTo>
                    <a:lnTo>
                      <a:pt x="78832" y="60446"/>
                    </a:lnTo>
                    <a:cubicBezTo>
                      <a:pt x="82081" y="63709"/>
                      <a:pt x="87169" y="64259"/>
                      <a:pt x="91041" y="61765"/>
                    </a:cubicBezTo>
                    <a:cubicBezTo>
                      <a:pt x="100292" y="55823"/>
                      <a:pt x="110529" y="51579"/>
                      <a:pt x="121270" y="49232"/>
                    </a:cubicBezTo>
                    <a:cubicBezTo>
                      <a:pt x="125759" y="48244"/>
                      <a:pt x="128957" y="44268"/>
                      <a:pt x="128957" y="39672"/>
                    </a:cubicBezTo>
                    <a:lnTo>
                      <a:pt x="128957" y="20265"/>
                    </a:lnTo>
                    <a:cubicBezTo>
                      <a:pt x="137593" y="19338"/>
                      <a:pt x="146305" y="19338"/>
                      <a:pt x="154941" y="20265"/>
                    </a:cubicBezTo>
                    <a:lnTo>
                      <a:pt x="154941" y="39672"/>
                    </a:lnTo>
                    <a:cubicBezTo>
                      <a:pt x="154941" y="44268"/>
                      <a:pt x="158138" y="48245"/>
                      <a:pt x="162627" y="49232"/>
                    </a:cubicBezTo>
                    <a:cubicBezTo>
                      <a:pt x="173369" y="51579"/>
                      <a:pt x="183605" y="55823"/>
                      <a:pt x="192857" y="61765"/>
                    </a:cubicBezTo>
                    <a:cubicBezTo>
                      <a:pt x="196731" y="64249"/>
                      <a:pt x="201811" y="63699"/>
                      <a:pt x="205065" y="60446"/>
                    </a:cubicBezTo>
                    <a:lnTo>
                      <a:pt x="218803" y="46713"/>
                    </a:lnTo>
                    <a:cubicBezTo>
                      <a:pt x="225575" y="52155"/>
                      <a:pt x="231736" y="58317"/>
                      <a:pt x="237178" y="65087"/>
                    </a:cubicBezTo>
                    <a:lnTo>
                      <a:pt x="223440" y="78825"/>
                    </a:lnTo>
                    <a:cubicBezTo>
                      <a:pt x="220181" y="82079"/>
                      <a:pt x="219635" y="87167"/>
                      <a:pt x="222130" y="91039"/>
                    </a:cubicBezTo>
                    <a:cubicBezTo>
                      <a:pt x="228066" y="100286"/>
                      <a:pt x="232307" y="110518"/>
                      <a:pt x="234654" y="121254"/>
                    </a:cubicBezTo>
                    <a:cubicBezTo>
                      <a:pt x="235640" y="125743"/>
                      <a:pt x="239618" y="128942"/>
                      <a:pt x="244214" y="128940"/>
                    </a:cubicBezTo>
                    <a:lnTo>
                      <a:pt x="263622" y="128940"/>
                    </a:lnTo>
                    <a:cubicBezTo>
                      <a:pt x="264552" y="137579"/>
                      <a:pt x="264552" y="146294"/>
                      <a:pt x="263622" y="154934"/>
                    </a:cubicBezTo>
                    <a:close/>
                  </a:path>
                </a:pathLst>
              </a:custGeom>
              <a:grpFill/>
              <a:ln w="1135" cap="flat">
                <a:noFill/>
                <a:prstDash val="solid"/>
                <a:miter/>
              </a:ln>
            </p:spPr>
            <p:txBody>
              <a:bodyPr/>
              <a:lstStyle/>
              <a:p>
                <a:endParaRPr lang="en-IN"/>
              </a:p>
            </p:txBody>
          </p:sp>
          <p:sp>
            <p:nvSpPr>
              <p:cNvPr id="189" name="Freeform: Shape 188">
                <a:extLst>
                  <a:ext uri="{FF2B5EF4-FFF2-40B4-BE49-F238E27FC236}">
                    <a16:creationId xmlns:a16="http://schemas.microsoft.com/office/drawing/2014/main" id="{13594F4C-697E-0B2C-4FF5-91F8DF6B85D9}"/>
                  </a:ext>
                </a:extLst>
              </p:cNvPr>
              <p:cNvSpPr/>
              <p:nvPr/>
            </p:nvSpPr>
            <p:spPr>
              <a:xfrm>
                <a:off x="894021" y="1176346"/>
                <a:ext cx="117473" cy="117474"/>
              </a:xfrm>
              <a:custGeom>
                <a:avLst/>
                <a:gdLst>
                  <a:gd name="csX0" fmla="*/ 107685 w 117473"/>
                  <a:gd name="csY0" fmla="*/ 48947 h 117474"/>
                  <a:gd name="csX1" fmla="*/ 96504 w 117473"/>
                  <a:gd name="csY1" fmla="*/ 48947 h 117474"/>
                  <a:gd name="csX2" fmla="*/ 92345 w 117473"/>
                  <a:gd name="csY2" fmla="*/ 38969 h 117474"/>
                  <a:gd name="csX3" fmla="*/ 100266 w 117473"/>
                  <a:gd name="csY3" fmla="*/ 31046 h 117474"/>
                  <a:gd name="csX4" fmla="*/ 100266 w 117473"/>
                  <a:gd name="csY4" fmla="*/ 17203 h 117474"/>
                  <a:gd name="csX5" fmla="*/ 86422 w 117473"/>
                  <a:gd name="csY5" fmla="*/ 17203 h 117474"/>
                  <a:gd name="csX6" fmla="*/ 78501 w 117473"/>
                  <a:gd name="csY6" fmla="*/ 25125 h 117474"/>
                  <a:gd name="csX7" fmla="*/ 68526 w 117473"/>
                  <a:gd name="csY7" fmla="*/ 20968 h 117474"/>
                  <a:gd name="csX8" fmla="*/ 68526 w 117473"/>
                  <a:gd name="csY8" fmla="*/ 9788 h 117474"/>
                  <a:gd name="csX9" fmla="*/ 58736 w 117473"/>
                  <a:gd name="csY9" fmla="*/ -1 h 117474"/>
                  <a:gd name="csX10" fmla="*/ 48947 w 117473"/>
                  <a:gd name="csY10" fmla="*/ 9788 h 117474"/>
                  <a:gd name="csX11" fmla="*/ 48947 w 117473"/>
                  <a:gd name="csY11" fmla="*/ 20968 h 117474"/>
                  <a:gd name="csX12" fmla="*/ 38972 w 117473"/>
                  <a:gd name="csY12" fmla="*/ 25125 h 117474"/>
                  <a:gd name="csX13" fmla="*/ 31052 w 117473"/>
                  <a:gd name="csY13" fmla="*/ 17203 h 117474"/>
                  <a:gd name="csX14" fmla="*/ 21596 w 117473"/>
                  <a:gd name="csY14" fmla="*/ 14670 h 117474"/>
                  <a:gd name="csX15" fmla="*/ 14675 w 117473"/>
                  <a:gd name="csY15" fmla="*/ 21591 h 117474"/>
                  <a:gd name="csX16" fmla="*/ 17208 w 117473"/>
                  <a:gd name="csY16" fmla="*/ 31046 h 117474"/>
                  <a:gd name="csX17" fmla="*/ 25129 w 117473"/>
                  <a:gd name="csY17" fmla="*/ 38969 h 117474"/>
                  <a:gd name="csX18" fmla="*/ 20970 w 117473"/>
                  <a:gd name="csY18" fmla="*/ 48947 h 117474"/>
                  <a:gd name="csX19" fmla="*/ 9789 w 117473"/>
                  <a:gd name="csY19" fmla="*/ 48947 h 117474"/>
                  <a:gd name="csX20" fmla="*/ 0 w 117473"/>
                  <a:gd name="csY20" fmla="*/ 58736 h 117474"/>
                  <a:gd name="csX21" fmla="*/ 9789 w 117473"/>
                  <a:gd name="csY21" fmla="*/ 68526 h 117474"/>
                  <a:gd name="csX22" fmla="*/ 20970 w 117473"/>
                  <a:gd name="csY22" fmla="*/ 68526 h 117474"/>
                  <a:gd name="csX23" fmla="*/ 25129 w 117473"/>
                  <a:gd name="csY23" fmla="*/ 78504 h 117474"/>
                  <a:gd name="csX24" fmla="*/ 17208 w 117473"/>
                  <a:gd name="csY24" fmla="*/ 86427 h 117474"/>
                  <a:gd name="csX25" fmla="*/ 14675 w 117473"/>
                  <a:gd name="csY25" fmla="*/ 95882 h 117474"/>
                  <a:gd name="csX26" fmla="*/ 21596 w 117473"/>
                  <a:gd name="csY26" fmla="*/ 102803 h 117474"/>
                  <a:gd name="csX27" fmla="*/ 31052 w 117473"/>
                  <a:gd name="csY27" fmla="*/ 100270 h 117474"/>
                  <a:gd name="csX28" fmla="*/ 38972 w 117473"/>
                  <a:gd name="csY28" fmla="*/ 92348 h 117474"/>
                  <a:gd name="csX29" fmla="*/ 48948 w 117473"/>
                  <a:gd name="csY29" fmla="*/ 96505 h 117474"/>
                  <a:gd name="csX30" fmla="*/ 48948 w 117473"/>
                  <a:gd name="csY30" fmla="*/ 107685 h 117474"/>
                  <a:gd name="csX31" fmla="*/ 58738 w 117473"/>
                  <a:gd name="csY31" fmla="*/ 117474 h 117474"/>
                  <a:gd name="csX32" fmla="*/ 68527 w 117473"/>
                  <a:gd name="csY32" fmla="*/ 107685 h 117474"/>
                  <a:gd name="csX33" fmla="*/ 68527 w 117473"/>
                  <a:gd name="csY33" fmla="*/ 96505 h 117474"/>
                  <a:gd name="csX34" fmla="*/ 78502 w 117473"/>
                  <a:gd name="csY34" fmla="*/ 92348 h 117474"/>
                  <a:gd name="csX35" fmla="*/ 86422 w 117473"/>
                  <a:gd name="csY35" fmla="*/ 100270 h 117474"/>
                  <a:gd name="csX36" fmla="*/ 100266 w 117473"/>
                  <a:gd name="csY36" fmla="*/ 100270 h 117474"/>
                  <a:gd name="csX37" fmla="*/ 100266 w 117473"/>
                  <a:gd name="csY37" fmla="*/ 86427 h 117474"/>
                  <a:gd name="csX38" fmla="*/ 92345 w 117473"/>
                  <a:gd name="csY38" fmla="*/ 78504 h 117474"/>
                  <a:gd name="csX39" fmla="*/ 96504 w 117473"/>
                  <a:gd name="csY39" fmla="*/ 68526 h 117474"/>
                  <a:gd name="csX40" fmla="*/ 107685 w 117473"/>
                  <a:gd name="csY40" fmla="*/ 68526 h 117474"/>
                  <a:gd name="csX41" fmla="*/ 117474 w 117473"/>
                  <a:gd name="csY41" fmla="*/ 58736 h 117474"/>
                  <a:gd name="csX42" fmla="*/ 107685 w 117473"/>
                  <a:gd name="csY42" fmla="*/ 48947 h 117474"/>
                  <a:gd name="csX43" fmla="*/ 58736 w 117473"/>
                  <a:gd name="csY43" fmla="*/ 78316 h 117474"/>
                  <a:gd name="csX44" fmla="*/ 39157 w 117473"/>
                  <a:gd name="csY44" fmla="*/ 58736 h 117474"/>
                  <a:gd name="csX45" fmla="*/ 58736 w 117473"/>
                  <a:gd name="csY45" fmla="*/ 39157 h 117474"/>
                  <a:gd name="csX46" fmla="*/ 78316 w 117473"/>
                  <a:gd name="csY46" fmla="*/ 58736 h 117474"/>
                  <a:gd name="csX47" fmla="*/ 58736 w 117473"/>
                  <a:gd name="csY47" fmla="*/ 78316 h 11747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Lst>
                <a:rect l="l" t="t" r="r" b="b"/>
                <a:pathLst>
                  <a:path w="117473" h="117474">
                    <a:moveTo>
                      <a:pt x="107685" y="48947"/>
                    </a:moveTo>
                    <a:lnTo>
                      <a:pt x="96504" y="48947"/>
                    </a:lnTo>
                    <a:cubicBezTo>
                      <a:pt x="95592" y="45443"/>
                      <a:pt x="94192" y="42083"/>
                      <a:pt x="92345" y="38969"/>
                    </a:cubicBezTo>
                    <a:lnTo>
                      <a:pt x="100266" y="31046"/>
                    </a:lnTo>
                    <a:cubicBezTo>
                      <a:pt x="104088" y="27224"/>
                      <a:pt x="104088" y="21026"/>
                      <a:pt x="100266" y="17203"/>
                    </a:cubicBezTo>
                    <a:cubicBezTo>
                      <a:pt x="96443" y="13380"/>
                      <a:pt x="90246" y="13380"/>
                      <a:pt x="86422" y="17203"/>
                    </a:cubicBezTo>
                    <a:lnTo>
                      <a:pt x="78501" y="25125"/>
                    </a:lnTo>
                    <a:cubicBezTo>
                      <a:pt x="75386" y="23281"/>
                      <a:pt x="72028" y="21881"/>
                      <a:pt x="68526" y="20968"/>
                    </a:cubicBezTo>
                    <a:lnTo>
                      <a:pt x="68526" y="9788"/>
                    </a:lnTo>
                    <a:cubicBezTo>
                      <a:pt x="68526" y="4381"/>
                      <a:pt x="64142" y="-1"/>
                      <a:pt x="58736" y="-1"/>
                    </a:cubicBezTo>
                    <a:cubicBezTo>
                      <a:pt x="53331" y="-1"/>
                      <a:pt x="48947" y="4383"/>
                      <a:pt x="48947" y="9788"/>
                    </a:cubicBezTo>
                    <a:lnTo>
                      <a:pt x="48947" y="20968"/>
                    </a:lnTo>
                    <a:cubicBezTo>
                      <a:pt x="45444" y="21881"/>
                      <a:pt x="42086" y="23281"/>
                      <a:pt x="38972" y="25125"/>
                    </a:cubicBezTo>
                    <a:lnTo>
                      <a:pt x="31052" y="17203"/>
                    </a:lnTo>
                    <a:cubicBezTo>
                      <a:pt x="28579" y="14729"/>
                      <a:pt x="24975" y="13764"/>
                      <a:pt x="21596" y="14670"/>
                    </a:cubicBezTo>
                    <a:cubicBezTo>
                      <a:pt x="18218" y="15575"/>
                      <a:pt x="15580" y="18213"/>
                      <a:pt x="14675" y="21591"/>
                    </a:cubicBezTo>
                    <a:cubicBezTo>
                      <a:pt x="13770" y="24968"/>
                      <a:pt x="14736" y="28573"/>
                      <a:pt x="17208" y="31046"/>
                    </a:cubicBezTo>
                    <a:lnTo>
                      <a:pt x="25129" y="38969"/>
                    </a:lnTo>
                    <a:cubicBezTo>
                      <a:pt x="23282" y="42083"/>
                      <a:pt x="21882" y="45443"/>
                      <a:pt x="20970" y="48947"/>
                    </a:cubicBezTo>
                    <a:lnTo>
                      <a:pt x="9789" y="48947"/>
                    </a:lnTo>
                    <a:cubicBezTo>
                      <a:pt x="4382" y="48947"/>
                      <a:pt x="0" y="53330"/>
                      <a:pt x="0" y="58736"/>
                    </a:cubicBezTo>
                    <a:cubicBezTo>
                      <a:pt x="0" y="64143"/>
                      <a:pt x="4382" y="68526"/>
                      <a:pt x="9789" y="68526"/>
                    </a:cubicBezTo>
                    <a:lnTo>
                      <a:pt x="20970" y="68526"/>
                    </a:lnTo>
                    <a:cubicBezTo>
                      <a:pt x="21882" y="72030"/>
                      <a:pt x="23282" y="75390"/>
                      <a:pt x="25129" y="78504"/>
                    </a:cubicBezTo>
                    <a:lnTo>
                      <a:pt x="17208" y="86427"/>
                    </a:lnTo>
                    <a:cubicBezTo>
                      <a:pt x="14736" y="88900"/>
                      <a:pt x="13770" y="92504"/>
                      <a:pt x="14675" y="95882"/>
                    </a:cubicBezTo>
                    <a:cubicBezTo>
                      <a:pt x="15580" y="99260"/>
                      <a:pt x="18219" y="101898"/>
                      <a:pt x="21596" y="102803"/>
                    </a:cubicBezTo>
                    <a:cubicBezTo>
                      <a:pt x="24974" y="103709"/>
                      <a:pt x="28578" y="102743"/>
                      <a:pt x="31052" y="100270"/>
                    </a:cubicBezTo>
                    <a:lnTo>
                      <a:pt x="38972" y="92348"/>
                    </a:lnTo>
                    <a:cubicBezTo>
                      <a:pt x="42087" y="94192"/>
                      <a:pt x="45445" y="95592"/>
                      <a:pt x="48948" y="96505"/>
                    </a:cubicBezTo>
                    <a:lnTo>
                      <a:pt x="48948" y="107685"/>
                    </a:lnTo>
                    <a:cubicBezTo>
                      <a:pt x="48948" y="113092"/>
                      <a:pt x="53331" y="117474"/>
                      <a:pt x="58738" y="117474"/>
                    </a:cubicBezTo>
                    <a:cubicBezTo>
                      <a:pt x="64144" y="117474"/>
                      <a:pt x="68527" y="113092"/>
                      <a:pt x="68527" y="107685"/>
                    </a:cubicBezTo>
                    <a:lnTo>
                      <a:pt x="68527" y="96505"/>
                    </a:lnTo>
                    <a:cubicBezTo>
                      <a:pt x="72030" y="95592"/>
                      <a:pt x="75388" y="94192"/>
                      <a:pt x="78502" y="92348"/>
                    </a:cubicBezTo>
                    <a:lnTo>
                      <a:pt x="86422" y="100270"/>
                    </a:lnTo>
                    <a:cubicBezTo>
                      <a:pt x="90245" y="104093"/>
                      <a:pt x="96442" y="104093"/>
                      <a:pt x="100266" y="100270"/>
                    </a:cubicBezTo>
                    <a:cubicBezTo>
                      <a:pt x="104088" y="96448"/>
                      <a:pt x="104088" y="90249"/>
                      <a:pt x="100266" y="86427"/>
                    </a:cubicBezTo>
                    <a:lnTo>
                      <a:pt x="92345" y="78504"/>
                    </a:lnTo>
                    <a:cubicBezTo>
                      <a:pt x="94192" y="75390"/>
                      <a:pt x="95592" y="72030"/>
                      <a:pt x="96504" y="68526"/>
                    </a:cubicBezTo>
                    <a:lnTo>
                      <a:pt x="107685" y="68526"/>
                    </a:lnTo>
                    <a:cubicBezTo>
                      <a:pt x="113091" y="68526"/>
                      <a:pt x="117474" y="64143"/>
                      <a:pt x="117474" y="58736"/>
                    </a:cubicBezTo>
                    <a:cubicBezTo>
                      <a:pt x="117474" y="53330"/>
                      <a:pt x="113091" y="48947"/>
                      <a:pt x="107685" y="48947"/>
                    </a:cubicBezTo>
                    <a:close/>
                    <a:moveTo>
                      <a:pt x="58736" y="78316"/>
                    </a:moveTo>
                    <a:cubicBezTo>
                      <a:pt x="47923" y="78316"/>
                      <a:pt x="39157" y="69550"/>
                      <a:pt x="39157" y="58736"/>
                    </a:cubicBezTo>
                    <a:cubicBezTo>
                      <a:pt x="39157" y="47923"/>
                      <a:pt x="47923" y="39157"/>
                      <a:pt x="58736" y="39157"/>
                    </a:cubicBezTo>
                    <a:cubicBezTo>
                      <a:pt x="69550" y="39157"/>
                      <a:pt x="78316" y="47923"/>
                      <a:pt x="78316" y="58736"/>
                    </a:cubicBezTo>
                    <a:cubicBezTo>
                      <a:pt x="78303" y="69544"/>
                      <a:pt x="69544" y="78303"/>
                      <a:pt x="58736" y="78316"/>
                    </a:cubicBezTo>
                    <a:close/>
                  </a:path>
                </a:pathLst>
              </a:custGeom>
              <a:grpFill/>
              <a:ln w="1135" cap="flat">
                <a:noFill/>
                <a:prstDash val="solid"/>
                <a:miter/>
              </a:ln>
            </p:spPr>
            <p:txBody>
              <a:bodyPr/>
              <a:lstStyle/>
              <a:p>
                <a:endParaRPr lang="en-IN"/>
              </a:p>
            </p:txBody>
          </p:sp>
          <p:sp>
            <p:nvSpPr>
              <p:cNvPr id="190" name="Freeform: Shape 189">
                <a:extLst>
                  <a:ext uri="{FF2B5EF4-FFF2-40B4-BE49-F238E27FC236}">
                    <a16:creationId xmlns:a16="http://schemas.microsoft.com/office/drawing/2014/main" id="{2D696703-5C65-1FDA-F6D5-E0CC1C2DA50B}"/>
                  </a:ext>
                </a:extLst>
              </p:cNvPr>
              <p:cNvSpPr/>
              <p:nvPr/>
            </p:nvSpPr>
            <p:spPr>
              <a:xfrm>
                <a:off x="884229" y="1068663"/>
                <a:ext cx="97894" cy="97894"/>
              </a:xfrm>
              <a:custGeom>
                <a:avLst/>
                <a:gdLst>
                  <a:gd name="csX0" fmla="*/ 17282 w 97894"/>
                  <a:gd name="csY0" fmla="*/ 58734 h 97894"/>
                  <a:gd name="csX1" fmla="*/ 19635 w 97894"/>
                  <a:gd name="csY1" fmla="*/ 64418 h 97894"/>
                  <a:gd name="csX2" fmla="*/ 14340 w 97894"/>
                  <a:gd name="csY2" fmla="*/ 69714 h 97894"/>
                  <a:gd name="csX3" fmla="*/ 11807 w 97894"/>
                  <a:gd name="csY3" fmla="*/ 79170 h 97894"/>
                  <a:gd name="csX4" fmla="*/ 18728 w 97894"/>
                  <a:gd name="csY4" fmla="*/ 86091 h 97894"/>
                  <a:gd name="csX5" fmla="*/ 28184 w 97894"/>
                  <a:gd name="csY5" fmla="*/ 83558 h 97894"/>
                  <a:gd name="csX6" fmla="*/ 33493 w 97894"/>
                  <a:gd name="csY6" fmla="*/ 78246 h 97894"/>
                  <a:gd name="csX7" fmla="*/ 39158 w 97894"/>
                  <a:gd name="csY7" fmla="*/ 80593 h 97894"/>
                  <a:gd name="csX8" fmla="*/ 39158 w 97894"/>
                  <a:gd name="csY8" fmla="*/ 88104 h 97894"/>
                  <a:gd name="csX9" fmla="*/ 48947 w 97894"/>
                  <a:gd name="csY9" fmla="*/ 97893 h 97894"/>
                  <a:gd name="csX10" fmla="*/ 58736 w 97894"/>
                  <a:gd name="csY10" fmla="*/ 88104 h 97894"/>
                  <a:gd name="csX11" fmla="*/ 58736 w 97894"/>
                  <a:gd name="csY11" fmla="*/ 80593 h 97894"/>
                  <a:gd name="csX12" fmla="*/ 64401 w 97894"/>
                  <a:gd name="csY12" fmla="*/ 78246 h 97894"/>
                  <a:gd name="csX13" fmla="*/ 69712 w 97894"/>
                  <a:gd name="csY13" fmla="*/ 83559 h 97894"/>
                  <a:gd name="csX14" fmla="*/ 83555 w 97894"/>
                  <a:gd name="csY14" fmla="*/ 83559 h 97894"/>
                  <a:gd name="csX15" fmla="*/ 83555 w 97894"/>
                  <a:gd name="csY15" fmla="*/ 69715 h 97894"/>
                  <a:gd name="csX16" fmla="*/ 78260 w 97894"/>
                  <a:gd name="csY16" fmla="*/ 64418 h 97894"/>
                  <a:gd name="csX17" fmla="*/ 80614 w 97894"/>
                  <a:gd name="csY17" fmla="*/ 58735 h 97894"/>
                  <a:gd name="csX18" fmla="*/ 88105 w 97894"/>
                  <a:gd name="csY18" fmla="*/ 58735 h 97894"/>
                  <a:gd name="csX19" fmla="*/ 97894 w 97894"/>
                  <a:gd name="csY19" fmla="*/ 48946 h 97894"/>
                  <a:gd name="csX20" fmla="*/ 88105 w 97894"/>
                  <a:gd name="csY20" fmla="*/ 39157 h 97894"/>
                  <a:gd name="csX21" fmla="*/ 80614 w 97894"/>
                  <a:gd name="csY21" fmla="*/ 39157 h 97894"/>
                  <a:gd name="csX22" fmla="*/ 78260 w 97894"/>
                  <a:gd name="csY22" fmla="*/ 33475 h 97894"/>
                  <a:gd name="csX23" fmla="*/ 83555 w 97894"/>
                  <a:gd name="csY23" fmla="*/ 28177 h 97894"/>
                  <a:gd name="csX24" fmla="*/ 86088 w 97894"/>
                  <a:gd name="csY24" fmla="*/ 18722 h 97894"/>
                  <a:gd name="csX25" fmla="*/ 79167 w 97894"/>
                  <a:gd name="csY25" fmla="*/ 11800 h 97894"/>
                  <a:gd name="csX26" fmla="*/ 69712 w 97894"/>
                  <a:gd name="csY26" fmla="*/ 14333 h 97894"/>
                  <a:gd name="csX27" fmla="*/ 64401 w 97894"/>
                  <a:gd name="csY27" fmla="*/ 19646 h 97894"/>
                  <a:gd name="csX28" fmla="*/ 58736 w 97894"/>
                  <a:gd name="csY28" fmla="*/ 17301 h 97894"/>
                  <a:gd name="csX29" fmla="*/ 58736 w 97894"/>
                  <a:gd name="csY29" fmla="*/ 9788 h 97894"/>
                  <a:gd name="csX30" fmla="*/ 48947 w 97894"/>
                  <a:gd name="csY30" fmla="*/ -1 h 97894"/>
                  <a:gd name="csX31" fmla="*/ 39158 w 97894"/>
                  <a:gd name="csY31" fmla="*/ 9788 h 97894"/>
                  <a:gd name="csX32" fmla="*/ 39158 w 97894"/>
                  <a:gd name="csY32" fmla="*/ 17302 h 97894"/>
                  <a:gd name="csX33" fmla="*/ 33493 w 97894"/>
                  <a:gd name="csY33" fmla="*/ 19647 h 97894"/>
                  <a:gd name="csX34" fmla="*/ 28183 w 97894"/>
                  <a:gd name="csY34" fmla="*/ 14333 h 97894"/>
                  <a:gd name="csX35" fmla="*/ 14339 w 97894"/>
                  <a:gd name="csY35" fmla="*/ 14333 h 97894"/>
                  <a:gd name="csX36" fmla="*/ 14339 w 97894"/>
                  <a:gd name="csY36" fmla="*/ 28177 h 97894"/>
                  <a:gd name="csX37" fmla="*/ 19635 w 97894"/>
                  <a:gd name="csY37" fmla="*/ 33475 h 97894"/>
                  <a:gd name="csX38" fmla="*/ 17281 w 97894"/>
                  <a:gd name="csY38" fmla="*/ 39157 h 97894"/>
                  <a:gd name="csX39" fmla="*/ 9789 w 97894"/>
                  <a:gd name="csY39" fmla="*/ 39157 h 97894"/>
                  <a:gd name="csX40" fmla="*/ 0 w 97894"/>
                  <a:gd name="csY40" fmla="*/ 48946 h 97894"/>
                  <a:gd name="csX41" fmla="*/ 9789 w 97894"/>
                  <a:gd name="csY41" fmla="*/ 58735 h 97894"/>
                  <a:gd name="csX42" fmla="*/ 17282 w 97894"/>
                  <a:gd name="csY42" fmla="*/ 58735 h 97894"/>
                  <a:gd name="csX43" fmla="*/ 45398 w 97894"/>
                  <a:gd name="csY43" fmla="*/ 35698 h 97894"/>
                  <a:gd name="csX44" fmla="*/ 60821 w 97894"/>
                  <a:gd name="csY44" fmla="*/ 42084 h 97894"/>
                  <a:gd name="csX45" fmla="*/ 58643 w 97894"/>
                  <a:gd name="csY45" fmla="*/ 58633 h 97894"/>
                  <a:gd name="csX46" fmla="*/ 43703 w 97894"/>
                  <a:gd name="csY46" fmla="*/ 61609 h 97894"/>
                  <a:gd name="csX47" fmla="*/ 35239 w 97894"/>
                  <a:gd name="csY47" fmla="*/ 48944 h 97894"/>
                  <a:gd name="csX48" fmla="*/ 45398 w 97894"/>
                  <a:gd name="csY48" fmla="*/ 35698 h 9789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Lst>
                <a:rect l="l" t="t" r="r" b="b"/>
                <a:pathLst>
                  <a:path w="97894" h="97894">
                    <a:moveTo>
                      <a:pt x="17282" y="58734"/>
                    </a:moveTo>
                    <a:cubicBezTo>
                      <a:pt x="17885" y="60698"/>
                      <a:pt x="18673" y="62601"/>
                      <a:pt x="19635" y="64418"/>
                    </a:cubicBezTo>
                    <a:lnTo>
                      <a:pt x="14340" y="69714"/>
                    </a:lnTo>
                    <a:cubicBezTo>
                      <a:pt x="11868" y="72188"/>
                      <a:pt x="10902" y="75791"/>
                      <a:pt x="11807" y="79170"/>
                    </a:cubicBezTo>
                    <a:cubicBezTo>
                      <a:pt x="12712" y="82547"/>
                      <a:pt x="15351" y="85186"/>
                      <a:pt x="18728" y="86091"/>
                    </a:cubicBezTo>
                    <a:cubicBezTo>
                      <a:pt x="22106" y="86996"/>
                      <a:pt x="25710" y="86030"/>
                      <a:pt x="28184" y="83558"/>
                    </a:cubicBezTo>
                    <a:lnTo>
                      <a:pt x="33493" y="78246"/>
                    </a:lnTo>
                    <a:cubicBezTo>
                      <a:pt x="35304" y="79203"/>
                      <a:pt x="37201" y="79989"/>
                      <a:pt x="39158" y="80593"/>
                    </a:cubicBezTo>
                    <a:lnTo>
                      <a:pt x="39158" y="88104"/>
                    </a:lnTo>
                    <a:cubicBezTo>
                      <a:pt x="39158" y="93511"/>
                      <a:pt x="43540" y="97893"/>
                      <a:pt x="48947" y="97893"/>
                    </a:cubicBezTo>
                    <a:cubicBezTo>
                      <a:pt x="54354" y="97893"/>
                      <a:pt x="58736" y="93511"/>
                      <a:pt x="58736" y="88104"/>
                    </a:cubicBezTo>
                    <a:lnTo>
                      <a:pt x="58736" y="80593"/>
                    </a:lnTo>
                    <a:cubicBezTo>
                      <a:pt x="60694" y="79990"/>
                      <a:pt x="62590" y="79204"/>
                      <a:pt x="64401" y="78246"/>
                    </a:cubicBezTo>
                    <a:lnTo>
                      <a:pt x="69712" y="83559"/>
                    </a:lnTo>
                    <a:cubicBezTo>
                      <a:pt x="73534" y="87381"/>
                      <a:pt x="79733" y="87381"/>
                      <a:pt x="83555" y="83559"/>
                    </a:cubicBezTo>
                    <a:cubicBezTo>
                      <a:pt x="87378" y="79736"/>
                      <a:pt x="87378" y="73538"/>
                      <a:pt x="83555" y="69715"/>
                    </a:cubicBezTo>
                    <a:lnTo>
                      <a:pt x="78260" y="64418"/>
                    </a:lnTo>
                    <a:cubicBezTo>
                      <a:pt x="79222" y="62601"/>
                      <a:pt x="80010" y="60699"/>
                      <a:pt x="80614" y="58735"/>
                    </a:cubicBezTo>
                    <a:lnTo>
                      <a:pt x="88105" y="58735"/>
                    </a:lnTo>
                    <a:cubicBezTo>
                      <a:pt x="93512" y="58735"/>
                      <a:pt x="97894" y="54352"/>
                      <a:pt x="97894" y="48946"/>
                    </a:cubicBezTo>
                    <a:cubicBezTo>
                      <a:pt x="97894" y="43539"/>
                      <a:pt x="93512" y="39157"/>
                      <a:pt x="88105" y="39157"/>
                    </a:cubicBezTo>
                    <a:lnTo>
                      <a:pt x="80614" y="39157"/>
                    </a:lnTo>
                    <a:cubicBezTo>
                      <a:pt x="80010" y="37193"/>
                      <a:pt x="79222" y="35291"/>
                      <a:pt x="78260" y="33475"/>
                    </a:cubicBezTo>
                    <a:lnTo>
                      <a:pt x="83555" y="28177"/>
                    </a:lnTo>
                    <a:cubicBezTo>
                      <a:pt x="86029" y="25704"/>
                      <a:pt x="86993" y="22100"/>
                      <a:pt x="86088" y="18722"/>
                    </a:cubicBezTo>
                    <a:cubicBezTo>
                      <a:pt x="85183" y="15344"/>
                      <a:pt x="82545" y="12706"/>
                      <a:pt x="79167" y="11800"/>
                    </a:cubicBezTo>
                    <a:cubicBezTo>
                      <a:pt x="75790" y="10895"/>
                      <a:pt x="72185" y="11861"/>
                      <a:pt x="69712" y="14333"/>
                    </a:cubicBezTo>
                    <a:lnTo>
                      <a:pt x="64401" y="19646"/>
                    </a:lnTo>
                    <a:cubicBezTo>
                      <a:pt x="62590" y="18689"/>
                      <a:pt x="60694" y="17905"/>
                      <a:pt x="58736" y="17301"/>
                    </a:cubicBezTo>
                    <a:lnTo>
                      <a:pt x="58736" y="9788"/>
                    </a:lnTo>
                    <a:cubicBezTo>
                      <a:pt x="58736" y="4381"/>
                      <a:pt x="54354" y="-1"/>
                      <a:pt x="48947" y="-1"/>
                    </a:cubicBezTo>
                    <a:cubicBezTo>
                      <a:pt x="43540" y="-1"/>
                      <a:pt x="39158" y="4381"/>
                      <a:pt x="39158" y="9788"/>
                    </a:cubicBezTo>
                    <a:lnTo>
                      <a:pt x="39158" y="17302"/>
                    </a:lnTo>
                    <a:cubicBezTo>
                      <a:pt x="37201" y="17906"/>
                      <a:pt x="35304" y="18691"/>
                      <a:pt x="33493" y="19647"/>
                    </a:cubicBezTo>
                    <a:lnTo>
                      <a:pt x="28183" y="14333"/>
                    </a:lnTo>
                    <a:cubicBezTo>
                      <a:pt x="24360" y="10511"/>
                      <a:pt x="18163" y="10511"/>
                      <a:pt x="14339" y="14333"/>
                    </a:cubicBezTo>
                    <a:cubicBezTo>
                      <a:pt x="10517" y="18156"/>
                      <a:pt x="10517" y="24353"/>
                      <a:pt x="14339" y="28177"/>
                    </a:cubicBezTo>
                    <a:lnTo>
                      <a:pt x="19635" y="33475"/>
                    </a:lnTo>
                    <a:cubicBezTo>
                      <a:pt x="18672" y="35291"/>
                      <a:pt x="17884" y="37193"/>
                      <a:pt x="17281" y="39157"/>
                    </a:cubicBezTo>
                    <a:lnTo>
                      <a:pt x="9789" y="39157"/>
                    </a:lnTo>
                    <a:cubicBezTo>
                      <a:pt x="4382" y="39157"/>
                      <a:pt x="0" y="43540"/>
                      <a:pt x="0" y="48946"/>
                    </a:cubicBezTo>
                    <a:cubicBezTo>
                      <a:pt x="0" y="54353"/>
                      <a:pt x="4384" y="58735"/>
                      <a:pt x="9789" y="58735"/>
                    </a:cubicBezTo>
                    <a:lnTo>
                      <a:pt x="17282" y="58735"/>
                    </a:lnTo>
                    <a:close/>
                    <a:moveTo>
                      <a:pt x="45398" y="35698"/>
                    </a:moveTo>
                    <a:cubicBezTo>
                      <a:pt x="51391" y="34091"/>
                      <a:pt x="57718" y="36710"/>
                      <a:pt x="60821" y="42084"/>
                    </a:cubicBezTo>
                    <a:cubicBezTo>
                      <a:pt x="63924" y="47457"/>
                      <a:pt x="63032" y="54245"/>
                      <a:pt x="58643" y="58633"/>
                    </a:cubicBezTo>
                    <a:cubicBezTo>
                      <a:pt x="54725" y="62556"/>
                      <a:pt x="48827" y="63730"/>
                      <a:pt x="43703" y="61609"/>
                    </a:cubicBezTo>
                    <a:cubicBezTo>
                      <a:pt x="38580" y="59488"/>
                      <a:pt x="35239" y="54488"/>
                      <a:pt x="35239" y="48944"/>
                    </a:cubicBezTo>
                    <a:cubicBezTo>
                      <a:pt x="35238" y="42739"/>
                      <a:pt x="39405" y="37305"/>
                      <a:pt x="45398" y="35698"/>
                    </a:cubicBezTo>
                    <a:close/>
                  </a:path>
                </a:pathLst>
              </a:custGeom>
              <a:grpFill/>
              <a:ln w="1135" cap="flat">
                <a:noFill/>
                <a:prstDash val="solid"/>
                <a:miter/>
              </a:ln>
            </p:spPr>
            <p:txBody>
              <a:bodyPr/>
              <a:lstStyle/>
              <a:p>
                <a:endParaRPr lang="en-IN"/>
              </a:p>
            </p:txBody>
          </p:sp>
          <p:sp>
            <p:nvSpPr>
              <p:cNvPr id="191" name="Freeform: Shape 190">
                <a:extLst>
                  <a:ext uri="{FF2B5EF4-FFF2-40B4-BE49-F238E27FC236}">
                    <a16:creationId xmlns:a16="http://schemas.microsoft.com/office/drawing/2014/main" id="{944E289C-D35B-687D-C76B-89A69C477E73}"/>
                  </a:ext>
                </a:extLst>
              </p:cNvPr>
              <p:cNvSpPr/>
              <p:nvPr/>
            </p:nvSpPr>
            <p:spPr>
              <a:xfrm>
                <a:off x="1070232" y="1068661"/>
                <a:ext cx="127265" cy="127265"/>
              </a:xfrm>
              <a:custGeom>
                <a:avLst/>
                <a:gdLst>
                  <a:gd name="csX0" fmla="*/ 63633 w 127265"/>
                  <a:gd name="csY0" fmla="*/ -1 h 127265"/>
                  <a:gd name="csX1" fmla="*/ 0 w 127265"/>
                  <a:gd name="csY1" fmla="*/ 63632 h 127265"/>
                  <a:gd name="csX2" fmla="*/ 63633 w 127265"/>
                  <a:gd name="csY2" fmla="*/ 127264 h 127265"/>
                  <a:gd name="csX3" fmla="*/ 127265 w 127265"/>
                  <a:gd name="csY3" fmla="*/ 63632 h 127265"/>
                  <a:gd name="csX4" fmla="*/ 63633 w 127265"/>
                  <a:gd name="csY4" fmla="*/ -1 h 127265"/>
                  <a:gd name="csX5" fmla="*/ 63633 w 127265"/>
                  <a:gd name="csY5" fmla="*/ 107684 h 127265"/>
                  <a:gd name="csX6" fmla="*/ 19580 w 127265"/>
                  <a:gd name="csY6" fmla="*/ 63631 h 127265"/>
                  <a:gd name="csX7" fmla="*/ 63633 w 127265"/>
                  <a:gd name="csY7" fmla="*/ 19577 h 127265"/>
                  <a:gd name="csX8" fmla="*/ 107686 w 127265"/>
                  <a:gd name="csY8" fmla="*/ 63631 h 127265"/>
                  <a:gd name="csX9" fmla="*/ 63633 w 127265"/>
                  <a:gd name="csY9" fmla="*/ 107684 h 12726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27265" h="127265">
                    <a:moveTo>
                      <a:pt x="63633" y="-1"/>
                    </a:moveTo>
                    <a:cubicBezTo>
                      <a:pt x="28490" y="-1"/>
                      <a:pt x="0" y="28488"/>
                      <a:pt x="0" y="63632"/>
                    </a:cubicBezTo>
                    <a:cubicBezTo>
                      <a:pt x="40" y="98758"/>
                      <a:pt x="28506" y="127223"/>
                      <a:pt x="63633" y="127264"/>
                    </a:cubicBezTo>
                    <a:cubicBezTo>
                      <a:pt x="98775" y="127264"/>
                      <a:pt x="127265" y="98776"/>
                      <a:pt x="127265" y="63632"/>
                    </a:cubicBezTo>
                    <a:cubicBezTo>
                      <a:pt x="127265" y="28488"/>
                      <a:pt x="98775" y="-1"/>
                      <a:pt x="63633" y="-1"/>
                    </a:cubicBezTo>
                    <a:close/>
                    <a:moveTo>
                      <a:pt x="63633" y="107684"/>
                    </a:moveTo>
                    <a:cubicBezTo>
                      <a:pt x="39303" y="107684"/>
                      <a:pt x="19580" y="87961"/>
                      <a:pt x="19580" y="63631"/>
                    </a:cubicBezTo>
                    <a:cubicBezTo>
                      <a:pt x="19606" y="39312"/>
                      <a:pt x="39314" y="19604"/>
                      <a:pt x="63633" y="19577"/>
                    </a:cubicBezTo>
                    <a:cubicBezTo>
                      <a:pt x="87963" y="19577"/>
                      <a:pt x="107686" y="39300"/>
                      <a:pt x="107686" y="63631"/>
                    </a:cubicBezTo>
                    <a:cubicBezTo>
                      <a:pt x="107686" y="87961"/>
                      <a:pt x="87963" y="107684"/>
                      <a:pt x="63633" y="107684"/>
                    </a:cubicBezTo>
                    <a:close/>
                  </a:path>
                </a:pathLst>
              </a:custGeom>
              <a:grpFill/>
              <a:ln w="1135" cap="flat">
                <a:noFill/>
                <a:prstDash val="solid"/>
                <a:miter/>
              </a:ln>
            </p:spPr>
            <p:txBody>
              <a:bodyPr/>
              <a:lstStyle/>
              <a:p>
                <a:endParaRPr lang="en-IN"/>
              </a:p>
            </p:txBody>
          </p:sp>
        </p:grpSp>
      </p:grpSp>
      <p:grpSp>
        <p:nvGrpSpPr>
          <p:cNvPr id="6" name="Group 5">
            <a:extLst>
              <a:ext uri="{FF2B5EF4-FFF2-40B4-BE49-F238E27FC236}">
                <a16:creationId xmlns:a16="http://schemas.microsoft.com/office/drawing/2014/main" id="{7B926D42-A1FF-4552-5C11-7422A4F013C6}"/>
              </a:ext>
            </a:extLst>
          </p:cNvPr>
          <p:cNvGrpSpPr/>
          <p:nvPr/>
        </p:nvGrpSpPr>
        <p:grpSpPr>
          <a:xfrm>
            <a:off x="1862880" y="1514851"/>
            <a:ext cx="689054" cy="689054"/>
            <a:chOff x="1862880" y="1514851"/>
            <a:chExt cx="689054" cy="689054"/>
          </a:xfrm>
        </p:grpSpPr>
        <p:sp>
          <p:nvSpPr>
            <p:cNvPr id="7" name="Oval 6">
              <a:extLst>
                <a:ext uri="{FF2B5EF4-FFF2-40B4-BE49-F238E27FC236}">
                  <a16:creationId xmlns:a16="http://schemas.microsoft.com/office/drawing/2014/main" id="{CBE9286A-0D48-BA80-7CF7-A53B6263226A}"/>
                </a:ext>
              </a:extLst>
            </p:cNvPr>
            <p:cNvSpPr>
              <a:spLocks noChangeAspect="1"/>
            </p:cNvSpPr>
            <p:nvPr/>
          </p:nvSpPr>
          <p:spPr>
            <a:xfrm>
              <a:off x="1862880" y="1514851"/>
              <a:ext cx="689054" cy="68905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grpSp>
          <p:nvGrpSpPr>
            <p:cNvPr id="181" name="Group 180">
              <a:extLst>
                <a:ext uri="{FF2B5EF4-FFF2-40B4-BE49-F238E27FC236}">
                  <a16:creationId xmlns:a16="http://schemas.microsoft.com/office/drawing/2014/main" id="{5A6B8A9A-2C44-331A-72E5-A193CB947F66}"/>
                </a:ext>
              </a:extLst>
            </p:cNvPr>
            <p:cNvGrpSpPr>
              <a:grpSpLocks noChangeAspect="1"/>
            </p:cNvGrpSpPr>
            <p:nvPr/>
          </p:nvGrpSpPr>
          <p:grpSpPr>
            <a:xfrm>
              <a:off x="2005922" y="1657893"/>
              <a:ext cx="402971" cy="402971"/>
              <a:chOff x="526405" y="974080"/>
              <a:chExt cx="648989" cy="648989"/>
            </a:xfrm>
            <a:solidFill>
              <a:schemeClr val="bg1"/>
            </a:solidFill>
          </p:grpSpPr>
          <p:sp>
            <p:nvSpPr>
              <p:cNvPr id="182" name="Freeform: Shape 181">
                <a:extLst>
                  <a:ext uri="{FF2B5EF4-FFF2-40B4-BE49-F238E27FC236}">
                    <a16:creationId xmlns:a16="http://schemas.microsoft.com/office/drawing/2014/main" id="{4875FE55-B165-ADAE-C59B-F07485228C03}"/>
                  </a:ext>
                </a:extLst>
              </p:cNvPr>
              <p:cNvSpPr/>
              <p:nvPr/>
            </p:nvSpPr>
            <p:spPr>
              <a:xfrm>
                <a:off x="767161" y="1319519"/>
                <a:ext cx="167479" cy="167472"/>
              </a:xfrm>
              <a:custGeom>
                <a:avLst/>
                <a:gdLst>
                  <a:gd name="csX0" fmla="*/ 356 w 167479"/>
                  <a:gd name="csY0" fmla="*/ 104780 h 167472"/>
                  <a:gd name="csX1" fmla="*/ 23407 w 167479"/>
                  <a:gd name="csY1" fmla="*/ 143542 h 167472"/>
                  <a:gd name="csX2" fmla="*/ 35735 w 167479"/>
                  <a:gd name="csY2" fmla="*/ 145096 h 167472"/>
                  <a:gd name="csX3" fmla="*/ 43208 w 167479"/>
                  <a:gd name="csY3" fmla="*/ 140435 h 167472"/>
                  <a:gd name="csX4" fmla="*/ 53072 w 167479"/>
                  <a:gd name="csY4" fmla="*/ 146006 h 167472"/>
                  <a:gd name="csX5" fmla="*/ 53072 w 167479"/>
                  <a:gd name="csY5" fmla="*/ 154317 h 167472"/>
                  <a:gd name="csX6" fmla="*/ 60841 w 167479"/>
                  <a:gd name="csY6" fmla="*/ 164426 h 167472"/>
                  <a:gd name="csX7" fmla="*/ 83760 w 167479"/>
                  <a:gd name="csY7" fmla="*/ 167473 h 167472"/>
                  <a:gd name="csX8" fmla="*/ 84844 w 167479"/>
                  <a:gd name="csY8" fmla="*/ 167462 h 167472"/>
                  <a:gd name="csX9" fmla="*/ 106648 w 167479"/>
                  <a:gd name="csY9" fmla="*/ 164385 h 167472"/>
                  <a:gd name="csX10" fmla="*/ 114406 w 167479"/>
                  <a:gd name="csY10" fmla="*/ 154276 h 167472"/>
                  <a:gd name="csX11" fmla="*/ 114406 w 167479"/>
                  <a:gd name="csY11" fmla="*/ 146006 h 167472"/>
                  <a:gd name="csX12" fmla="*/ 123790 w 167479"/>
                  <a:gd name="csY12" fmla="*/ 140650 h 167472"/>
                  <a:gd name="csX13" fmla="*/ 131702 w 167479"/>
                  <a:gd name="csY13" fmla="*/ 145076 h 167472"/>
                  <a:gd name="csX14" fmla="*/ 144030 w 167479"/>
                  <a:gd name="csY14" fmla="*/ 143522 h 167472"/>
                  <a:gd name="csX15" fmla="*/ 167122 w 167479"/>
                  <a:gd name="csY15" fmla="*/ 104800 h 167472"/>
                  <a:gd name="csX16" fmla="*/ 162123 w 167479"/>
                  <a:gd name="csY16" fmla="*/ 92953 h 167472"/>
                  <a:gd name="csX17" fmla="*/ 154610 w 167479"/>
                  <a:gd name="csY17" fmla="*/ 88762 h 167472"/>
                  <a:gd name="csX18" fmla="*/ 154814 w 167479"/>
                  <a:gd name="csY18" fmla="*/ 83732 h 167472"/>
                  <a:gd name="csX19" fmla="*/ 154610 w 167479"/>
                  <a:gd name="csY19" fmla="*/ 78713 h 167472"/>
                  <a:gd name="csX20" fmla="*/ 162113 w 167479"/>
                  <a:gd name="csY20" fmla="*/ 74522 h 167472"/>
                  <a:gd name="csX21" fmla="*/ 167122 w 167479"/>
                  <a:gd name="csY21" fmla="*/ 62674 h 167472"/>
                  <a:gd name="csX22" fmla="*/ 144071 w 167479"/>
                  <a:gd name="csY22" fmla="*/ 23922 h 167472"/>
                  <a:gd name="csX23" fmla="*/ 131743 w 167479"/>
                  <a:gd name="csY23" fmla="*/ 22368 h 167472"/>
                  <a:gd name="csX24" fmla="*/ 124270 w 167479"/>
                  <a:gd name="csY24" fmla="*/ 27030 h 167472"/>
                  <a:gd name="csX25" fmla="*/ 114406 w 167479"/>
                  <a:gd name="csY25" fmla="*/ 21458 h 167472"/>
                  <a:gd name="csX26" fmla="*/ 114406 w 167479"/>
                  <a:gd name="csY26" fmla="*/ 13148 h 167472"/>
                  <a:gd name="csX27" fmla="*/ 106637 w 167479"/>
                  <a:gd name="csY27" fmla="*/ 3038 h 167472"/>
                  <a:gd name="csX28" fmla="*/ 82634 w 167479"/>
                  <a:gd name="csY28" fmla="*/ 2 h 167472"/>
                  <a:gd name="csX29" fmla="*/ 60831 w 167479"/>
                  <a:gd name="csY29" fmla="*/ 3079 h 167472"/>
                  <a:gd name="csX30" fmla="*/ 53072 w 167479"/>
                  <a:gd name="csY30" fmla="*/ 13189 h 167472"/>
                  <a:gd name="csX31" fmla="*/ 53072 w 167479"/>
                  <a:gd name="csY31" fmla="*/ 21458 h 167472"/>
                  <a:gd name="csX32" fmla="*/ 43688 w 167479"/>
                  <a:gd name="csY32" fmla="*/ 26815 h 167472"/>
                  <a:gd name="csX33" fmla="*/ 35776 w 167479"/>
                  <a:gd name="csY33" fmla="*/ 22389 h 167472"/>
                  <a:gd name="csX34" fmla="*/ 23448 w 167479"/>
                  <a:gd name="csY34" fmla="*/ 23942 h 167472"/>
                  <a:gd name="csX35" fmla="*/ 356 w 167479"/>
                  <a:gd name="csY35" fmla="*/ 62685 h 167472"/>
                  <a:gd name="csX36" fmla="*/ 5365 w 167479"/>
                  <a:gd name="csY36" fmla="*/ 74522 h 167472"/>
                  <a:gd name="csX37" fmla="*/ 12858 w 167479"/>
                  <a:gd name="csY37" fmla="*/ 78713 h 167472"/>
                  <a:gd name="csX38" fmla="*/ 12663 w 167479"/>
                  <a:gd name="csY38" fmla="*/ 83732 h 167472"/>
                  <a:gd name="csX39" fmla="*/ 12858 w 167479"/>
                  <a:gd name="csY39" fmla="*/ 88751 h 167472"/>
                  <a:gd name="csX40" fmla="*/ 5365 w 167479"/>
                  <a:gd name="csY40" fmla="*/ 92943 h 167472"/>
                  <a:gd name="csX41" fmla="*/ 356 w 167479"/>
                  <a:gd name="csY41" fmla="*/ 104780 h 167472"/>
                  <a:gd name="csX42" fmla="*/ 34468 w 167479"/>
                  <a:gd name="csY42" fmla="*/ 92462 h 167472"/>
                  <a:gd name="csX43" fmla="*/ 34468 w 167479"/>
                  <a:gd name="csY43" fmla="*/ 75002 h 167472"/>
                  <a:gd name="csX44" fmla="*/ 29285 w 167479"/>
                  <a:gd name="csY44" fmla="*/ 63901 h 167472"/>
                  <a:gd name="csX45" fmla="*/ 23162 w 167479"/>
                  <a:gd name="csY45" fmla="*/ 60476 h 167472"/>
                  <a:gd name="csX46" fmla="*/ 32699 w 167479"/>
                  <a:gd name="csY46" fmla="*/ 44662 h 167472"/>
                  <a:gd name="csX47" fmla="*/ 33486 w 167479"/>
                  <a:gd name="csY47" fmla="*/ 45102 h 167472"/>
                  <a:gd name="csX48" fmla="*/ 54922 w 167479"/>
                  <a:gd name="csY48" fmla="*/ 44387 h 167472"/>
                  <a:gd name="csX49" fmla="*/ 62374 w 167479"/>
                  <a:gd name="csY49" fmla="*/ 40226 h 167472"/>
                  <a:gd name="csX50" fmla="*/ 74007 w 167479"/>
                  <a:gd name="csY50" fmla="*/ 22020 h 167472"/>
                  <a:gd name="csX51" fmla="*/ 74007 w 167479"/>
                  <a:gd name="csY51" fmla="*/ 21673 h 167472"/>
                  <a:gd name="csX52" fmla="*/ 82901 w 167479"/>
                  <a:gd name="csY52" fmla="*/ 20937 h 167472"/>
                  <a:gd name="csX53" fmla="*/ 93471 w 167479"/>
                  <a:gd name="csY53" fmla="*/ 21652 h 167472"/>
                  <a:gd name="csX54" fmla="*/ 93471 w 167479"/>
                  <a:gd name="csY54" fmla="*/ 22020 h 167472"/>
                  <a:gd name="csX55" fmla="*/ 105083 w 167479"/>
                  <a:gd name="csY55" fmla="*/ 40216 h 167472"/>
                  <a:gd name="csX56" fmla="*/ 112566 w 167479"/>
                  <a:gd name="csY56" fmla="*/ 44387 h 167472"/>
                  <a:gd name="csX57" fmla="*/ 134012 w 167479"/>
                  <a:gd name="csY57" fmla="*/ 45092 h 167472"/>
                  <a:gd name="csX58" fmla="*/ 134809 w 167479"/>
                  <a:gd name="csY58" fmla="*/ 44642 h 167472"/>
                  <a:gd name="csX59" fmla="*/ 144326 w 167479"/>
                  <a:gd name="csY59" fmla="*/ 60476 h 167472"/>
                  <a:gd name="csX60" fmla="*/ 138193 w 167479"/>
                  <a:gd name="csY60" fmla="*/ 63901 h 167472"/>
                  <a:gd name="csX61" fmla="*/ 133010 w 167479"/>
                  <a:gd name="csY61" fmla="*/ 74971 h 167472"/>
                  <a:gd name="csX62" fmla="*/ 133010 w 167479"/>
                  <a:gd name="csY62" fmla="*/ 92492 h 167472"/>
                  <a:gd name="csX63" fmla="*/ 138183 w 167479"/>
                  <a:gd name="csY63" fmla="*/ 103563 h 167472"/>
                  <a:gd name="csX64" fmla="*/ 144316 w 167479"/>
                  <a:gd name="csY64" fmla="*/ 106987 h 167472"/>
                  <a:gd name="csX65" fmla="*/ 134779 w 167479"/>
                  <a:gd name="csY65" fmla="*/ 122801 h 167472"/>
                  <a:gd name="csX66" fmla="*/ 133991 w 167479"/>
                  <a:gd name="csY66" fmla="*/ 122361 h 167472"/>
                  <a:gd name="csX67" fmla="*/ 112555 w 167479"/>
                  <a:gd name="csY67" fmla="*/ 123077 h 167472"/>
                  <a:gd name="csX68" fmla="*/ 105103 w 167479"/>
                  <a:gd name="csY68" fmla="*/ 127237 h 167472"/>
                  <a:gd name="csX69" fmla="*/ 93471 w 167479"/>
                  <a:gd name="csY69" fmla="*/ 145443 h 167472"/>
                  <a:gd name="csX70" fmla="*/ 93471 w 167479"/>
                  <a:gd name="csY70" fmla="*/ 145791 h 167472"/>
                  <a:gd name="csX71" fmla="*/ 84577 w 167479"/>
                  <a:gd name="csY71" fmla="*/ 146527 h 167472"/>
                  <a:gd name="csX72" fmla="*/ 74007 w 167479"/>
                  <a:gd name="csY72" fmla="*/ 145811 h 167472"/>
                  <a:gd name="csX73" fmla="*/ 74007 w 167479"/>
                  <a:gd name="csY73" fmla="*/ 145443 h 167472"/>
                  <a:gd name="csX74" fmla="*/ 62395 w 167479"/>
                  <a:gd name="csY74" fmla="*/ 127248 h 167472"/>
                  <a:gd name="csX75" fmla="*/ 54912 w 167479"/>
                  <a:gd name="csY75" fmla="*/ 123077 h 167472"/>
                  <a:gd name="csX76" fmla="*/ 33466 w 167479"/>
                  <a:gd name="csY76" fmla="*/ 122372 h 167472"/>
                  <a:gd name="csX77" fmla="*/ 32669 w 167479"/>
                  <a:gd name="csY77" fmla="*/ 122822 h 167472"/>
                  <a:gd name="csX78" fmla="*/ 23152 w 167479"/>
                  <a:gd name="csY78" fmla="*/ 106987 h 167472"/>
                  <a:gd name="csX79" fmla="*/ 29285 w 167479"/>
                  <a:gd name="csY79" fmla="*/ 103563 h 167472"/>
                  <a:gd name="csX80" fmla="*/ 34468 w 167479"/>
                  <a:gd name="csY80" fmla="*/ 92462 h 16747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Lst>
                <a:rect l="l" t="t" r="r" b="b"/>
                <a:pathLst>
                  <a:path w="167479" h="167472">
                    <a:moveTo>
                      <a:pt x="356" y="104780"/>
                    </a:moveTo>
                    <a:cubicBezTo>
                      <a:pt x="4319" y="119579"/>
                      <a:pt x="12297" y="132994"/>
                      <a:pt x="23407" y="143542"/>
                    </a:cubicBezTo>
                    <a:cubicBezTo>
                      <a:pt x="26731" y="146708"/>
                      <a:pt x="31730" y="147338"/>
                      <a:pt x="35735" y="145096"/>
                    </a:cubicBezTo>
                    <a:lnTo>
                      <a:pt x="43208" y="140435"/>
                    </a:lnTo>
                    <a:cubicBezTo>
                      <a:pt x="46346" y="142545"/>
                      <a:pt x="49644" y="144408"/>
                      <a:pt x="53072" y="146006"/>
                    </a:cubicBezTo>
                    <a:lnTo>
                      <a:pt x="53072" y="154317"/>
                    </a:lnTo>
                    <a:cubicBezTo>
                      <a:pt x="53071" y="159058"/>
                      <a:pt x="56259" y="163207"/>
                      <a:pt x="60841" y="164426"/>
                    </a:cubicBezTo>
                    <a:cubicBezTo>
                      <a:pt x="68315" y="166439"/>
                      <a:pt x="76020" y="167463"/>
                      <a:pt x="83760" y="167473"/>
                    </a:cubicBezTo>
                    <a:cubicBezTo>
                      <a:pt x="84118" y="167473"/>
                      <a:pt x="84475" y="167462"/>
                      <a:pt x="84844" y="167462"/>
                    </a:cubicBezTo>
                    <a:cubicBezTo>
                      <a:pt x="92211" y="167347"/>
                      <a:pt x="99536" y="166314"/>
                      <a:pt x="106648" y="164385"/>
                    </a:cubicBezTo>
                    <a:cubicBezTo>
                      <a:pt x="111223" y="163159"/>
                      <a:pt x="114406" y="159013"/>
                      <a:pt x="114406" y="154276"/>
                    </a:cubicBezTo>
                    <a:lnTo>
                      <a:pt x="114406" y="146006"/>
                    </a:lnTo>
                    <a:cubicBezTo>
                      <a:pt x="117688" y="144505"/>
                      <a:pt x="120829" y="142713"/>
                      <a:pt x="123790" y="140650"/>
                    </a:cubicBezTo>
                    <a:lnTo>
                      <a:pt x="131702" y="145076"/>
                    </a:lnTo>
                    <a:cubicBezTo>
                      <a:pt x="135707" y="147319"/>
                      <a:pt x="140707" y="146689"/>
                      <a:pt x="144030" y="143522"/>
                    </a:cubicBezTo>
                    <a:cubicBezTo>
                      <a:pt x="155148" y="132989"/>
                      <a:pt x="163140" y="119589"/>
                      <a:pt x="167122" y="104800"/>
                    </a:cubicBezTo>
                    <a:cubicBezTo>
                      <a:pt x="168361" y="100173"/>
                      <a:pt x="166303" y="95294"/>
                      <a:pt x="162123" y="92953"/>
                    </a:cubicBezTo>
                    <a:lnTo>
                      <a:pt x="154610" y="88762"/>
                    </a:lnTo>
                    <a:cubicBezTo>
                      <a:pt x="154743" y="87065"/>
                      <a:pt x="154814" y="85398"/>
                      <a:pt x="154814" y="83732"/>
                    </a:cubicBezTo>
                    <a:cubicBezTo>
                      <a:pt x="154814" y="82066"/>
                      <a:pt x="154743" y="80400"/>
                      <a:pt x="154610" y="78713"/>
                    </a:cubicBezTo>
                    <a:lnTo>
                      <a:pt x="162113" y="74522"/>
                    </a:lnTo>
                    <a:cubicBezTo>
                      <a:pt x="166296" y="72184"/>
                      <a:pt x="168359" y="67305"/>
                      <a:pt x="167122" y="62674"/>
                    </a:cubicBezTo>
                    <a:cubicBezTo>
                      <a:pt x="163155" y="47880"/>
                      <a:pt x="155178" y="34469"/>
                      <a:pt x="144071" y="23922"/>
                    </a:cubicBezTo>
                    <a:cubicBezTo>
                      <a:pt x="140742" y="20766"/>
                      <a:pt x="135750" y="20137"/>
                      <a:pt x="131743" y="22368"/>
                    </a:cubicBezTo>
                    <a:lnTo>
                      <a:pt x="124270" y="27030"/>
                    </a:lnTo>
                    <a:cubicBezTo>
                      <a:pt x="121132" y="24919"/>
                      <a:pt x="117833" y="23057"/>
                      <a:pt x="114406" y="21458"/>
                    </a:cubicBezTo>
                    <a:lnTo>
                      <a:pt x="114406" y="13148"/>
                    </a:lnTo>
                    <a:cubicBezTo>
                      <a:pt x="114407" y="8406"/>
                      <a:pt x="111219" y="4257"/>
                      <a:pt x="106637" y="3038"/>
                    </a:cubicBezTo>
                    <a:cubicBezTo>
                      <a:pt x="98806" y="966"/>
                      <a:pt x="90734" y="-55"/>
                      <a:pt x="82634" y="2"/>
                    </a:cubicBezTo>
                    <a:cubicBezTo>
                      <a:pt x="75267" y="117"/>
                      <a:pt x="67942" y="1151"/>
                      <a:pt x="60831" y="3079"/>
                    </a:cubicBezTo>
                    <a:cubicBezTo>
                      <a:pt x="56255" y="4305"/>
                      <a:pt x="53072" y="8452"/>
                      <a:pt x="53072" y="13189"/>
                    </a:cubicBezTo>
                    <a:lnTo>
                      <a:pt x="53072" y="21458"/>
                    </a:lnTo>
                    <a:cubicBezTo>
                      <a:pt x="49790" y="22959"/>
                      <a:pt x="46649" y="24752"/>
                      <a:pt x="43688" y="26815"/>
                    </a:cubicBezTo>
                    <a:lnTo>
                      <a:pt x="35776" y="22389"/>
                    </a:lnTo>
                    <a:cubicBezTo>
                      <a:pt x="31767" y="20163"/>
                      <a:pt x="26779" y="20792"/>
                      <a:pt x="23448" y="23942"/>
                    </a:cubicBezTo>
                    <a:cubicBezTo>
                      <a:pt x="12327" y="34481"/>
                      <a:pt x="4335" y="47889"/>
                      <a:pt x="356" y="62685"/>
                    </a:cubicBezTo>
                    <a:cubicBezTo>
                      <a:pt x="-880" y="67312"/>
                      <a:pt x="1183" y="72187"/>
                      <a:pt x="5365" y="74522"/>
                    </a:cubicBezTo>
                    <a:lnTo>
                      <a:pt x="12858" y="78713"/>
                    </a:lnTo>
                    <a:cubicBezTo>
                      <a:pt x="12725" y="80390"/>
                      <a:pt x="12663" y="82056"/>
                      <a:pt x="12663" y="83732"/>
                    </a:cubicBezTo>
                    <a:cubicBezTo>
                      <a:pt x="12663" y="85409"/>
                      <a:pt x="12725" y="87075"/>
                      <a:pt x="12858" y="88751"/>
                    </a:cubicBezTo>
                    <a:lnTo>
                      <a:pt x="5365" y="92943"/>
                    </a:lnTo>
                    <a:cubicBezTo>
                      <a:pt x="1182" y="95276"/>
                      <a:pt x="-881" y="100153"/>
                      <a:pt x="356" y="104780"/>
                    </a:cubicBezTo>
                    <a:close/>
                    <a:moveTo>
                      <a:pt x="34468" y="92462"/>
                    </a:moveTo>
                    <a:cubicBezTo>
                      <a:pt x="33310" y="86700"/>
                      <a:pt x="33310" y="80764"/>
                      <a:pt x="34468" y="75002"/>
                    </a:cubicBezTo>
                    <a:cubicBezTo>
                      <a:pt x="35312" y="70572"/>
                      <a:pt x="33224" y="66099"/>
                      <a:pt x="29285" y="63901"/>
                    </a:cubicBezTo>
                    <a:lnTo>
                      <a:pt x="23162" y="60476"/>
                    </a:lnTo>
                    <a:cubicBezTo>
                      <a:pt x="25538" y="54761"/>
                      <a:pt x="28753" y="49431"/>
                      <a:pt x="32699" y="44662"/>
                    </a:cubicBezTo>
                    <a:lnTo>
                      <a:pt x="33486" y="45102"/>
                    </a:lnTo>
                    <a:cubicBezTo>
                      <a:pt x="40205" y="48884"/>
                      <a:pt x="48471" y="48608"/>
                      <a:pt x="54922" y="44387"/>
                    </a:cubicBezTo>
                    <a:cubicBezTo>
                      <a:pt x="57282" y="42789"/>
                      <a:pt x="59776" y="41397"/>
                      <a:pt x="62374" y="40226"/>
                    </a:cubicBezTo>
                    <a:cubicBezTo>
                      <a:pt x="69487" y="36964"/>
                      <a:pt x="74035" y="29845"/>
                      <a:pt x="74007" y="22020"/>
                    </a:cubicBezTo>
                    <a:lnTo>
                      <a:pt x="74007" y="21673"/>
                    </a:lnTo>
                    <a:cubicBezTo>
                      <a:pt x="76951" y="21217"/>
                      <a:pt x="79923" y="20971"/>
                      <a:pt x="82901" y="20937"/>
                    </a:cubicBezTo>
                    <a:cubicBezTo>
                      <a:pt x="86437" y="20906"/>
                      <a:pt x="89971" y="21145"/>
                      <a:pt x="93471" y="21652"/>
                    </a:cubicBezTo>
                    <a:lnTo>
                      <a:pt x="93471" y="22020"/>
                    </a:lnTo>
                    <a:cubicBezTo>
                      <a:pt x="93440" y="29837"/>
                      <a:pt x="97980" y="36951"/>
                      <a:pt x="105083" y="40216"/>
                    </a:cubicBezTo>
                    <a:cubicBezTo>
                      <a:pt x="107691" y="41392"/>
                      <a:pt x="110194" y="42787"/>
                      <a:pt x="112566" y="44387"/>
                    </a:cubicBezTo>
                    <a:cubicBezTo>
                      <a:pt x="119026" y="48596"/>
                      <a:pt x="127289" y="48867"/>
                      <a:pt x="134012" y="45092"/>
                    </a:cubicBezTo>
                    <a:lnTo>
                      <a:pt x="134809" y="44642"/>
                    </a:lnTo>
                    <a:cubicBezTo>
                      <a:pt x="138751" y="49417"/>
                      <a:pt x="141959" y="54754"/>
                      <a:pt x="144326" y="60476"/>
                    </a:cubicBezTo>
                    <a:lnTo>
                      <a:pt x="138193" y="63901"/>
                    </a:lnTo>
                    <a:cubicBezTo>
                      <a:pt x="134260" y="66088"/>
                      <a:pt x="132171" y="70550"/>
                      <a:pt x="133010" y="74971"/>
                    </a:cubicBezTo>
                    <a:cubicBezTo>
                      <a:pt x="134169" y="80754"/>
                      <a:pt x="134169" y="86709"/>
                      <a:pt x="133010" y="92492"/>
                    </a:cubicBezTo>
                    <a:cubicBezTo>
                      <a:pt x="132175" y="96911"/>
                      <a:pt x="134257" y="101369"/>
                      <a:pt x="138183" y="103563"/>
                    </a:cubicBezTo>
                    <a:lnTo>
                      <a:pt x="144316" y="106987"/>
                    </a:lnTo>
                    <a:cubicBezTo>
                      <a:pt x="141942" y="112704"/>
                      <a:pt x="138727" y="118034"/>
                      <a:pt x="134779" y="122801"/>
                    </a:cubicBezTo>
                    <a:lnTo>
                      <a:pt x="133991" y="122361"/>
                    </a:lnTo>
                    <a:cubicBezTo>
                      <a:pt x="127268" y="118601"/>
                      <a:pt x="119013" y="118876"/>
                      <a:pt x="112555" y="123077"/>
                    </a:cubicBezTo>
                    <a:cubicBezTo>
                      <a:pt x="110195" y="124675"/>
                      <a:pt x="107702" y="126067"/>
                      <a:pt x="105103" y="127237"/>
                    </a:cubicBezTo>
                    <a:cubicBezTo>
                      <a:pt x="97991" y="130500"/>
                      <a:pt x="93443" y="137619"/>
                      <a:pt x="93471" y="145443"/>
                    </a:cubicBezTo>
                    <a:lnTo>
                      <a:pt x="93471" y="145791"/>
                    </a:lnTo>
                    <a:cubicBezTo>
                      <a:pt x="90527" y="146247"/>
                      <a:pt x="87555" y="146492"/>
                      <a:pt x="84577" y="146527"/>
                    </a:cubicBezTo>
                    <a:cubicBezTo>
                      <a:pt x="81041" y="146539"/>
                      <a:pt x="77509" y="146299"/>
                      <a:pt x="74007" y="145811"/>
                    </a:cubicBezTo>
                    <a:lnTo>
                      <a:pt x="74007" y="145443"/>
                    </a:lnTo>
                    <a:cubicBezTo>
                      <a:pt x="74038" y="137626"/>
                      <a:pt x="69498" y="130512"/>
                      <a:pt x="62395" y="127248"/>
                    </a:cubicBezTo>
                    <a:cubicBezTo>
                      <a:pt x="59787" y="126072"/>
                      <a:pt x="57284" y="124677"/>
                      <a:pt x="54912" y="123077"/>
                    </a:cubicBezTo>
                    <a:cubicBezTo>
                      <a:pt x="48450" y="118873"/>
                      <a:pt x="40190" y="118601"/>
                      <a:pt x="33466" y="122372"/>
                    </a:cubicBezTo>
                    <a:lnTo>
                      <a:pt x="32669" y="122822"/>
                    </a:lnTo>
                    <a:cubicBezTo>
                      <a:pt x="28724" y="118048"/>
                      <a:pt x="25516" y="112711"/>
                      <a:pt x="23152" y="106987"/>
                    </a:cubicBezTo>
                    <a:lnTo>
                      <a:pt x="29285" y="103563"/>
                    </a:lnTo>
                    <a:cubicBezTo>
                      <a:pt x="33223" y="101365"/>
                      <a:pt x="35312" y="96892"/>
                      <a:pt x="34468" y="92462"/>
                    </a:cubicBezTo>
                    <a:close/>
                  </a:path>
                </a:pathLst>
              </a:custGeom>
              <a:grpFill/>
              <a:ln w="10418"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3" name="Freeform: Shape 182">
                <a:extLst>
                  <a:ext uri="{FF2B5EF4-FFF2-40B4-BE49-F238E27FC236}">
                    <a16:creationId xmlns:a16="http://schemas.microsoft.com/office/drawing/2014/main" id="{08A519DD-0169-67B7-6845-4005F71C75DB}"/>
                  </a:ext>
                </a:extLst>
              </p:cNvPr>
              <p:cNvSpPr/>
              <p:nvPr/>
            </p:nvSpPr>
            <p:spPr>
              <a:xfrm>
                <a:off x="816012" y="1368362"/>
                <a:ext cx="69776" cy="69776"/>
              </a:xfrm>
              <a:custGeom>
                <a:avLst/>
                <a:gdLst>
                  <a:gd name="csX0" fmla="*/ 34888 w 69776"/>
                  <a:gd name="csY0" fmla="*/ 69777 h 69776"/>
                  <a:gd name="csX1" fmla="*/ 69777 w 69776"/>
                  <a:gd name="csY1" fmla="*/ 34888 h 69776"/>
                  <a:gd name="csX2" fmla="*/ 34888 w 69776"/>
                  <a:gd name="csY2" fmla="*/ 0 h 69776"/>
                  <a:gd name="csX3" fmla="*/ 0 w 69776"/>
                  <a:gd name="csY3" fmla="*/ 34888 h 69776"/>
                  <a:gd name="csX4" fmla="*/ 34888 w 69776"/>
                  <a:gd name="csY4" fmla="*/ 69777 h 69776"/>
                  <a:gd name="csX5" fmla="*/ 34888 w 69776"/>
                  <a:gd name="csY5" fmla="*/ 20935 h 69776"/>
                  <a:gd name="csX6" fmla="*/ 48842 w 69776"/>
                  <a:gd name="csY6" fmla="*/ 34888 h 69776"/>
                  <a:gd name="csX7" fmla="*/ 34888 w 69776"/>
                  <a:gd name="csY7" fmla="*/ 48842 h 69776"/>
                  <a:gd name="csX8" fmla="*/ 20935 w 69776"/>
                  <a:gd name="csY8" fmla="*/ 34888 h 69776"/>
                  <a:gd name="csX9" fmla="*/ 34888 w 69776"/>
                  <a:gd name="csY9" fmla="*/ 20935 h 6977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69776" h="69776">
                    <a:moveTo>
                      <a:pt x="34888" y="69777"/>
                    </a:moveTo>
                    <a:cubicBezTo>
                      <a:pt x="54157" y="69777"/>
                      <a:pt x="69777" y="54157"/>
                      <a:pt x="69777" y="34888"/>
                    </a:cubicBezTo>
                    <a:cubicBezTo>
                      <a:pt x="69777" y="15620"/>
                      <a:pt x="54157" y="0"/>
                      <a:pt x="34888" y="0"/>
                    </a:cubicBezTo>
                    <a:cubicBezTo>
                      <a:pt x="15620" y="0"/>
                      <a:pt x="0" y="15620"/>
                      <a:pt x="0" y="34888"/>
                    </a:cubicBezTo>
                    <a:cubicBezTo>
                      <a:pt x="21" y="54148"/>
                      <a:pt x="15629" y="69755"/>
                      <a:pt x="34888" y="69777"/>
                    </a:cubicBezTo>
                    <a:close/>
                    <a:moveTo>
                      <a:pt x="34888" y="20935"/>
                    </a:moveTo>
                    <a:cubicBezTo>
                      <a:pt x="42595" y="20935"/>
                      <a:pt x="48842" y="27182"/>
                      <a:pt x="48842" y="34888"/>
                    </a:cubicBezTo>
                    <a:cubicBezTo>
                      <a:pt x="48842" y="42595"/>
                      <a:pt x="42595" y="48842"/>
                      <a:pt x="34888" y="48842"/>
                    </a:cubicBezTo>
                    <a:cubicBezTo>
                      <a:pt x="27182" y="48842"/>
                      <a:pt x="20935" y="42595"/>
                      <a:pt x="20935" y="34888"/>
                    </a:cubicBezTo>
                    <a:cubicBezTo>
                      <a:pt x="20942" y="27185"/>
                      <a:pt x="27185" y="20942"/>
                      <a:pt x="34888" y="20935"/>
                    </a:cubicBezTo>
                    <a:close/>
                  </a:path>
                </a:pathLst>
              </a:custGeom>
              <a:grpFill/>
              <a:ln w="10418"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4" name="Freeform: Shape 183">
                <a:extLst>
                  <a:ext uri="{FF2B5EF4-FFF2-40B4-BE49-F238E27FC236}">
                    <a16:creationId xmlns:a16="http://schemas.microsoft.com/office/drawing/2014/main" id="{CF1F2782-D61E-2E27-FF72-A98BC288DF4B}"/>
                  </a:ext>
                </a:extLst>
              </p:cNvPr>
              <p:cNvSpPr/>
              <p:nvPr/>
            </p:nvSpPr>
            <p:spPr>
              <a:xfrm>
                <a:off x="1022572" y="1175990"/>
                <a:ext cx="93155" cy="79549"/>
              </a:xfrm>
              <a:custGeom>
                <a:avLst/>
                <a:gdLst>
                  <a:gd name="csX0" fmla="*/ 37669 w 93155"/>
                  <a:gd name="csY0" fmla="*/ 79550 h 79549"/>
                  <a:gd name="csX1" fmla="*/ 46051 w 93155"/>
                  <a:gd name="csY1" fmla="*/ 75358 h 79549"/>
                  <a:gd name="csX2" fmla="*/ 93155 w 93155"/>
                  <a:gd name="csY2" fmla="*/ 12553 h 79549"/>
                  <a:gd name="csX3" fmla="*/ 76411 w 93155"/>
                  <a:gd name="csY3" fmla="*/ 0 h 79549"/>
                  <a:gd name="csX4" fmla="*/ 35584 w 93155"/>
                  <a:gd name="csY4" fmla="*/ 54423 h 79549"/>
                  <a:gd name="csX5" fmla="*/ 12553 w 93155"/>
                  <a:gd name="csY5" fmla="*/ 37158 h 79549"/>
                  <a:gd name="csX6" fmla="*/ 0 w 93155"/>
                  <a:gd name="csY6" fmla="*/ 53902 h 79549"/>
                  <a:gd name="csX7" fmla="*/ 31403 w 93155"/>
                  <a:gd name="csY7" fmla="*/ 77454 h 79549"/>
                  <a:gd name="csX8" fmla="*/ 37669 w 93155"/>
                  <a:gd name="csY8" fmla="*/ 79550 h 7954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Lst>
                <a:rect l="l" t="t" r="r" b="b"/>
                <a:pathLst>
                  <a:path w="93155" h="79549">
                    <a:moveTo>
                      <a:pt x="37669" y="79550"/>
                    </a:moveTo>
                    <a:cubicBezTo>
                      <a:pt x="40969" y="79559"/>
                      <a:pt x="44078" y="78004"/>
                      <a:pt x="46051" y="75358"/>
                    </a:cubicBezTo>
                    <a:lnTo>
                      <a:pt x="93155" y="12553"/>
                    </a:lnTo>
                    <a:lnTo>
                      <a:pt x="76411" y="0"/>
                    </a:lnTo>
                    <a:lnTo>
                      <a:pt x="35584" y="54423"/>
                    </a:lnTo>
                    <a:lnTo>
                      <a:pt x="12553" y="37158"/>
                    </a:lnTo>
                    <a:lnTo>
                      <a:pt x="0" y="53902"/>
                    </a:lnTo>
                    <a:lnTo>
                      <a:pt x="31403" y="77454"/>
                    </a:lnTo>
                    <a:cubicBezTo>
                      <a:pt x="33208" y="78815"/>
                      <a:pt x="35408" y="79550"/>
                      <a:pt x="37669" y="79550"/>
                    </a:cubicBezTo>
                    <a:close/>
                  </a:path>
                </a:pathLst>
              </a:custGeom>
              <a:grpFill/>
              <a:ln w="10418"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5" name="Freeform: Shape 184">
                <a:extLst>
                  <a:ext uri="{FF2B5EF4-FFF2-40B4-BE49-F238E27FC236}">
                    <a16:creationId xmlns:a16="http://schemas.microsoft.com/office/drawing/2014/main" id="{38DE686D-A083-3AB1-BEBF-03E49E175AB0}"/>
                  </a:ext>
                </a:extLst>
              </p:cNvPr>
              <p:cNvSpPr/>
              <p:nvPr/>
            </p:nvSpPr>
            <p:spPr>
              <a:xfrm>
                <a:off x="599605" y="1176031"/>
                <a:ext cx="77606" cy="77606"/>
              </a:xfrm>
              <a:custGeom>
                <a:avLst/>
                <a:gdLst>
                  <a:gd name="csX0" fmla="*/ 14801 w 77606"/>
                  <a:gd name="csY0" fmla="*/ 77607 h 77606"/>
                  <a:gd name="csX1" fmla="*/ 38803 w 77606"/>
                  <a:gd name="csY1" fmla="*/ 53604 h 77606"/>
                  <a:gd name="csX2" fmla="*/ 62805 w 77606"/>
                  <a:gd name="csY2" fmla="*/ 77607 h 77606"/>
                  <a:gd name="csX3" fmla="*/ 77607 w 77606"/>
                  <a:gd name="csY3" fmla="*/ 62805 h 77606"/>
                  <a:gd name="csX4" fmla="*/ 53604 w 77606"/>
                  <a:gd name="csY4" fmla="*/ 38803 h 77606"/>
                  <a:gd name="csX5" fmla="*/ 77607 w 77606"/>
                  <a:gd name="csY5" fmla="*/ 14801 h 77606"/>
                  <a:gd name="csX6" fmla="*/ 62805 w 77606"/>
                  <a:gd name="csY6" fmla="*/ 0 h 77606"/>
                  <a:gd name="csX7" fmla="*/ 38803 w 77606"/>
                  <a:gd name="csY7" fmla="*/ 24002 h 77606"/>
                  <a:gd name="csX8" fmla="*/ 14801 w 77606"/>
                  <a:gd name="csY8" fmla="*/ 0 h 77606"/>
                  <a:gd name="csX9" fmla="*/ 0 w 77606"/>
                  <a:gd name="csY9" fmla="*/ 14801 h 77606"/>
                  <a:gd name="csX10" fmla="*/ 24002 w 77606"/>
                  <a:gd name="csY10" fmla="*/ 38803 h 77606"/>
                  <a:gd name="csX11" fmla="*/ 0 w 77606"/>
                  <a:gd name="csY11" fmla="*/ 62805 h 77606"/>
                  <a:gd name="csX12" fmla="*/ 14801 w 77606"/>
                  <a:gd name="csY12" fmla="*/ 77607 h 7760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77606" h="77606">
                    <a:moveTo>
                      <a:pt x="14801" y="77607"/>
                    </a:moveTo>
                    <a:lnTo>
                      <a:pt x="38803" y="53604"/>
                    </a:lnTo>
                    <a:lnTo>
                      <a:pt x="62805" y="77607"/>
                    </a:lnTo>
                    <a:lnTo>
                      <a:pt x="77607" y="62805"/>
                    </a:lnTo>
                    <a:lnTo>
                      <a:pt x="53604" y="38803"/>
                    </a:lnTo>
                    <a:lnTo>
                      <a:pt x="77607" y="14801"/>
                    </a:lnTo>
                    <a:lnTo>
                      <a:pt x="62805" y="0"/>
                    </a:lnTo>
                    <a:lnTo>
                      <a:pt x="38803" y="24002"/>
                    </a:lnTo>
                    <a:lnTo>
                      <a:pt x="14801" y="0"/>
                    </a:lnTo>
                    <a:lnTo>
                      <a:pt x="0" y="14801"/>
                    </a:lnTo>
                    <a:lnTo>
                      <a:pt x="24002" y="38803"/>
                    </a:lnTo>
                    <a:lnTo>
                      <a:pt x="0" y="62805"/>
                    </a:lnTo>
                    <a:lnTo>
                      <a:pt x="14801" y="77607"/>
                    </a:lnTo>
                    <a:close/>
                  </a:path>
                </a:pathLst>
              </a:custGeom>
              <a:grpFill/>
              <a:ln w="10418"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186" name="Freeform: Shape 185">
                <a:extLst>
                  <a:ext uri="{FF2B5EF4-FFF2-40B4-BE49-F238E27FC236}">
                    <a16:creationId xmlns:a16="http://schemas.microsoft.com/office/drawing/2014/main" id="{4234D1E3-C0CC-ABA9-C6E4-B42A28758E95}"/>
                  </a:ext>
                </a:extLst>
              </p:cNvPr>
              <p:cNvSpPr/>
              <p:nvPr/>
            </p:nvSpPr>
            <p:spPr>
              <a:xfrm>
                <a:off x="526405" y="974080"/>
                <a:ext cx="648989" cy="648989"/>
              </a:xfrm>
              <a:custGeom>
                <a:avLst/>
                <a:gdLst>
                  <a:gd name="csX0" fmla="*/ 638522 w 648989"/>
                  <a:gd name="csY0" fmla="*/ 167481 h 648989"/>
                  <a:gd name="csX1" fmla="*/ 633283 w 648989"/>
                  <a:gd name="csY1" fmla="*/ 167481 h 648989"/>
                  <a:gd name="csX2" fmla="*/ 554777 w 648989"/>
                  <a:gd name="csY2" fmla="*/ 62805 h 648989"/>
                  <a:gd name="csX3" fmla="*/ 586184 w 648989"/>
                  <a:gd name="csY3" fmla="*/ 62805 h 648989"/>
                  <a:gd name="csX4" fmla="*/ 586184 w 648989"/>
                  <a:gd name="csY4" fmla="*/ 41870 h 648989"/>
                  <a:gd name="csX5" fmla="*/ 353969 w 648989"/>
                  <a:gd name="csY5" fmla="*/ 41870 h 648989"/>
                  <a:gd name="csX6" fmla="*/ 355898 w 648989"/>
                  <a:gd name="csY6" fmla="*/ 31403 h 648989"/>
                  <a:gd name="csX7" fmla="*/ 324495 w 648989"/>
                  <a:gd name="csY7" fmla="*/ 0 h 648989"/>
                  <a:gd name="csX8" fmla="*/ 293092 w 648989"/>
                  <a:gd name="csY8" fmla="*/ 31403 h 648989"/>
                  <a:gd name="csX9" fmla="*/ 295022 w 648989"/>
                  <a:gd name="csY9" fmla="*/ 41870 h 648989"/>
                  <a:gd name="csX10" fmla="*/ 62805 w 648989"/>
                  <a:gd name="csY10" fmla="*/ 41870 h 648989"/>
                  <a:gd name="csX11" fmla="*/ 62805 w 648989"/>
                  <a:gd name="csY11" fmla="*/ 62805 h 648989"/>
                  <a:gd name="csX12" fmla="*/ 94213 w 648989"/>
                  <a:gd name="csY12" fmla="*/ 62805 h 648989"/>
                  <a:gd name="csX13" fmla="*/ 15706 w 648989"/>
                  <a:gd name="csY13" fmla="*/ 167481 h 648989"/>
                  <a:gd name="csX14" fmla="*/ 10468 w 648989"/>
                  <a:gd name="csY14" fmla="*/ 167481 h 648989"/>
                  <a:gd name="csX15" fmla="*/ 0 w 648989"/>
                  <a:gd name="csY15" fmla="*/ 177937 h 648989"/>
                  <a:gd name="csX16" fmla="*/ 0 w 648989"/>
                  <a:gd name="csY16" fmla="*/ 177949 h 648989"/>
                  <a:gd name="csX17" fmla="*/ 0 w 648989"/>
                  <a:gd name="csY17" fmla="*/ 209352 h 648989"/>
                  <a:gd name="csX18" fmla="*/ 115143 w 648989"/>
                  <a:gd name="csY18" fmla="*/ 324495 h 648989"/>
                  <a:gd name="csX19" fmla="*/ 230287 w 648989"/>
                  <a:gd name="csY19" fmla="*/ 209352 h 648989"/>
                  <a:gd name="csX20" fmla="*/ 230287 w 648989"/>
                  <a:gd name="csY20" fmla="*/ 177949 h 648989"/>
                  <a:gd name="csX21" fmla="*/ 219831 w 648989"/>
                  <a:gd name="csY21" fmla="*/ 167481 h 648989"/>
                  <a:gd name="csX22" fmla="*/ 219819 w 648989"/>
                  <a:gd name="csY22" fmla="*/ 167481 h 648989"/>
                  <a:gd name="csX23" fmla="*/ 214580 w 648989"/>
                  <a:gd name="csY23" fmla="*/ 167481 h 648989"/>
                  <a:gd name="csX24" fmla="*/ 136073 w 648989"/>
                  <a:gd name="csY24" fmla="*/ 62805 h 648989"/>
                  <a:gd name="csX25" fmla="*/ 314027 w 648989"/>
                  <a:gd name="csY25" fmla="*/ 62805 h 648989"/>
                  <a:gd name="csX26" fmla="*/ 314027 w 648989"/>
                  <a:gd name="csY26" fmla="*/ 303853 h 648989"/>
                  <a:gd name="csX27" fmla="*/ 188416 w 648989"/>
                  <a:gd name="csY27" fmla="*/ 431880 h 648989"/>
                  <a:gd name="csX28" fmla="*/ 188416 w 648989"/>
                  <a:gd name="csY28" fmla="*/ 648990 h 648989"/>
                  <a:gd name="csX29" fmla="*/ 209352 w 648989"/>
                  <a:gd name="csY29" fmla="*/ 648990 h 648989"/>
                  <a:gd name="csX30" fmla="*/ 209352 w 648989"/>
                  <a:gd name="csY30" fmla="*/ 431880 h 648989"/>
                  <a:gd name="csX31" fmla="*/ 319946 w 648989"/>
                  <a:gd name="csY31" fmla="*/ 324495 h 648989"/>
                  <a:gd name="csX32" fmla="*/ 332683 w 648989"/>
                  <a:gd name="csY32" fmla="*/ 324495 h 648989"/>
                  <a:gd name="csX33" fmla="*/ 443277 w 648989"/>
                  <a:gd name="csY33" fmla="*/ 431880 h 648989"/>
                  <a:gd name="csX34" fmla="*/ 443277 w 648989"/>
                  <a:gd name="csY34" fmla="*/ 475304 h 648989"/>
                  <a:gd name="csX35" fmla="*/ 444831 w 648989"/>
                  <a:gd name="csY35" fmla="*/ 480793 h 648989"/>
                  <a:gd name="csX36" fmla="*/ 475764 w 648989"/>
                  <a:gd name="csY36" fmla="*/ 530974 h 648989"/>
                  <a:gd name="csX37" fmla="*/ 444565 w 648989"/>
                  <a:gd name="csY37" fmla="*/ 539653 h 648989"/>
                  <a:gd name="csX38" fmla="*/ 436909 w 648989"/>
                  <a:gd name="csY38" fmla="*/ 549742 h 648989"/>
                  <a:gd name="csX39" fmla="*/ 436909 w 648989"/>
                  <a:gd name="csY39" fmla="*/ 586961 h 648989"/>
                  <a:gd name="csX40" fmla="*/ 409145 w 648989"/>
                  <a:gd name="csY40" fmla="*/ 613713 h 648989"/>
                  <a:gd name="csX41" fmla="*/ 345430 w 648989"/>
                  <a:gd name="csY41" fmla="*/ 613713 h 648989"/>
                  <a:gd name="csX42" fmla="*/ 334963 w 648989"/>
                  <a:gd name="csY42" fmla="*/ 624169 h 648989"/>
                  <a:gd name="csX43" fmla="*/ 334963 w 648989"/>
                  <a:gd name="csY43" fmla="*/ 624180 h 648989"/>
                  <a:gd name="csX44" fmla="*/ 334963 w 648989"/>
                  <a:gd name="csY44" fmla="*/ 648990 h 648989"/>
                  <a:gd name="csX45" fmla="*/ 355898 w 648989"/>
                  <a:gd name="csY45" fmla="*/ 648990 h 648989"/>
                  <a:gd name="csX46" fmla="*/ 355898 w 648989"/>
                  <a:gd name="csY46" fmla="*/ 634648 h 648989"/>
                  <a:gd name="csX47" fmla="*/ 409145 w 648989"/>
                  <a:gd name="csY47" fmla="*/ 634648 h 648989"/>
                  <a:gd name="csX48" fmla="*/ 457844 w 648989"/>
                  <a:gd name="csY48" fmla="*/ 586961 h 648989"/>
                  <a:gd name="csX49" fmla="*/ 457844 w 648989"/>
                  <a:gd name="csY49" fmla="*/ 557695 h 648989"/>
                  <a:gd name="csX50" fmla="*/ 494787 w 648989"/>
                  <a:gd name="csY50" fmla="*/ 547422 h 648989"/>
                  <a:gd name="csX51" fmla="*/ 502053 w 648989"/>
                  <a:gd name="csY51" fmla="*/ 534503 h 648989"/>
                  <a:gd name="csX52" fmla="*/ 500890 w 648989"/>
                  <a:gd name="csY52" fmla="*/ 531843 h 648989"/>
                  <a:gd name="csX53" fmla="*/ 464213 w 648989"/>
                  <a:gd name="csY53" fmla="*/ 472339 h 648989"/>
                  <a:gd name="csX54" fmla="*/ 464213 w 648989"/>
                  <a:gd name="csY54" fmla="*/ 431880 h 648989"/>
                  <a:gd name="csX55" fmla="*/ 334963 w 648989"/>
                  <a:gd name="csY55" fmla="*/ 303672 h 648989"/>
                  <a:gd name="csX56" fmla="*/ 334963 w 648989"/>
                  <a:gd name="csY56" fmla="*/ 62805 h 648989"/>
                  <a:gd name="csX57" fmla="*/ 512916 w 648989"/>
                  <a:gd name="csY57" fmla="*/ 62805 h 648989"/>
                  <a:gd name="csX58" fmla="*/ 434410 w 648989"/>
                  <a:gd name="csY58" fmla="*/ 167481 h 648989"/>
                  <a:gd name="csX59" fmla="*/ 429171 w 648989"/>
                  <a:gd name="csY59" fmla="*/ 167481 h 648989"/>
                  <a:gd name="csX60" fmla="*/ 418703 w 648989"/>
                  <a:gd name="csY60" fmla="*/ 177937 h 648989"/>
                  <a:gd name="csX61" fmla="*/ 418703 w 648989"/>
                  <a:gd name="csY61" fmla="*/ 177949 h 648989"/>
                  <a:gd name="csX62" fmla="*/ 418703 w 648989"/>
                  <a:gd name="csY62" fmla="*/ 209352 h 648989"/>
                  <a:gd name="csX63" fmla="*/ 533847 w 648989"/>
                  <a:gd name="csY63" fmla="*/ 324495 h 648989"/>
                  <a:gd name="csX64" fmla="*/ 648990 w 648989"/>
                  <a:gd name="csY64" fmla="*/ 209352 h 648989"/>
                  <a:gd name="csX65" fmla="*/ 648990 w 648989"/>
                  <a:gd name="csY65" fmla="*/ 177949 h 648989"/>
                  <a:gd name="csX66" fmla="*/ 638534 w 648989"/>
                  <a:gd name="csY66" fmla="*/ 167481 h 648989"/>
                  <a:gd name="csX67" fmla="*/ 638522 w 648989"/>
                  <a:gd name="csY67" fmla="*/ 167481 h 648989"/>
                  <a:gd name="csX68" fmla="*/ 209352 w 648989"/>
                  <a:gd name="csY68" fmla="*/ 209352 h 648989"/>
                  <a:gd name="csX69" fmla="*/ 115143 w 648989"/>
                  <a:gd name="csY69" fmla="*/ 303560 h 648989"/>
                  <a:gd name="csX70" fmla="*/ 20935 w 648989"/>
                  <a:gd name="csY70" fmla="*/ 209352 h 648989"/>
                  <a:gd name="csX71" fmla="*/ 20935 w 648989"/>
                  <a:gd name="csY71" fmla="*/ 188416 h 648989"/>
                  <a:gd name="csX72" fmla="*/ 209352 w 648989"/>
                  <a:gd name="csY72" fmla="*/ 188416 h 648989"/>
                  <a:gd name="csX73" fmla="*/ 188420 w 648989"/>
                  <a:gd name="csY73" fmla="*/ 167481 h 648989"/>
                  <a:gd name="csX74" fmla="*/ 41866 w 648989"/>
                  <a:gd name="csY74" fmla="*/ 167481 h 648989"/>
                  <a:gd name="csX75" fmla="*/ 115143 w 648989"/>
                  <a:gd name="csY75" fmla="*/ 69787 h 648989"/>
                  <a:gd name="csX76" fmla="*/ 324495 w 648989"/>
                  <a:gd name="csY76" fmla="*/ 41870 h 648989"/>
                  <a:gd name="csX77" fmla="*/ 314027 w 648989"/>
                  <a:gd name="csY77" fmla="*/ 31403 h 648989"/>
                  <a:gd name="csX78" fmla="*/ 324495 w 648989"/>
                  <a:gd name="csY78" fmla="*/ 20935 h 648989"/>
                  <a:gd name="csX79" fmla="*/ 334963 w 648989"/>
                  <a:gd name="csY79" fmla="*/ 31403 h 648989"/>
                  <a:gd name="csX80" fmla="*/ 324495 w 648989"/>
                  <a:gd name="csY80" fmla="*/ 41870 h 648989"/>
                  <a:gd name="csX81" fmla="*/ 533847 w 648989"/>
                  <a:gd name="csY81" fmla="*/ 69787 h 648989"/>
                  <a:gd name="csX82" fmla="*/ 607123 w 648989"/>
                  <a:gd name="csY82" fmla="*/ 167481 h 648989"/>
                  <a:gd name="csX83" fmla="*/ 460570 w 648989"/>
                  <a:gd name="csY83" fmla="*/ 167481 h 648989"/>
                  <a:gd name="csX84" fmla="*/ 628055 w 648989"/>
                  <a:gd name="csY84" fmla="*/ 209352 h 648989"/>
                  <a:gd name="csX85" fmla="*/ 533847 w 648989"/>
                  <a:gd name="csY85" fmla="*/ 303560 h 648989"/>
                  <a:gd name="csX86" fmla="*/ 439638 w 648989"/>
                  <a:gd name="csY86" fmla="*/ 209352 h 648989"/>
                  <a:gd name="csX87" fmla="*/ 439638 w 648989"/>
                  <a:gd name="csY87" fmla="*/ 188416 h 648989"/>
                  <a:gd name="csX88" fmla="*/ 628055 w 648989"/>
                  <a:gd name="csY88" fmla="*/ 188416 h 64898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Lst>
                <a:rect l="l" t="t" r="r" b="b"/>
                <a:pathLst>
                  <a:path w="648989" h="648989">
                    <a:moveTo>
                      <a:pt x="638522" y="167481"/>
                    </a:moveTo>
                    <a:lnTo>
                      <a:pt x="633283" y="167481"/>
                    </a:lnTo>
                    <a:lnTo>
                      <a:pt x="554777" y="62805"/>
                    </a:lnTo>
                    <a:lnTo>
                      <a:pt x="586184" y="62805"/>
                    </a:lnTo>
                    <a:lnTo>
                      <a:pt x="586184" y="41870"/>
                    </a:lnTo>
                    <a:lnTo>
                      <a:pt x="353969" y="41870"/>
                    </a:lnTo>
                    <a:cubicBezTo>
                      <a:pt x="355210" y="38518"/>
                      <a:pt x="355862" y="34977"/>
                      <a:pt x="355898" y="31403"/>
                    </a:cubicBezTo>
                    <a:cubicBezTo>
                      <a:pt x="355898" y="14059"/>
                      <a:pt x="341838" y="0"/>
                      <a:pt x="324495" y="0"/>
                    </a:cubicBezTo>
                    <a:cubicBezTo>
                      <a:pt x="307152" y="0"/>
                      <a:pt x="293092" y="14059"/>
                      <a:pt x="293092" y="31403"/>
                    </a:cubicBezTo>
                    <a:cubicBezTo>
                      <a:pt x="293128" y="34977"/>
                      <a:pt x="293781" y="38518"/>
                      <a:pt x="295022" y="41870"/>
                    </a:cubicBezTo>
                    <a:lnTo>
                      <a:pt x="62805" y="41870"/>
                    </a:lnTo>
                    <a:lnTo>
                      <a:pt x="62805" y="62805"/>
                    </a:lnTo>
                    <a:lnTo>
                      <a:pt x="94213" y="62805"/>
                    </a:lnTo>
                    <a:lnTo>
                      <a:pt x="15706" y="167481"/>
                    </a:lnTo>
                    <a:lnTo>
                      <a:pt x="10468" y="167481"/>
                    </a:lnTo>
                    <a:cubicBezTo>
                      <a:pt x="4690" y="167478"/>
                      <a:pt x="3" y="172159"/>
                      <a:pt x="0" y="177937"/>
                    </a:cubicBezTo>
                    <a:cubicBezTo>
                      <a:pt x="0" y="177941"/>
                      <a:pt x="0" y="177945"/>
                      <a:pt x="0" y="177949"/>
                    </a:cubicBezTo>
                    <a:lnTo>
                      <a:pt x="0" y="209352"/>
                    </a:lnTo>
                    <a:cubicBezTo>
                      <a:pt x="0" y="272944"/>
                      <a:pt x="51551" y="324495"/>
                      <a:pt x="115143" y="324495"/>
                    </a:cubicBezTo>
                    <a:cubicBezTo>
                      <a:pt x="178735" y="324495"/>
                      <a:pt x="230287" y="272944"/>
                      <a:pt x="230287" y="209352"/>
                    </a:cubicBezTo>
                    <a:lnTo>
                      <a:pt x="230287" y="177949"/>
                    </a:lnTo>
                    <a:cubicBezTo>
                      <a:pt x="230290" y="172171"/>
                      <a:pt x="225609" y="167485"/>
                      <a:pt x="219831" y="167481"/>
                    </a:cubicBezTo>
                    <a:cubicBezTo>
                      <a:pt x="219827" y="167481"/>
                      <a:pt x="219823" y="167481"/>
                      <a:pt x="219819" y="167481"/>
                    </a:cubicBezTo>
                    <a:lnTo>
                      <a:pt x="214580" y="167481"/>
                    </a:lnTo>
                    <a:lnTo>
                      <a:pt x="136073" y="62805"/>
                    </a:lnTo>
                    <a:lnTo>
                      <a:pt x="314027" y="62805"/>
                    </a:lnTo>
                    <a:lnTo>
                      <a:pt x="314027" y="303853"/>
                    </a:lnTo>
                    <a:cubicBezTo>
                      <a:pt x="244672" y="306104"/>
                      <a:pt x="189346" y="362494"/>
                      <a:pt x="188416" y="431880"/>
                    </a:cubicBezTo>
                    <a:lnTo>
                      <a:pt x="188416" y="648990"/>
                    </a:lnTo>
                    <a:lnTo>
                      <a:pt x="209352" y="648990"/>
                    </a:lnTo>
                    <a:lnTo>
                      <a:pt x="209352" y="431880"/>
                    </a:lnTo>
                    <a:cubicBezTo>
                      <a:pt x="210319" y="371721"/>
                      <a:pt x="259785" y="323690"/>
                      <a:pt x="319946" y="324495"/>
                    </a:cubicBezTo>
                    <a:lnTo>
                      <a:pt x="332683" y="324495"/>
                    </a:lnTo>
                    <a:cubicBezTo>
                      <a:pt x="392844" y="323690"/>
                      <a:pt x="442310" y="371721"/>
                      <a:pt x="443277" y="431880"/>
                    </a:cubicBezTo>
                    <a:lnTo>
                      <a:pt x="443277" y="475304"/>
                    </a:lnTo>
                    <a:cubicBezTo>
                      <a:pt x="443278" y="477242"/>
                      <a:pt x="443816" y="479142"/>
                      <a:pt x="444831" y="480793"/>
                    </a:cubicBezTo>
                    <a:lnTo>
                      <a:pt x="475764" y="530974"/>
                    </a:lnTo>
                    <a:lnTo>
                      <a:pt x="444565" y="539653"/>
                    </a:lnTo>
                    <a:cubicBezTo>
                      <a:pt x="440041" y="540921"/>
                      <a:pt x="436912" y="545043"/>
                      <a:pt x="436909" y="549742"/>
                    </a:cubicBezTo>
                    <a:lnTo>
                      <a:pt x="436909" y="586961"/>
                    </a:lnTo>
                    <a:cubicBezTo>
                      <a:pt x="436609" y="602006"/>
                      <a:pt x="424191" y="613971"/>
                      <a:pt x="409145" y="613713"/>
                    </a:cubicBezTo>
                    <a:lnTo>
                      <a:pt x="345430" y="613713"/>
                    </a:lnTo>
                    <a:cubicBezTo>
                      <a:pt x="339652" y="613710"/>
                      <a:pt x="334966" y="618391"/>
                      <a:pt x="334963" y="624169"/>
                    </a:cubicBezTo>
                    <a:cubicBezTo>
                      <a:pt x="334963" y="624173"/>
                      <a:pt x="334963" y="624176"/>
                      <a:pt x="334963" y="624180"/>
                    </a:cubicBezTo>
                    <a:lnTo>
                      <a:pt x="334963" y="648990"/>
                    </a:lnTo>
                    <a:lnTo>
                      <a:pt x="355898" y="648990"/>
                    </a:lnTo>
                    <a:lnTo>
                      <a:pt x="355898" y="634648"/>
                    </a:lnTo>
                    <a:lnTo>
                      <a:pt x="409145" y="634648"/>
                    </a:lnTo>
                    <a:cubicBezTo>
                      <a:pt x="435748" y="634894"/>
                      <a:pt x="457531" y="613563"/>
                      <a:pt x="457844" y="586961"/>
                    </a:cubicBezTo>
                    <a:lnTo>
                      <a:pt x="457844" y="557695"/>
                    </a:lnTo>
                    <a:lnTo>
                      <a:pt x="494787" y="547422"/>
                    </a:lnTo>
                    <a:cubicBezTo>
                      <a:pt x="500361" y="545861"/>
                      <a:pt x="503614" y="540077"/>
                      <a:pt x="502053" y="534503"/>
                    </a:cubicBezTo>
                    <a:cubicBezTo>
                      <a:pt x="501790" y="533567"/>
                      <a:pt x="501399" y="532672"/>
                      <a:pt x="500890" y="531843"/>
                    </a:cubicBezTo>
                    <a:lnTo>
                      <a:pt x="464213" y="472339"/>
                    </a:lnTo>
                    <a:lnTo>
                      <a:pt x="464213" y="431880"/>
                    </a:lnTo>
                    <a:cubicBezTo>
                      <a:pt x="463249" y="361070"/>
                      <a:pt x="405778" y="304063"/>
                      <a:pt x="334963" y="303672"/>
                    </a:cubicBezTo>
                    <a:lnTo>
                      <a:pt x="334963" y="62805"/>
                    </a:lnTo>
                    <a:lnTo>
                      <a:pt x="512916" y="62805"/>
                    </a:lnTo>
                    <a:lnTo>
                      <a:pt x="434410" y="167481"/>
                    </a:lnTo>
                    <a:lnTo>
                      <a:pt x="429171" y="167481"/>
                    </a:lnTo>
                    <a:cubicBezTo>
                      <a:pt x="423393" y="167478"/>
                      <a:pt x="418706" y="172159"/>
                      <a:pt x="418703" y="177937"/>
                    </a:cubicBezTo>
                    <a:cubicBezTo>
                      <a:pt x="418703" y="177941"/>
                      <a:pt x="418703" y="177945"/>
                      <a:pt x="418703" y="177949"/>
                    </a:cubicBezTo>
                    <a:lnTo>
                      <a:pt x="418703" y="209352"/>
                    </a:lnTo>
                    <a:cubicBezTo>
                      <a:pt x="418703" y="272944"/>
                      <a:pt x="470255" y="324495"/>
                      <a:pt x="533847" y="324495"/>
                    </a:cubicBezTo>
                    <a:cubicBezTo>
                      <a:pt x="597438" y="324495"/>
                      <a:pt x="648990" y="272944"/>
                      <a:pt x="648990" y="209352"/>
                    </a:cubicBezTo>
                    <a:lnTo>
                      <a:pt x="648990" y="177949"/>
                    </a:lnTo>
                    <a:cubicBezTo>
                      <a:pt x="648993" y="172171"/>
                      <a:pt x="644312" y="167485"/>
                      <a:pt x="638534" y="167481"/>
                    </a:cubicBezTo>
                    <a:cubicBezTo>
                      <a:pt x="638530" y="167481"/>
                      <a:pt x="638526" y="167481"/>
                      <a:pt x="638522" y="167481"/>
                    </a:cubicBezTo>
                    <a:close/>
                    <a:moveTo>
                      <a:pt x="209352" y="209352"/>
                    </a:moveTo>
                    <a:cubicBezTo>
                      <a:pt x="209352" y="261381"/>
                      <a:pt x="167173" y="303560"/>
                      <a:pt x="115143" y="303560"/>
                    </a:cubicBezTo>
                    <a:cubicBezTo>
                      <a:pt x="63114" y="303560"/>
                      <a:pt x="20935" y="261381"/>
                      <a:pt x="20935" y="209352"/>
                    </a:cubicBezTo>
                    <a:lnTo>
                      <a:pt x="20935" y="188416"/>
                    </a:lnTo>
                    <a:lnTo>
                      <a:pt x="209352" y="188416"/>
                    </a:lnTo>
                    <a:close/>
                    <a:moveTo>
                      <a:pt x="188420" y="167481"/>
                    </a:moveTo>
                    <a:lnTo>
                      <a:pt x="41866" y="167481"/>
                    </a:lnTo>
                    <a:lnTo>
                      <a:pt x="115143" y="69787"/>
                    </a:lnTo>
                    <a:close/>
                    <a:moveTo>
                      <a:pt x="324495" y="41870"/>
                    </a:moveTo>
                    <a:cubicBezTo>
                      <a:pt x="318714" y="41870"/>
                      <a:pt x="314027" y="37184"/>
                      <a:pt x="314027" y="31403"/>
                    </a:cubicBezTo>
                    <a:cubicBezTo>
                      <a:pt x="314027" y="25622"/>
                      <a:pt x="318714" y="20935"/>
                      <a:pt x="324495" y="20935"/>
                    </a:cubicBezTo>
                    <a:cubicBezTo>
                      <a:pt x="330276" y="20935"/>
                      <a:pt x="334963" y="25622"/>
                      <a:pt x="334963" y="31403"/>
                    </a:cubicBezTo>
                    <a:cubicBezTo>
                      <a:pt x="334959" y="37182"/>
                      <a:pt x="330274" y="41866"/>
                      <a:pt x="324495" y="41870"/>
                    </a:cubicBezTo>
                    <a:close/>
                    <a:moveTo>
                      <a:pt x="533847" y="69787"/>
                    </a:moveTo>
                    <a:lnTo>
                      <a:pt x="607123" y="167481"/>
                    </a:lnTo>
                    <a:lnTo>
                      <a:pt x="460570" y="167481"/>
                    </a:lnTo>
                    <a:close/>
                    <a:moveTo>
                      <a:pt x="628055" y="209352"/>
                    </a:moveTo>
                    <a:cubicBezTo>
                      <a:pt x="628055" y="261381"/>
                      <a:pt x="585876" y="303560"/>
                      <a:pt x="533847" y="303560"/>
                    </a:cubicBezTo>
                    <a:cubicBezTo>
                      <a:pt x="481817" y="303560"/>
                      <a:pt x="439638" y="261381"/>
                      <a:pt x="439638" y="209352"/>
                    </a:cubicBezTo>
                    <a:lnTo>
                      <a:pt x="439638" y="188416"/>
                    </a:lnTo>
                    <a:lnTo>
                      <a:pt x="628055" y="188416"/>
                    </a:lnTo>
                    <a:close/>
                  </a:path>
                </a:pathLst>
              </a:custGeom>
              <a:grpFill/>
              <a:ln w="10418"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23" name="Group 22">
            <a:extLst>
              <a:ext uri="{FF2B5EF4-FFF2-40B4-BE49-F238E27FC236}">
                <a16:creationId xmlns:a16="http://schemas.microsoft.com/office/drawing/2014/main" id="{9E16983F-6072-0D23-AFC7-B5654EF2B17D}"/>
              </a:ext>
            </a:extLst>
          </p:cNvPr>
          <p:cNvGrpSpPr/>
          <p:nvPr/>
        </p:nvGrpSpPr>
        <p:grpSpPr>
          <a:xfrm>
            <a:off x="5648218" y="3480698"/>
            <a:ext cx="569466" cy="569466"/>
            <a:chOff x="5648218" y="3480698"/>
            <a:chExt cx="569466" cy="569466"/>
          </a:xfrm>
        </p:grpSpPr>
        <p:sp>
          <p:nvSpPr>
            <p:cNvPr id="80" name="Oval 79">
              <a:extLst>
                <a:ext uri="{FF2B5EF4-FFF2-40B4-BE49-F238E27FC236}">
                  <a16:creationId xmlns:a16="http://schemas.microsoft.com/office/drawing/2014/main" id="{3AD73B63-B215-5A8D-EF0C-25BC8E54F2BE}"/>
                </a:ext>
              </a:extLst>
            </p:cNvPr>
            <p:cNvSpPr>
              <a:spLocks noChangeAspect="1"/>
            </p:cNvSpPr>
            <p:nvPr/>
          </p:nvSpPr>
          <p:spPr>
            <a:xfrm>
              <a:off x="5648218" y="3480698"/>
              <a:ext cx="569466" cy="56946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sp>
          <p:nvSpPr>
            <p:cNvPr id="192" name="Pic">
              <a:extLst>
                <a:ext uri="{FF2B5EF4-FFF2-40B4-BE49-F238E27FC236}">
                  <a16:creationId xmlns:a16="http://schemas.microsoft.com/office/drawing/2014/main" id="{30299766-1243-3DCD-7C11-64BF2FF539DD}"/>
                </a:ext>
              </a:extLst>
            </p:cNvPr>
            <p:cNvSpPr>
              <a:spLocks noChangeAspect="1"/>
            </p:cNvSpPr>
            <p:nvPr/>
          </p:nvSpPr>
          <p:spPr>
            <a:xfrm>
              <a:off x="5769666" y="3623778"/>
              <a:ext cx="326570" cy="307117"/>
            </a:xfrm>
            <a:custGeom>
              <a:avLst/>
              <a:gdLst>
                <a:gd name="csX0" fmla="*/ 351836 w 700031"/>
                <a:gd name="csY0" fmla="*/ 197025 h 658332"/>
                <a:gd name="csX1" fmla="*/ 266214 w 700031"/>
                <a:gd name="csY1" fmla="*/ 282646 h 658332"/>
                <a:gd name="csX2" fmla="*/ 351836 w 700031"/>
                <a:gd name="csY2" fmla="*/ 368268 h 658332"/>
                <a:gd name="csX3" fmla="*/ 437457 w 700031"/>
                <a:gd name="csY3" fmla="*/ 282646 h 658332"/>
                <a:gd name="csX4" fmla="*/ 351836 w 700031"/>
                <a:gd name="csY4" fmla="*/ 197025 h 658332"/>
                <a:gd name="csX5" fmla="*/ 351836 w 700031"/>
                <a:gd name="csY5" fmla="*/ 351613 h 658332"/>
                <a:gd name="csX6" fmla="*/ 282869 w 700031"/>
                <a:gd name="csY6" fmla="*/ 282646 h 658332"/>
                <a:gd name="csX7" fmla="*/ 351836 w 700031"/>
                <a:gd name="csY7" fmla="*/ 213679 h 658332"/>
                <a:gd name="csX8" fmla="*/ 420803 w 700031"/>
                <a:gd name="csY8" fmla="*/ 282646 h 658332"/>
                <a:gd name="csX9" fmla="*/ 351836 w 700031"/>
                <a:gd name="csY9" fmla="*/ 351613 h 658332"/>
                <a:gd name="csX10" fmla="*/ 320165 w 700031"/>
                <a:gd name="csY10" fmla="*/ 282563 h 658332"/>
                <a:gd name="csX11" fmla="*/ 320165 w 700031"/>
                <a:gd name="csY11" fmla="*/ 282716 h 658332"/>
                <a:gd name="csX12" fmla="*/ 311831 w 700031"/>
                <a:gd name="csY12" fmla="*/ 291050 h 658332"/>
                <a:gd name="csX13" fmla="*/ 303496 w 700031"/>
                <a:gd name="csY13" fmla="*/ 282716 h 658332"/>
                <a:gd name="csX14" fmla="*/ 303496 w 700031"/>
                <a:gd name="csY14" fmla="*/ 282563 h 658332"/>
                <a:gd name="csX15" fmla="*/ 311831 w 700031"/>
                <a:gd name="csY15" fmla="*/ 274229 h 658332"/>
                <a:gd name="csX16" fmla="*/ 320165 w 700031"/>
                <a:gd name="csY16" fmla="*/ 282563 h 658332"/>
                <a:gd name="csX17" fmla="*/ 360170 w 700031"/>
                <a:gd name="csY17" fmla="*/ 282563 h 658332"/>
                <a:gd name="csX18" fmla="*/ 360170 w 700031"/>
                <a:gd name="csY18" fmla="*/ 282716 h 658332"/>
                <a:gd name="csX19" fmla="*/ 351836 w 700031"/>
                <a:gd name="csY19" fmla="*/ 291050 h 658332"/>
                <a:gd name="csX20" fmla="*/ 343501 w 700031"/>
                <a:gd name="csY20" fmla="*/ 282716 h 658332"/>
                <a:gd name="csX21" fmla="*/ 343501 w 700031"/>
                <a:gd name="csY21" fmla="*/ 282563 h 658332"/>
                <a:gd name="csX22" fmla="*/ 351836 w 700031"/>
                <a:gd name="csY22" fmla="*/ 274229 h 658332"/>
                <a:gd name="csX23" fmla="*/ 360170 w 700031"/>
                <a:gd name="csY23" fmla="*/ 282563 h 658332"/>
                <a:gd name="csX24" fmla="*/ 400175 w 700031"/>
                <a:gd name="csY24" fmla="*/ 282563 h 658332"/>
                <a:gd name="csX25" fmla="*/ 400175 w 700031"/>
                <a:gd name="csY25" fmla="*/ 282716 h 658332"/>
                <a:gd name="csX26" fmla="*/ 391841 w 700031"/>
                <a:gd name="csY26" fmla="*/ 291050 h 658332"/>
                <a:gd name="csX27" fmla="*/ 383506 w 700031"/>
                <a:gd name="csY27" fmla="*/ 282716 h 658332"/>
                <a:gd name="csX28" fmla="*/ 383506 w 700031"/>
                <a:gd name="csY28" fmla="*/ 282563 h 658332"/>
                <a:gd name="csX29" fmla="*/ 391841 w 700031"/>
                <a:gd name="csY29" fmla="*/ 274229 h 658332"/>
                <a:gd name="csX30" fmla="*/ 400175 w 700031"/>
                <a:gd name="csY30" fmla="*/ 282563 h 658332"/>
                <a:gd name="csX31" fmla="*/ 193107 w 700031"/>
                <a:gd name="csY31" fmla="*/ 44672 h 658332"/>
                <a:gd name="csX32" fmla="*/ 184773 w 700031"/>
                <a:gd name="csY32" fmla="*/ 53007 h 658332"/>
                <a:gd name="csX33" fmla="*/ 109528 w 700031"/>
                <a:gd name="csY33" fmla="*/ 53007 h 658332"/>
                <a:gd name="csX34" fmla="*/ 101193 w 700031"/>
                <a:gd name="csY34" fmla="*/ 44672 h 658332"/>
                <a:gd name="csX35" fmla="*/ 109528 w 700031"/>
                <a:gd name="csY35" fmla="*/ 36338 h 658332"/>
                <a:gd name="csX36" fmla="*/ 184773 w 700031"/>
                <a:gd name="csY36" fmla="*/ 36338 h 658332"/>
                <a:gd name="csX37" fmla="*/ 193107 w 700031"/>
                <a:gd name="csY37" fmla="*/ 44672 h 658332"/>
                <a:gd name="csX38" fmla="*/ 193107 w 700031"/>
                <a:gd name="csY38" fmla="*/ 80510 h 658332"/>
                <a:gd name="csX39" fmla="*/ 184773 w 700031"/>
                <a:gd name="csY39" fmla="*/ 88844 h 658332"/>
                <a:gd name="csX40" fmla="*/ 46172 w 700031"/>
                <a:gd name="csY40" fmla="*/ 88844 h 658332"/>
                <a:gd name="csX41" fmla="*/ 37838 w 700031"/>
                <a:gd name="csY41" fmla="*/ 80510 h 658332"/>
                <a:gd name="csX42" fmla="*/ 46172 w 700031"/>
                <a:gd name="csY42" fmla="*/ 72176 h 658332"/>
                <a:gd name="csX43" fmla="*/ 184773 w 700031"/>
                <a:gd name="csY43" fmla="*/ 72176 h 658332"/>
                <a:gd name="csX44" fmla="*/ 193107 w 700031"/>
                <a:gd name="csY44" fmla="*/ 80510 h 658332"/>
                <a:gd name="csX45" fmla="*/ 193107 w 700031"/>
                <a:gd name="csY45" fmla="*/ 116306 h 658332"/>
                <a:gd name="csX46" fmla="*/ 184773 w 700031"/>
                <a:gd name="csY46" fmla="*/ 124641 h 658332"/>
                <a:gd name="csX47" fmla="*/ 46172 w 700031"/>
                <a:gd name="csY47" fmla="*/ 124641 h 658332"/>
                <a:gd name="csX48" fmla="*/ 37838 w 700031"/>
                <a:gd name="csY48" fmla="*/ 116306 h 658332"/>
                <a:gd name="csX49" fmla="*/ 46172 w 700031"/>
                <a:gd name="csY49" fmla="*/ 107972 h 658332"/>
                <a:gd name="csX50" fmla="*/ 184773 w 700031"/>
                <a:gd name="csY50" fmla="*/ 107972 h 658332"/>
                <a:gd name="csX51" fmla="*/ 193107 w 700031"/>
                <a:gd name="csY51" fmla="*/ 116306 h 658332"/>
                <a:gd name="csX52" fmla="*/ 37838 w 700031"/>
                <a:gd name="csY52" fmla="*/ 44672 h 658332"/>
                <a:gd name="csX53" fmla="*/ 46172 w 700031"/>
                <a:gd name="csY53" fmla="*/ 36338 h 658332"/>
                <a:gd name="csX54" fmla="*/ 75704 w 700031"/>
                <a:gd name="csY54" fmla="*/ 36338 h 658332"/>
                <a:gd name="csX55" fmla="*/ 84038 w 700031"/>
                <a:gd name="csY55" fmla="*/ 44672 h 658332"/>
                <a:gd name="csX56" fmla="*/ 75704 w 700031"/>
                <a:gd name="csY56" fmla="*/ 53007 h 658332"/>
                <a:gd name="csX57" fmla="*/ 46172 w 700031"/>
                <a:gd name="csY57" fmla="*/ 53007 h 658332"/>
                <a:gd name="csX58" fmla="*/ 37838 w 700031"/>
                <a:gd name="csY58" fmla="*/ 44672 h 658332"/>
                <a:gd name="csX59" fmla="*/ 669959 w 700031"/>
                <a:gd name="csY59" fmla="*/ 0 h 658332"/>
                <a:gd name="csX60" fmla="*/ 499271 w 700031"/>
                <a:gd name="csY60" fmla="*/ 0 h 658332"/>
                <a:gd name="csX61" fmla="*/ 469170 w 700031"/>
                <a:gd name="csY61" fmla="*/ 30101 h 658332"/>
                <a:gd name="csX62" fmla="*/ 469170 w 700031"/>
                <a:gd name="csY62" fmla="*/ 130905 h 658332"/>
                <a:gd name="csX63" fmla="*/ 499271 w 700031"/>
                <a:gd name="csY63" fmla="*/ 161006 h 658332"/>
                <a:gd name="csX64" fmla="*/ 576308 w 700031"/>
                <a:gd name="csY64" fmla="*/ 161006 h 658332"/>
                <a:gd name="csX65" fmla="*/ 576308 w 700031"/>
                <a:gd name="csY65" fmla="*/ 273534 h 658332"/>
                <a:gd name="csX66" fmla="*/ 511856 w 700031"/>
                <a:gd name="csY66" fmla="*/ 273534 h 658332"/>
                <a:gd name="csX67" fmla="*/ 511856 w 700031"/>
                <a:gd name="csY67" fmla="*/ 265436 h 658332"/>
                <a:gd name="csX68" fmla="*/ 496909 w 700031"/>
                <a:gd name="csY68" fmla="*/ 245934 h 658332"/>
                <a:gd name="csX69" fmla="*/ 479810 w 700031"/>
                <a:gd name="csY69" fmla="*/ 241350 h 658332"/>
                <a:gd name="csX70" fmla="*/ 471531 w 700031"/>
                <a:gd name="csY70" fmla="*/ 221375 h 658332"/>
                <a:gd name="csX71" fmla="*/ 480407 w 700031"/>
                <a:gd name="csY71" fmla="*/ 206012 h 658332"/>
                <a:gd name="csX72" fmla="*/ 477185 w 700031"/>
                <a:gd name="csY72" fmla="*/ 181675 h 658332"/>
                <a:gd name="csX73" fmla="*/ 452848 w 700031"/>
                <a:gd name="csY73" fmla="*/ 157339 h 658332"/>
                <a:gd name="csX74" fmla="*/ 428498 w 700031"/>
                <a:gd name="csY74" fmla="*/ 154130 h 658332"/>
                <a:gd name="csX75" fmla="*/ 413135 w 700031"/>
                <a:gd name="csY75" fmla="*/ 162993 h 658332"/>
                <a:gd name="csX76" fmla="*/ 393160 w 700031"/>
                <a:gd name="csY76" fmla="*/ 154714 h 658332"/>
                <a:gd name="csX77" fmla="*/ 388562 w 700031"/>
                <a:gd name="csY77" fmla="*/ 137545 h 658332"/>
                <a:gd name="csX78" fmla="*/ 369060 w 700031"/>
                <a:gd name="csY78" fmla="*/ 122613 h 658332"/>
                <a:gd name="csX79" fmla="*/ 334653 w 700031"/>
                <a:gd name="csY79" fmla="*/ 122613 h 658332"/>
                <a:gd name="csX80" fmla="*/ 315151 w 700031"/>
                <a:gd name="csY80" fmla="*/ 137573 h 658332"/>
                <a:gd name="csX81" fmla="*/ 310567 w 700031"/>
                <a:gd name="csY81" fmla="*/ 154714 h 658332"/>
                <a:gd name="csX82" fmla="*/ 290592 w 700031"/>
                <a:gd name="csY82" fmla="*/ 162993 h 658332"/>
                <a:gd name="csX83" fmla="*/ 275243 w 700031"/>
                <a:gd name="csY83" fmla="*/ 154130 h 658332"/>
                <a:gd name="csX84" fmla="*/ 250879 w 700031"/>
                <a:gd name="csY84" fmla="*/ 157339 h 658332"/>
                <a:gd name="csX85" fmla="*/ 226570 w 700031"/>
                <a:gd name="csY85" fmla="*/ 181648 h 658332"/>
                <a:gd name="csX86" fmla="*/ 223333 w 700031"/>
                <a:gd name="csY86" fmla="*/ 206026 h 658332"/>
                <a:gd name="csX87" fmla="*/ 232196 w 700031"/>
                <a:gd name="csY87" fmla="*/ 221389 h 658332"/>
                <a:gd name="csX88" fmla="*/ 223917 w 700031"/>
                <a:gd name="csY88" fmla="*/ 241364 h 658332"/>
                <a:gd name="csX89" fmla="*/ 206804 w 700031"/>
                <a:gd name="csY89" fmla="*/ 245947 h 658332"/>
                <a:gd name="csX90" fmla="*/ 191816 w 700031"/>
                <a:gd name="csY90" fmla="*/ 265450 h 658332"/>
                <a:gd name="csX91" fmla="*/ 191816 w 700031"/>
                <a:gd name="csY91" fmla="*/ 274326 h 658332"/>
                <a:gd name="csX92" fmla="*/ 116056 w 700031"/>
                <a:gd name="csY92" fmla="*/ 274326 h 658332"/>
                <a:gd name="csX93" fmla="*/ 116056 w 700031"/>
                <a:gd name="csY93" fmla="*/ 161006 h 658332"/>
                <a:gd name="csX94" fmla="*/ 200817 w 700031"/>
                <a:gd name="csY94" fmla="*/ 161006 h 658332"/>
                <a:gd name="csX95" fmla="*/ 230959 w 700031"/>
                <a:gd name="csY95" fmla="*/ 130905 h 658332"/>
                <a:gd name="csX96" fmla="*/ 230959 w 700031"/>
                <a:gd name="csY96" fmla="*/ 30101 h 658332"/>
                <a:gd name="csX97" fmla="*/ 200817 w 700031"/>
                <a:gd name="csY97" fmla="*/ 0 h 658332"/>
                <a:gd name="csX98" fmla="*/ 30101 w 700031"/>
                <a:gd name="csY98" fmla="*/ 0 h 658332"/>
                <a:gd name="csX99" fmla="*/ 0 w 700031"/>
                <a:gd name="csY99" fmla="*/ 30101 h 658332"/>
                <a:gd name="csX100" fmla="*/ 0 w 700031"/>
                <a:gd name="csY100" fmla="*/ 130905 h 658332"/>
                <a:gd name="csX101" fmla="*/ 30101 w 700031"/>
                <a:gd name="csY101" fmla="*/ 161006 h 658332"/>
                <a:gd name="csX102" fmla="*/ 99387 w 700031"/>
                <a:gd name="csY102" fmla="*/ 161006 h 658332"/>
                <a:gd name="csX103" fmla="*/ 99387 w 700031"/>
                <a:gd name="csY103" fmla="*/ 282660 h 658332"/>
                <a:gd name="csX104" fmla="*/ 107722 w 700031"/>
                <a:gd name="csY104" fmla="*/ 290995 h 658332"/>
                <a:gd name="csX105" fmla="*/ 191802 w 700031"/>
                <a:gd name="csY105" fmla="*/ 290995 h 658332"/>
                <a:gd name="csX106" fmla="*/ 191802 w 700031"/>
                <a:gd name="csY106" fmla="*/ 299871 h 658332"/>
                <a:gd name="csX107" fmla="*/ 206790 w 700031"/>
                <a:gd name="csY107" fmla="*/ 319332 h 658332"/>
                <a:gd name="csX108" fmla="*/ 223889 w 700031"/>
                <a:gd name="csY108" fmla="*/ 323915 h 658332"/>
                <a:gd name="csX109" fmla="*/ 232182 w 700031"/>
                <a:gd name="csY109" fmla="*/ 343932 h 658332"/>
                <a:gd name="csX110" fmla="*/ 223306 w 700031"/>
                <a:gd name="csY110" fmla="*/ 359267 h 658332"/>
                <a:gd name="csX111" fmla="*/ 226528 w 700031"/>
                <a:gd name="csY111" fmla="*/ 383645 h 658332"/>
                <a:gd name="csX112" fmla="*/ 231501 w 700031"/>
                <a:gd name="csY112" fmla="*/ 388618 h 658332"/>
                <a:gd name="csX113" fmla="*/ 163757 w 700031"/>
                <a:gd name="csY113" fmla="*/ 456363 h 658332"/>
                <a:gd name="csX114" fmla="*/ 161312 w 700031"/>
                <a:gd name="csY114" fmla="*/ 462252 h 658332"/>
                <a:gd name="csX115" fmla="*/ 161312 w 700031"/>
                <a:gd name="csY115" fmla="*/ 515856 h 658332"/>
                <a:gd name="csX116" fmla="*/ 98193 w 700031"/>
                <a:gd name="csY116" fmla="*/ 586837 h 658332"/>
                <a:gd name="csX117" fmla="*/ 169632 w 700031"/>
                <a:gd name="csY117" fmla="*/ 658318 h 658332"/>
                <a:gd name="csX118" fmla="*/ 241113 w 700031"/>
                <a:gd name="csY118" fmla="*/ 586837 h 658332"/>
                <a:gd name="csX119" fmla="*/ 177953 w 700031"/>
                <a:gd name="csY119" fmla="*/ 515856 h 658332"/>
                <a:gd name="csX120" fmla="*/ 177953 w 700031"/>
                <a:gd name="csY120" fmla="*/ 465711 h 658332"/>
                <a:gd name="csX121" fmla="*/ 243253 w 700031"/>
                <a:gd name="csY121" fmla="*/ 400411 h 658332"/>
                <a:gd name="csX122" fmla="*/ 250837 w 700031"/>
                <a:gd name="csY122" fmla="*/ 407995 h 658332"/>
                <a:gd name="csX123" fmla="*/ 275187 w 700031"/>
                <a:gd name="csY123" fmla="*/ 411204 h 658332"/>
                <a:gd name="csX124" fmla="*/ 290564 w 700031"/>
                <a:gd name="csY124" fmla="*/ 402328 h 658332"/>
                <a:gd name="csX125" fmla="*/ 310525 w 700031"/>
                <a:gd name="csY125" fmla="*/ 410607 h 658332"/>
                <a:gd name="csX126" fmla="*/ 315123 w 700031"/>
                <a:gd name="csY126" fmla="*/ 427734 h 658332"/>
                <a:gd name="csX127" fmla="*/ 334625 w 700031"/>
                <a:gd name="csY127" fmla="*/ 442680 h 658332"/>
                <a:gd name="csX128" fmla="*/ 341695 w 700031"/>
                <a:gd name="csY128" fmla="*/ 442680 h 658332"/>
                <a:gd name="csX129" fmla="*/ 341695 w 700031"/>
                <a:gd name="csY129" fmla="*/ 515870 h 658332"/>
                <a:gd name="csX130" fmla="*/ 278535 w 700031"/>
                <a:gd name="csY130" fmla="*/ 586851 h 658332"/>
                <a:gd name="csX131" fmla="*/ 350016 w 700031"/>
                <a:gd name="csY131" fmla="*/ 658332 h 658332"/>
                <a:gd name="csX132" fmla="*/ 421497 w 700031"/>
                <a:gd name="csY132" fmla="*/ 586851 h 658332"/>
                <a:gd name="csX133" fmla="*/ 358336 w 700031"/>
                <a:gd name="csY133" fmla="*/ 515870 h 658332"/>
                <a:gd name="csX134" fmla="*/ 358336 w 700031"/>
                <a:gd name="csY134" fmla="*/ 442680 h 658332"/>
                <a:gd name="csX135" fmla="*/ 369032 w 700031"/>
                <a:gd name="csY135" fmla="*/ 442680 h 658332"/>
                <a:gd name="csX136" fmla="*/ 388535 w 700031"/>
                <a:gd name="csY136" fmla="*/ 427734 h 658332"/>
                <a:gd name="csX137" fmla="*/ 393132 w 700031"/>
                <a:gd name="csY137" fmla="*/ 410607 h 658332"/>
                <a:gd name="csX138" fmla="*/ 413107 w 700031"/>
                <a:gd name="csY138" fmla="*/ 402328 h 658332"/>
                <a:gd name="csX139" fmla="*/ 428456 w 700031"/>
                <a:gd name="csY139" fmla="*/ 411190 h 658332"/>
                <a:gd name="csX140" fmla="*/ 452820 w 700031"/>
                <a:gd name="csY140" fmla="*/ 407982 h 658332"/>
                <a:gd name="csX141" fmla="*/ 458585 w 700031"/>
                <a:gd name="csY141" fmla="*/ 402217 h 658332"/>
                <a:gd name="csX142" fmla="*/ 522079 w 700031"/>
                <a:gd name="csY142" fmla="*/ 465711 h 658332"/>
                <a:gd name="csX143" fmla="*/ 522079 w 700031"/>
                <a:gd name="csY143" fmla="*/ 515856 h 658332"/>
                <a:gd name="csX144" fmla="*/ 458919 w 700031"/>
                <a:gd name="csY144" fmla="*/ 586837 h 658332"/>
                <a:gd name="csX145" fmla="*/ 530400 w 700031"/>
                <a:gd name="csY145" fmla="*/ 658318 h 658332"/>
                <a:gd name="csX146" fmla="*/ 601881 w 700031"/>
                <a:gd name="csY146" fmla="*/ 586837 h 658332"/>
                <a:gd name="csX147" fmla="*/ 538720 w 700031"/>
                <a:gd name="csY147" fmla="*/ 515856 h 658332"/>
                <a:gd name="csX148" fmla="*/ 538720 w 700031"/>
                <a:gd name="csY148" fmla="*/ 462252 h 658332"/>
                <a:gd name="csX149" fmla="*/ 536275 w 700031"/>
                <a:gd name="csY149" fmla="*/ 456363 h 658332"/>
                <a:gd name="csX150" fmla="*/ 470337 w 700031"/>
                <a:gd name="csY150" fmla="*/ 390424 h 658332"/>
                <a:gd name="csX151" fmla="*/ 477129 w 700031"/>
                <a:gd name="csY151" fmla="*/ 383631 h 658332"/>
                <a:gd name="csX152" fmla="*/ 480338 w 700031"/>
                <a:gd name="csY152" fmla="*/ 359239 h 658332"/>
                <a:gd name="csX153" fmla="*/ 471476 w 700031"/>
                <a:gd name="csY153" fmla="*/ 343918 h 658332"/>
                <a:gd name="csX154" fmla="*/ 479768 w 700031"/>
                <a:gd name="csY154" fmla="*/ 323915 h 658332"/>
                <a:gd name="csX155" fmla="*/ 496868 w 700031"/>
                <a:gd name="csY155" fmla="*/ 319359 h 658332"/>
                <a:gd name="csX156" fmla="*/ 511814 w 700031"/>
                <a:gd name="csY156" fmla="*/ 299857 h 658332"/>
                <a:gd name="csX157" fmla="*/ 511814 w 700031"/>
                <a:gd name="csY157" fmla="*/ 290189 h 658332"/>
                <a:gd name="csX158" fmla="*/ 584601 w 700031"/>
                <a:gd name="csY158" fmla="*/ 290189 h 658332"/>
                <a:gd name="csX159" fmla="*/ 592935 w 700031"/>
                <a:gd name="csY159" fmla="*/ 281855 h 658332"/>
                <a:gd name="csX160" fmla="*/ 592935 w 700031"/>
                <a:gd name="csY160" fmla="*/ 160992 h 658332"/>
                <a:gd name="csX161" fmla="*/ 669931 w 700031"/>
                <a:gd name="csY161" fmla="*/ 160992 h 658332"/>
                <a:gd name="csX162" fmla="*/ 700032 w 700031"/>
                <a:gd name="csY162" fmla="*/ 130891 h 658332"/>
                <a:gd name="csX163" fmla="*/ 700032 w 700031"/>
                <a:gd name="csY163" fmla="*/ 30101 h 658332"/>
                <a:gd name="csX164" fmla="*/ 669931 w 700031"/>
                <a:gd name="csY164" fmla="*/ 0 h 658332"/>
                <a:gd name="csX165" fmla="*/ 16655 w 700031"/>
                <a:gd name="csY165" fmla="*/ 130905 h 658332"/>
                <a:gd name="csX166" fmla="*/ 16655 w 700031"/>
                <a:gd name="csY166" fmla="*/ 30101 h 658332"/>
                <a:gd name="csX167" fmla="*/ 30101 w 700031"/>
                <a:gd name="csY167" fmla="*/ 16655 h 658332"/>
                <a:gd name="csX168" fmla="*/ 200789 w 700031"/>
                <a:gd name="csY168" fmla="*/ 16655 h 658332"/>
                <a:gd name="csX169" fmla="*/ 214277 w 700031"/>
                <a:gd name="csY169" fmla="*/ 30101 h 658332"/>
                <a:gd name="csX170" fmla="*/ 214277 w 700031"/>
                <a:gd name="csY170" fmla="*/ 130905 h 658332"/>
                <a:gd name="csX171" fmla="*/ 200789 w 700031"/>
                <a:gd name="csY171" fmla="*/ 144351 h 658332"/>
                <a:gd name="csX172" fmla="*/ 30101 w 700031"/>
                <a:gd name="csY172" fmla="*/ 144351 h 658332"/>
                <a:gd name="csX173" fmla="*/ 16655 w 700031"/>
                <a:gd name="csY173" fmla="*/ 130905 h 658332"/>
                <a:gd name="csX174" fmla="*/ 224473 w 700031"/>
                <a:gd name="csY174" fmla="*/ 586823 h 658332"/>
                <a:gd name="csX175" fmla="*/ 169646 w 700031"/>
                <a:gd name="csY175" fmla="*/ 641650 h 658332"/>
                <a:gd name="csX176" fmla="*/ 114862 w 700031"/>
                <a:gd name="csY176" fmla="*/ 586823 h 658332"/>
                <a:gd name="csX177" fmla="*/ 169646 w 700031"/>
                <a:gd name="csY177" fmla="*/ 531997 h 658332"/>
                <a:gd name="csX178" fmla="*/ 224473 w 700031"/>
                <a:gd name="csY178" fmla="*/ 586823 h 658332"/>
                <a:gd name="csX179" fmla="*/ 404856 w 700031"/>
                <a:gd name="csY179" fmla="*/ 586823 h 658332"/>
                <a:gd name="csX180" fmla="*/ 350030 w 700031"/>
                <a:gd name="csY180" fmla="*/ 641650 h 658332"/>
                <a:gd name="csX181" fmla="*/ 295204 w 700031"/>
                <a:gd name="csY181" fmla="*/ 586823 h 658332"/>
                <a:gd name="csX182" fmla="*/ 350030 w 700031"/>
                <a:gd name="csY182" fmla="*/ 531997 h 658332"/>
                <a:gd name="csX183" fmla="*/ 404856 w 700031"/>
                <a:gd name="csY183" fmla="*/ 586823 h 658332"/>
                <a:gd name="csX184" fmla="*/ 585240 w 700031"/>
                <a:gd name="csY184" fmla="*/ 586823 h 658332"/>
                <a:gd name="csX185" fmla="*/ 530414 w 700031"/>
                <a:gd name="csY185" fmla="*/ 641650 h 658332"/>
                <a:gd name="csX186" fmla="*/ 475587 w 700031"/>
                <a:gd name="csY186" fmla="*/ 586823 h 658332"/>
                <a:gd name="csX187" fmla="*/ 530414 w 700031"/>
                <a:gd name="csY187" fmla="*/ 531997 h 658332"/>
                <a:gd name="csX188" fmla="*/ 585240 w 700031"/>
                <a:gd name="csY188" fmla="*/ 586823 h 658332"/>
                <a:gd name="csX189" fmla="*/ 495187 w 700031"/>
                <a:gd name="csY189" fmla="*/ 299857 h 658332"/>
                <a:gd name="csX190" fmla="*/ 492589 w 700031"/>
                <a:gd name="csY190" fmla="*/ 303274 h 658332"/>
                <a:gd name="csX191" fmla="*/ 471017 w 700031"/>
                <a:gd name="csY191" fmla="*/ 309025 h 658332"/>
                <a:gd name="csX192" fmla="*/ 465141 w 700031"/>
                <a:gd name="csY192" fmla="*/ 314817 h 658332"/>
                <a:gd name="csX193" fmla="*/ 454710 w 700031"/>
                <a:gd name="csY193" fmla="*/ 340029 h 658332"/>
                <a:gd name="csX194" fmla="*/ 454779 w 700031"/>
                <a:gd name="csY194" fmla="*/ 348252 h 658332"/>
                <a:gd name="csX195" fmla="*/ 465947 w 700031"/>
                <a:gd name="csY195" fmla="*/ 367560 h 658332"/>
                <a:gd name="csX196" fmla="*/ 465391 w 700031"/>
                <a:gd name="csY196" fmla="*/ 371852 h 658332"/>
                <a:gd name="csX197" fmla="*/ 441055 w 700031"/>
                <a:gd name="csY197" fmla="*/ 396188 h 658332"/>
                <a:gd name="csX198" fmla="*/ 436819 w 700031"/>
                <a:gd name="csY198" fmla="*/ 396758 h 658332"/>
                <a:gd name="csX199" fmla="*/ 417441 w 700031"/>
                <a:gd name="csY199" fmla="*/ 385576 h 658332"/>
                <a:gd name="csX200" fmla="*/ 409218 w 700031"/>
                <a:gd name="csY200" fmla="*/ 385520 h 658332"/>
                <a:gd name="csX201" fmla="*/ 384006 w 700031"/>
                <a:gd name="csY201" fmla="*/ 395966 h 658332"/>
                <a:gd name="csX202" fmla="*/ 378256 w 700031"/>
                <a:gd name="csY202" fmla="*/ 401814 h 658332"/>
                <a:gd name="csX203" fmla="*/ 372463 w 700031"/>
                <a:gd name="csY203" fmla="*/ 423386 h 658332"/>
                <a:gd name="csX204" fmla="*/ 369046 w 700031"/>
                <a:gd name="csY204" fmla="*/ 425998 h 658332"/>
                <a:gd name="csX205" fmla="*/ 334639 w 700031"/>
                <a:gd name="csY205" fmla="*/ 425998 h 658332"/>
                <a:gd name="csX206" fmla="*/ 331222 w 700031"/>
                <a:gd name="csY206" fmla="*/ 423386 h 658332"/>
                <a:gd name="csX207" fmla="*/ 325430 w 700031"/>
                <a:gd name="csY207" fmla="*/ 401814 h 658332"/>
                <a:gd name="csX208" fmla="*/ 319679 w 700031"/>
                <a:gd name="csY208" fmla="*/ 395966 h 658332"/>
                <a:gd name="csX209" fmla="*/ 294440 w 700031"/>
                <a:gd name="csY209" fmla="*/ 385507 h 658332"/>
                <a:gd name="csX210" fmla="*/ 290411 w 700031"/>
                <a:gd name="csY210" fmla="*/ 384465 h 658332"/>
                <a:gd name="csX211" fmla="*/ 286244 w 700031"/>
                <a:gd name="csY211" fmla="*/ 385576 h 658332"/>
                <a:gd name="csX212" fmla="*/ 266853 w 700031"/>
                <a:gd name="csY212" fmla="*/ 396772 h 658332"/>
                <a:gd name="csX213" fmla="*/ 262630 w 700031"/>
                <a:gd name="csY213" fmla="*/ 396202 h 658332"/>
                <a:gd name="csX214" fmla="*/ 238294 w 700031"/>
                <a:gd name="csY214" fmla="*/ 371866 h 658332"/>
                <a:gd name="csX215" fmla="*/ 237724 w 700031"/>
                <a:gd name="csY215" fmla="*/ 367588 h 658332"/>
                <a:gd name="csX216" fmla="*/ 248906 w 700031"/>
                <a:gd name="csY216" fmla="*/ 348252 h 658332"/>
                <a:gd name="csX217" fmla="*/ 248976 w 700031"/>
                <a:gd name="csY217" fmla="*/ 340029 h 658332"/>
                <a:gd name="csX218" fmla="*/ 238544 w 700031"/>
                <a:gd name="csY218" fmla="*/ 314817 h 658332"/>
                <a:gd name="csX219" fmla="*/ 232682 w 700031"/>
                <a:gd name="csY219" fmla="*/ 309025 h 658332"/>
                <a:gd name="csX220" fmla="*/ 211054 w 700031"/>
                <a:gd name="csY220" fmla="*/ 303218 h 658332"/>
                <a:gd name="csX221" fmla="*/ 208457 w 700031"/>
                <a:gd name="csY221" fmla="*/ 299857 h 658332"/>
                <a:gd name="csX222" fmla="*/ 208457 w 700031"/>
                <a:gd name="csY222" fmla="*/ 265505 h 658332"/>
                <a:gd name="csX223" fmla="*/ 211110 w 700031"/>
                <a:gd name="csY223" fmla="*/ 262033 h 658332"/>
                <a:gd name="csX224" fmla="*/ 232682 w 700031"/>
                <a:gd name="csY224" fmla="*/ 256240 h 658332"/>
                <a:gd name="csX225" fmla="*/ 238544 w 700031"/>
                <a:gd name="csY225" fmla="*/ 250462 h 658332"/>
                <a:gd name="csX226" fmla="*/ 248976 w 700031"/>
                <a:gd name="csY226" fmla="*/ 225306 h 658332"/>
                <a:gd name="csX227" fmla="*/ 248920 w 700031"/>
                <a:gd name="csY227" fmla="*/ 217069 h 658332"/>
                <a:gd name="csX228" fmla="*/ 237752 w 700031"/>
                <a:gd name="csY228" fmla="*/ 197705 h 658332"/>
                <a:gd name="csX229" fmla="*/ 238308 w 700031"/>
                <a:gd name="csY229" fmla="*/ 193455 h 658332"/>
                <a:gd name="csX230" fmla="*/ 262644 w 700031"/>
                <a:gd name="csY230" fmla="*/ 169118 h 658332"/>
                <a:gd name="csX231" fmla="*/ 266881 w 700031"/>
                <a:gd name="csY231" fmla="*/ 168549 h 658332"/>
                <a:gd name="csX232" fmla="*/ 286258 w 700031"/>
                <a:gd name="csY232" fmla="*/ 179731 h 658332"/>
                <a:gd name="csX233" fmla="*/ 294481 w 700031"/>
                <a:gd name="csY233" fmla="*/ 179786 h 658332"/>
                <a:gd name="csX234" fmla="*/ 319651 w 700031"/>
                <a:gd name="csY234" fmla="*/ 169341 h 658332"/>
                <a:gd name="csX235" fmla="*/ 325430 w 700031"/>
                <a:gd name="csY235" fmla="*/ 163479 h 658332"/>
                <a:gd name="csX236" fmla="*/ 331208 w 700031"/>
                <a:gd name="csY236" fmla="*/ 141879 h 658332"/>
                <a:gd name="csX237" fmla="*/ 334625 w 700031"/>
                <a:gd name="csY237" fmla="*/ 139254 h 658332"/>
                <a:gd name="csX238" fmla="*/ 369032 w 700031"/>
                <a:gd name="csY238" fmla="*/ 139254 h 658332"/>
                <a:gd name="csX239" fmla="*/ 372449 w 700031"/>
                <a:gd name="csY239" fmla="*/ 141865 h 658332"/>
                <a:gd name="csX240" fmla="*/ 378242 w 700031"/>
                <a:gd name="csY240" fmla="*/ 163479 h 658332"/>
                <a:gd name="csX241" fmla="*/ 384020 w 700031"/>
                <a:gd name="csY241" fmla="*/ 169341 h 658332"/>
                <a:gd name="csX242" fmla="*/ 409190 w 700031"/>
                <a:gd name="csY242" fmla="*/ 179786 h 658332"/>
                <a:gd name="csX243" fmla="*/ 417413 w 700031"/>
                <a:gd name="csY243" fmla="*/ 179731 h 658332"/>
                <a:gd name="csX244" fmla="*/ 436805 w 700031"/>
                <a:gd name="csY244" fmla="*/ 168535 h 658332"/>
                <a:gd name="csX245" fmla="*/ 441027 w 700031"/>
                <a:gd name="csY245" fmla="*/ 169104 h 658332"/>
                <a:gd name="csX246" fmla="*/ 465391 w 700031"/>
                <a:gd name="csY246" fmla="*/ 193469 h 658332"/>
                <a:gd name="csX247" fmla="*/ 465933 w 700031"/>
                <a:gd name="csY247" fmla="*/ 197677 h 658332"/>
                <a:gd name="csX248" fmla="*/ 454751 w 700031"/>
                <a:gd name="csY248" fmla="*/ 217055 h 658332"/>
                <a:gd name="csX249" fmla="*/ 454696 w 700031"/>
                <a:gd name="csY249" fmla="*/ 225292 h 658332"/>
                <a:gd name="csX250" fmla="*/ 465128 w 700031"/>
                <a:gd name="csY250" fmla="*/ 250448 h 658332"/>
                <a:gd name="csX251" fmla="*/ 470989 w 700031"/>
                <a:gd name="csY251" fmla="*/ 256226 h 658332"/>
                <a:gd name="csX252" fmla="*/ 492562 w 700031"/>
                <a:gd name="csY252" fmla="*/ 262019 h 658332"/>
                <a:gd name="csX253" fmla="*/ 495173 w 700031"/>
                <a:gd name="csY253" fmla="*/ 265436 h 658332"/>
                <a:gd name="csX254" fmla="*/ 495173 w 700031"/>
                <a:gd name="csY254" fmla="*/ 299843 h 658332"/>
                <a:gd name="csX255" fmla="*/ 683405 w 700031"/>
                <a:gd name="csY255" fmla="*/ 130905 h 658332"/>
                <a:gd name="csX256" fmla="*/ 669959 w 700031"/>
                <a:gd name="csY256" fmla="*/ 144351 h 658332"/>
                <a:gd name="csX257" fmla="*/ 499271 w 700031"/>
                <a:gd name="csY257" fmla="*/ 144351 h 658332"/>
                <a:gd name="csX258" fmla="*/ 485825 w 700031"/>
                <a:gd name="csY258" fmla="*/ 130905 h 658332"/>
                <a:gd name="csX259" fmla="*/ 485825 w 700031"/>
                <a:gd name="csY259" fmla="*/ 30101 h 658332"/>
                <a:gd name="csX260" fmla="*/ 499271 w 700031"/>
                <a:gd name="csY260" fmla="*/ 16655 h 658332"/>
                <a:gd name="csX261" fmla="*/ 669959 w 700031"/>
                <a:gd name="csY261" fmla="*/ 16655 h 658332"/>
                <a:gd name="csX262" fmla="*/ 683405 w 700031"/>
                <a:gd name="csY262" fmla="*/ 30101 h 658332"/>
                <a:gd name="csX263" fmla="*/ 340209 w 700031"/>
                <a:gd name="csY263" fmla="*/ 591213 h 658332"/>
                <a:gd name="csX264" fmla="*/ 368477 w 700031"/>
                <a:gd name="csY264" fmla="*/ 562945 h 658332"/>
                <a:gd name="csX265" fmla="*/ 380256 w 700031"/>
                <a:gd name="csY265" fmla="*/ 562945 h 658332"/>
                <a:gd name="csX266" fmla="*/ 380256 w 700031"/>
                <a:gd name="csY266" fmla="*/ 574725 h 658332"/>
                <a:gd name="csX267" fmla="*/ 344307 w 700031"/>
                <a:gd name="csY267" fmla="*/ 610674 h 658332"/>
                <a:gd name="csX268" fmla="*/ 338417 w 700031"/>
                <a:gd name="csY268" fmla="*/ 613118 h 658332"/>
                <a:gd name="csX269" fmla="*/ 337334 w 700031"/>
                <a:gd name="csY269" fmla="*/ 613049 h 658332"/>
                <a:gd name="csX270" fmla="*/ 331208 w 700031"/>
                <a:gd name="csY270" fmla="*/ 608951 h 658332"/>
                <a:gd name="csX271" fmla="*/ 318526 w 700031"/>
                <a:gd name="csY271" fmla="*/ 586976 h 658332"/>
                <a:gd name="csX272" fmla="*/ 321582 w 700031"/>
                <a:gd name="csY272" fmla="*/ 575600 h 658332"/>
                <a:gd name="csX273" fmla="*/ 332958 w 700031"/>
                <a:gd name="csY273" fmla="*/ 578656 h 658332"/>
                <a:gd name="csX274" fmla="*/ 340209 w 700031"/>
                <a:gd name="csY274" fmla="*/ 591227 h 658332"/>
                <a:gd name="csX275" fmla="*/ 520551 w 700031"/>
                <a:gd name="csY275" fmla="*/ 591213 h 658332"/>
                <a:gd name="csX276" fmla="*/ 548819 w 700031"/>
                <a:gd name="csY276" fmla="*/ 562945 h 658332"/>
                <a:gd name="csX277" fmla="*/ 560598 w 700031"/>
                <a:gd name="csY277" fmla="*/ 562945 h 658332"/>
                <a:gd name="csX278" fmla="*/ 560598 w 700031"/>
                <a:gd name="csY278" fmla="*/ 574725 h 658332"/>
                <a:gd name="csX279" fmla="*/ 524649 w 700031"/>
                <a:gd name="csY279" fmla="*/ 610674 h 658332"/>
                <a:gd name="csX280" fmla="*/ 518759 w 700031"/>
                <a:gd name="csY280" fmla="*/ 613118 h 658332"/>
                <a:gd name="csX281" fmla="*/ 517676 w 700031"/>
                <a:gd name="csY281" fmla="*/ 613049 h 658332"/>
                <a:gd name="csX282" fmla="*/ 511550 w 700031"/>
                <a:gd name="csY282" fmla="*/ 608951 h 658332"/>
                <a:gd name="csX283" fmla="*/ 498868 w 700031"/>
                <a:gd name="csY283" fmla="*/ 586976 h 658332"/>
                <a:gd name="csX284" fmla="*/ 501924 w 700031"/>
                <a:gd name="csY284" fmla="*/ 575600 h 658332"/>
                <a:gd name="csX285" fmla="*/ 513300 w 700031"/>
                <a:gd name="csY285" fmla="*/ 578656 h 658332"/>
                <a:gd name="csX286" fmla="*/ 520551 w 700031"/>
                <a:gd name="csY286" fmla="*/ 591227 h 658332"/>
                <a:gd name="csX287" fmla="*/ 159839 w 700031"/>
                <a:gd name="csY287" fmla="*/ 591213 h 658332"/>
                <a:gd name="csX288" fmla="*/ 188107 w 700031"/>
                <a:gd name="csY288" fmla="*/ 562945 h 658332"/>
                <a:gd name="csX289" fmla="*/ 199886 w 700031"/>
                <a:gd name="csY289" fmla="*/ 562945 h 658332"/>
                <a:gd name="csX290" fmla="*/ 199886 w 700031"/>
                <a:gd name="csY290" fmla="*/ 574725 h 658332"/>
                <a:gd name="csX291" fmla="*/ 163937 w 700031"/>
                <a:gd name="csY291" fmla="*/ 610674 h 658332"/>
                <a:gd name="csX292" fmla="*/ 158048 w 700031"/>
                <a:gd name="csY292" fmla="*/ 613118 h 658332"/>
                <a:gd name="csX293" fmla="*/ 156964 w 700031"/>
                <a:gd name="csY293" fmla="*/ 613049 h 658332"/>
                <a:gd name="csX294" fmla="*/ 150838 w 700031"/>
                <a:gd name="csY294" fmla="*/ 608951 h 658332"/>
                <a:gd name="csX295" fmla="*/ 138156 w 700031"/>
                <a:gd name="csY295" fmla="*/ 586976 h 658332"/>
                <a:gd name="csX296" fmla="*/ 141212 w 700031"/>
                <a:gd name="csY296" fmla="*/ 575600 h 658332"/>
                <a:gd name="csX297" fmla="*/ 152589 w 700031"/>
                <a:gd name="csY297" fmla="*/ 578656 h 658332"/>
                <a:gd name="csX298" fmla="*/ 159839 w 700031"/>
                <a:gd name="csY298" fmla="*/ 591227 h 658332"/>
                <a:gd name="csX299" fmla="*/ 615202 w 700031"/>
                <a:gd name="csY299" fmla="*/ 61660 h 658332"/>
                <a:gd name="csX300" fmla="*/ 596380 w 700031"/>
                <a:gd name="csY300" fmla="*/ 80482 h 658332"/>
                <a:gd name="csX301" fmla="*/ 615202 w 700031"/>
                <a:gd name="csY301" fmla="*/ 99304 h 658332"/>
                <a:gd name="csX302" fmla="*/ 615202 w 700031"/>
                <a:gd name="csY302" fmla="*/ 111083 h 658332"/>
                <a:gd name="csX303" fmla="*/ 609312 w 700031"/>
                <a:gd name="csY303" fmla="*/ 113528 h 658332"/>
                <a:gd name="csX304" fmla="*/ 603423 w 700031"/>
                <a:gd name="csY304" fmla="*/ 111083 h 658332"/>
                <a:gd name="csX305" fmla="*/ 584601 w 700031"/>
                <a:gd name="csY305" fmla="*/ 92262 h 658332"/>
                <a:gd name="csX306" fmla="*/ 565779 w 700031"/>
                <a:gd name="csY306" fmla="*/ 111083 h 658332"/>
                <a:gd name="csX307" fmla="*/ 554000 w 700031"/>
                <a:gd name="csY307" fmla="*/ 111083 h 658332"/>
                <a:gd name="csX308" fmla="*/ 554000 w 700031"/>
                <a:gd name="csY308" fmla="*/ 99304 h 658332"/>
                <a:gd name="csX309" fmla="*/ 572822 w 700031"/>
                <a:gd name="csY309" fmla="*/ 80482 h 658332"/>
                <a:gd name="csX310" fmla="*/ 554000 w 700031"/>
                <a:gd name="csY310" fmla="*/ 61660 h 658332"/>
                <a:gd name="csX311" fmla="*/ 554000 w 700031"/>
                <a:gd name="csY311" fmla="*/ 49881 h 658332"/>
                <a:gd name="csX312" fmla="*/ 565779 w 700031"/>
                <a:gd name="csY312" fmla="*/ 49881 h 658332"/>
                <a:gd name="csX313" fmla="*/ 584601 w 700031"/>
                <a:gd name="csY313" fmla="*/ 68703 h 658332"/>
                <a:gd name="csX314" fmla="*/ 603423 w 700031"/>
                <a:gd name="csY314" fmla="*/ 49881 h 658332"/>
                <a:gd name="csX315" fmla="*/ 615202 w 700031"/>
                <a:gd name="csY315" fmla="*/ 49881 h 658332"/>
                <a:gd name="csX316" fmla="*/ 615202 w 700031"/>
                <a:gd name="csY316" fmla="*/ 61660 h 65833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 ang="0">
                  <a:pos x="csX144" y="csY144"/>
                </a:cxn>
                <a:cxn ang="0">
                  <a:pos x="csX145" y="csY145"/>
                </a:cxn>
                <a:cxn ang="0">
                  <a:pos x="csX146" y="csY146"/>
                </a:cxn>
                <a:cxn ang="0">
                  <a:pos x="csX147" y="csY147"/>
                </a:cxn>
                <a:cxn ang="0">
                  <a:pos x="csX148" y="csY148"/>
                </a:cxn>
                <a:cxn ang="0">
                  <a:pos x="csX149" y="csY149"/>
                </a:cxn>
                <a:cxn ang="0">
                  <a:pos x="csX150" y="csY150"/>
                </a:cxn>
                <a:cxn ang="0">
                  <a:pos x="csX151" y="csY151"/>
                </a:cxn>
                <a:cxn ang="0">
                  <a:pos x="csX152" y="csY152"/>
                </a:cxn>
                <a:cxn ang="0">
                  <a:pos x="csX153" y="csY153"/>
                </a:cxn>
                <a:cxn ang="0">
                  <a:pos x="csX154" y="csY154"/>
                </a:cxn>
                <a:cxn ang="0">
                  <a:pos x="csX155" y="csY155"/>
                </a:cxn>
                <a:cxn ang="0">
                  <a:pos x="csX156" y="csY156"/>
                </a:cxn>
                <a:cxn ang="0">
                  <a:pos x="csX157" y="csY157"/>
                </a:cxn>
                <a:cxn ang="0">
                  <a:pos x="csX158" y="csY158"/>
                </a:cxn>
                <a:cxn ang="0">
                  <a:pos x="csX159" y="csY159"/>
                </a:cxn>
                <a:cxn ang="0">
                  <a:pos x="csX160" y="csY160"/>
                </a:cxn>
                <a:cxn ang="0">
                  <a:pos x="csX161" y="csY161"/>
                </a:cxn>
                <a:cxn ang="0">
                  <a:pos x="csX162" y="csY162"/>
                </a:cxn>
                <a:cxn ang="0">
                  <a:pos x="csX163" y="csY163"/>
                </a:cxn>
                <a:cxn ang="0">
                  <a:pos x="csX164" y="csY164"/>
                </a:cxn>
                <a:cxn ang="0">
                  <a:pos x="csX165" y="csY165"/>
                </a:cxn>
                <a:cxn ang="0">
                  <a:pos x="csX166" y="csY166"/>
                </a:cxn>
                <a:cxn ang="0">
                  <a:pos x="csX167" y="csY167"/>
                </a:cxn>
                <a:cxn ang="0">
                  <a:pos x="csX168" y="csY168"/>
                </a:cxn>
                <a:cxn ang="0">
                  <a:pos x="csX169" y="csY169"/>
                </a:cxn>
                <a:cxn ang="0">
                  <a:pos x="csX170" y="csY170"/>
                </a:cxn>
                <a:cxn ang="0">
                  <a:pos x="csX171" y="csY171"/>
                </a:cxn>
                <a:cxn ang="0">
                  <a:pos x="csX172" y="csY172"/>
                </a:cxn>
                <a:cxn ang="0">
                  <a:pos x="csX173" y="csY173"/>
                </a:cxn>
                <a:cxn ang="0">
                  <a:pos x="csX174" y="csY174"/>
                </a:cxn>
                <a:cxn ang="0">
                  <a:pos x="csX175" y="csY175"/>
                </a:cxn>
                <a:cxn ang="0">
                  <a:pos x="csX176" y="csY176"/>
                </a:cxn>
                <a:cxn ang="0">
                  <a:pos x="csX177" y="csY177"/>
                </a:cxn>
                <a:cxn ang="0">
                  <a:pos x="csX178" y="csY178"/>
                </a:cxn>
                <a:cxn ang="0">
                  <a:pos x="csX179" y="csY179"/>
                </a:cxn>
                <a:cxn ang="0">
                  <a:pos x="csX180" y="csY180"/>
                </a:cxn>
                <a:cxn ang="0">
                  <a:pos x="csX181" y="csY181"/>
                </a:cxn>
                <a:cxn ang="0">
                  <a:pos x="csX182" y="csY182"/>
                </a:cxn>
                <a:cxn ang="0">
                  <a:pos x="csX183" y="csY183"/>
                </a:cxn>
                <a:cxn ang="0">
                  <a:pos x="csX184" y="csY184"/>
                </a:cxn>
                <a:cxn ang="0">
                  <a:pos x="csX185" y="csY185"/>
                </a:cxn>
                <a:cxn ang="0">
                  <a:pos x="csX186" y="csY186"/>
                </a:cxn>
                <a:cxn ang="0">
                  <a:pos x="csX187" y="csY187"/>
                </a:cxn>
                <a:cxn ang="0">
                  <a:pos x="csX188" y="csY188"/>
                </a:cxn>
                <a:cxn ang="0">
                  <a:pos x="csX189" y="csY189"/>
                </a:cxn>
                <a:cxn ang="0">
                  <a:pos x="csX190" y="csY190"/>
                </a:cxn>
                <a:cxn ang="0">
                  <a:pos x="csX191" y="csY191"/>
                </a:cxn>
                <a:cxn ang="0">
                  <a:pos x="csX192" y="csY192"/>
                </a:cxn>
                <a:cxn ang="0">
                  <a:pos x="csX193" y="csY193"/>
                </a:cxn>
                <a:cxn ang="0">
                  <a:pos x="csX194" y="csY194"/>
                </a:cxn>
                <a:cxn ang="0">
                  <a:pos x="csX195" y="csY195"/>
                </a:cxn>
                <a:cxn ang="0">
                  <a:pos x="csX196" y="csY196"/>
                </a:cxn>
                <a:cxn ang="0">
                  <a:pos x="csX197" y="csY197"/>
                </a:cxn>
                <a:cxn ang="0">
                  <a:pos x="csX198" y="csY198"/>
                </a:cxn>
                <a:cxn ang="0">
                  <a:pos x="csX199" y="csY199"/>
                </a:cxn>
                <a:cxn ang="0">
                  <a:pos x="csX200" y="csY200"/>
                </a:cxn>
                <a:cxn ang="0">
                  <a:pos x="csX201" y="csY201"/>
                </a:cxn>
                <a:cxn ang="0">
                  <a:pos x="csX202" y="csY202"/>
                </a:cxn>
                <a:cxn ang="0">
                  <a:pos x="csX203" y="csY203"/>
                </a:cxn>
                <a:cxn ang="0">
                  <a:pos x="csX204" y="csY204"/>
                </a:cxn>
                <a:cxn ang="0">
                  <a:pos x="csX205" y="csY205"/>
                </a:cxn>
                <a:cxn ang="0">
                  <a:pos x="csX206" y="csY206"/>
                </a:cxn>
                <a:cxn ang="0">
                  <a:pos x="csX207" y="csY207"/>
                </a:cxn>
                <a:cxn ang="0">
                  <a:pos x="csX208" y="csY208"/>
                </a:cxn>
                <a:cxn ang="0">
                  <a:pos x="csX209" y="csY209"/>
                </a:cxn>
                <a:cxn ang="0">
                  <a:pos x="csX210" y="csY210"/>
                </a:cxn>
                <a:cxn ang="0">
                  <a:pos x="csX211" y="csY211"/>
                </a:cxn>
                <a:cxn ang="0">
                  <a:pos x="csX212" y="csY212"/>
                </a:cxn>
                <a:cxn ang="0">
                  <a:pos x="csX213" y="csY213"/>
                </a:cxn>
                <a:cxn ang="0">
                  <a:pos x="csX214" y="csY214"/>
                </a:cxn>
                <a:cxn ang="0">
                  <a:pos x="csX215" y="csY215"/>
                </a:cxn>
                <a:cxn ang="0">
                  <a:pos x="csX216" y="csY216"/>
                </a:cxn>
                <a:cxn ang="0">
                  <a:pos x="csX217" y="csY217"/>
                </a:cxn>
                <a:cxn ang="0">
                  <a:pos x="csX218" y="csY218"/>
                </a:cxn>
                <a:cxn ang="0">
                  <a:pos x="csX219" y="csY219"/>
                </a:cxn>
                <a:cxn ang="0">
                  <a:pos x="csX220" y="csY220"/>
                </a:cxn>
                <a:cxn ang="0">
                  <a:pos x="csX221" y="csY221"/>
                </a:cxn>
                <a:cxn ang="0">
                  <a:pos x="csX222" y="csY222"/>
                </a:cxn>
                <a:cxn ang="0">
                  <a:pos x="csX223" y="csY223"/>
                </a:cxn>
                <a:cxn ang="0">
                  <a:pos x="csX224" y="csY224"/>
                </a:cxn>
                <a:cxn ang="0">
                  <a:pos x="csX225" y="csY225"/>
                </a:cxn>
                <a:cxn ang="0">
                  <a:pos x="csX226" y="csY226"/>
                </a:cxn>
                <a:cxn ang="0">
                  <a:pos x="csX227" y="csY227"/>
                </a:cxn>
                <a:cxn ang="0">
                  <a:pos x="csX228" y="csY228"/>
                </a:cxn>
                <a:cxn ang="0">
                  <a:pos x="csX229" y="csY229"/>
                </a:cxn>
                <a:cxn ang="0">
                  <a:pos x="csX230" y="csY230"/>
                </a:cxn>
                <a:cxn ang="0">
                  <a:pos x="csX231" y="csY231"/>
                </a:cxn>
                <a:cxn ang="0">
                  <a:pos x="csX232" y="csY232"/>
                </a:cxn>
                <a:cxn ang="0">
                  <a:pos x="csX233" y="csY233"/>
                </a:cxn>
                <a:cxn ang="0">
                  <a:pos x="csX234" y="csY234"/>
                </a:cxn>
                <a:cxn ang="0">
                  <a:pos x="csX235" y="csY235"/>
                </a:cxn>
                <a:cxn ang="0">
                  <a:pos x="csX236" y="csY236"/>
                </a:cxn>
                <a:cxn ang="0">
                  <a:pos x="csX237" y="csY237"/>
                </a:cxn>
                <a:cxn ang="0">
                  <a:pos x="csX238" y="csY238"/>
                </a:cxn>
                <a:cxn ang="0">
                  <a:pos x="csX239" y="csY239"/>
                </a:cxn>
                <a:cxn ang="0">
                  <a:pos x="csX240" y="csY240"/>
                </a:cxn>
                <a:cxn ang="0">
                  <a:pos x="csX241" y="csY241"/>
                </a:cxn>
                <a:cxn ang="0">
                  <a:pos x="csX242" y="csY242"/>
                </a:cxn>
                <a:cxn ang="0">
                  <a:pos x="csX243" y="csY243"/>
                </a:cxn>
                <a:cxn ang="0">
                  <a:pos x="csX244" y="csY244"/>
                </a:cxn>
                <a:cxn ang="0">
                  <a:pos x="csX245" y="csY245"/>
                </a:cxn>
                <a:cxn ang="0">
                  <a:pos x="csX246" y="csY246"/>
                </a:cxn>
                <a:cxn ang="0">
                  <a:pos x="csX247" y="csY247"/>
                </a:cxn>
                <a:cxn ang="0">
                  <a:pos x="csX248" y="csY248"/>
                </a:cxn>
                <a:cxn ang="0">
                  <a:pos x="csX249" y="csY249"/>
                </a:cxn>
                <a:cxn ang="0">
                  <a:pos x="csX250" y="csY250"/>
                </a:cxn>
                <a:cxn ang="0">
                  <a:pos x="csX251" y="csY251"/>
                </a:cxn>
                <a:cxn ang="0">
                  <a:pos x="csX252" y="csY252"/>
                </a:cxn>
                <a:cxn ang="0">
                  <a:pos x="csX253" y="csY253"/>
                </a:cxn>
                <a:cxn ang="0">
                  <a:pos x="csX254" y="csY254"/>
                </a:cxn>
                <a:cxn ang="0">
                  <a:pos x="csX255" y="csY255"/>
                </a:cxn>
                <a:cxn ang="0">
                  <a:pos x="csX256" y="csY256"/>
                </a:cxn>
                <a:cxn ang="0">
                  <a:pos x="csX257" y="csY257"/>
                </a:cxn>
                <a:cxn ang="0">
                  <a:pos x="csX258" y="csY258"/>
                </a:cxn>
                <a:cxn ang="0">
                  <a:pos x="csX259" y="csY259"/>
                </a:cxn>
                <a:cxn ang="0">
                  <a:pos x="csX260" y="csY260"/>
                </a:cxn>
                <a:cxn ang="0">
                  <a:pos x="csX261" y="csY261"/>
                </a:cxn>
                <a:cxn ang="0">
                  <a:pos x="csX262" y="csY262"/>
                </a:cxn>
                <a:cxn ang="0">
                  <a:pos x="csX263" y="csY263"/>
                </a:cxn>
                <a:cxn ang="0">
                  <a:pos x="csX264" y="csY264"/>
                </a:cxn>
                <a:cxn ang="0">
                  <a:pos x="csX265" y="csY265"/>
                </a:cxn>
                <a:cxn ang="0">
                  <a:pos x="csX266" y="csY266"/>
                </a:cxn>
                <a:cxn ang="0">
                  <a:pos x="csX267" y="csY267"/>
                </a:cxn>
                <a:cxn ang="0">
                  <a:pos x="csX268" y="csY268"/>
                </a:cxn>
                <a:cxn ang="0">
                  <a:pos x="csX269" y="csY269"/>
                </a:cxn>
                <a:cxn ang="0">
                  <a:pos x="csX270" y="csY270"/>
                </a:cxn>
                <a:cxn ang="0">
                  <a:pos x="csX271" y="csY271"/>
                </a:cxn>
                <a:cxn ang="0">
                  <a:pos x="csX272" y="csY272"/>
                </a:cxn>
                <a:cxn ang="0">
                  <a:pos x="csX273" y="csY273"/>
                </a:cxn>
                <a:cxn ang="0">
                  <a:pos x="csX274" y="csY274"/>
                </a:cxn>
                <a:cxn ang="0">
                  <a:pos x="csX275" y="csY275"/>
                </a:cxn>
                <a:cxn ang="0">
                  <a:pos x="csX276" y="csY276"/>
                </a:cxn>
                <a:cxn ang="0">
                  <a:pos x="csX277" y="csY277"/>
                </a:cxn>
                <a:cxn ang="0">
                  <a:pos x="csX278" y="csY278"/>
                </a:cxn>
                <a:cxn ang="0">
                  <a:pos x="csX279" y="csY279"/>
                </a:cxn>
                <a:cxn ang="0">
                  <a:pos x="csX280" y="csY280"/>
                </a:cxn>
                <a:cxn ang="0">
                  <a:pos x="csX281" y="csY281"/>
                </a:cxn>
                <a:cxn ang="0">
                  <a:pos x="csX282" y="csY282"/>
                </a:cxn>
                <a:cxn ang="0">
                  <a:pos x="csX283" y="csY283"/>
                </a:cxn>
                <a:cxn ang="0">
                  <a:pos x="csX284" y="csY284"/>
                </a:cxn>
                <a:cxn ang="0">
                  <a:pos x="csX285" y="csY285"/>
                </a:cxn>
                <a:cxn ang="0">
                  <a:pos x="csX286" y="csY286"/>
                </a:cxn>
                <a:cxn ang="0">
                  <a:pos x="csX287" y="csY287"/>
                </a:cxn>
                <a:cxn ang="0">
                  <a:pos x="csX288" y="csY288"/>
                </a:cxn>
                <a:cxn ang="0">
                  <a:pos x="csX289" y="csY289"/>
                </a:cxn>
                <a:cxn ang="0">
                  <a:pos x="csX290" y="csY290"/>
                </a:cxn>
                <a:cxn ang="0">
                  <a:pos x="csX291" y="csY291"/>
                </a:cxn>
                <a:cxn ang="0">
                  <a:pos x="csX292" y="csY292"/>
                </a:cxn>
                <a:cxn ang="0">
                  <a:pos x="csX293" y="csY293"/>
                </a:cxn>
                <a:cxn ang="0">
                  <a:pos x="csX294" y="csY294"/>
                </a:cxn>
                <a:cxn ang="0">
                  <a:pos x="csX295" y="csY295"/>
                </a:cxn>
                <a:cxn ang="0">
                  <a:pos x="csX296" y="csY296"/>
                </a:cxn>
                <a:cxn ang="0">
                  <a:pos x="csX297" y="csY297"/>
                </a:cxn>
                <a:cxn ang="0">
                  <a:pos x="csX298" y="csY298"/>
                </a:cxn>
                <a:cxn ang="0">
                  <a:pos x="csX299" y="csY299"/>
                </a:cxn>
                <a:cxn ang="0">
                  <a:pos x="csX300" y="csY300"/>
                </a:cxn>
                <a:cxn ang="0">
                  <a:pos x="csX301" y="csY301"/>
                </a:cxn>
                <a:cxn ang="0">
                  <a:pos x="csX302" y="csY302"/>
                </a:cxn>
                <a:cxn ang="0">
                  <a:pos x="csX303" y="csY303"/>
                </a:cxn>
                <a:cxn ang="0">
                  <a:pos x="csX304" y="csY304"/>
                </a:cxn>
                <a:cxn ang="0">
                  <a:pos x="csX305" y="csY305"/>
                </a:cxn>
                <a:cxn ang="0">
                  <a:pos x="csX306" y="csY306"/>
                </a:cxn>
                <a:cxn ang="0">
                  <a:pos x="csX307" y="csY307"/>
                </a:cxn>
                <a:cxn ang="0">
                  <a:pos x="csX308" y="csY308"/>
                </a:cxn>
                <a:cxn ang="0">
                  <a:pos x="csX309" y="csY309"/>
                </a:cxn>
                <a:cxn ang="0">
                  <a:pos x="csX310" y="csY310"/>
                </a:cxn>
                <a:cxn ang="0">
                  <a:pos x="csX311" y="csY311"/>
                </a:cxn>
                <a:cxn ang="0">
                  <a:pos x="csX312" y="csY312"/>
                </a:cxn>
                <a:cxn ang="0">
                  <a:pos x="csX313" y="csY313"/>
                </a:cxn>
                <a:cxn ang="0">
                  <a:pos x="csX314" y="csY314"/>
                </a:cxn>
                <a:cxn ang="0">
                  <a:pos x="csX315" y="csY315"/>
                </a:cxn>
                <a:cxn ang="0">
                  <a:pos x="csX316" y="csY316"/>
                </a:cxn>
              </a:cxnLst>
              <a:rect l="l" t="t" r="r" b="b"/>
              <a:pathLst>
                <a:path w="700031" h="658332">
                  <a:moveTo>
                    <a:pt x="351836" y="197025"/>
                  </a:moveTo>
                  <a:cubicBezTo>
                    <a:pt x="304621" y="197025"/>
                    <a:pt x="266214" y="235432"/>
                    <a:pt x="266214" y="282646"/>
                  </a:cubicBezTo>
                  <a:cubicBezTo>
                    <a:pt x="266214" y="329861"/>
                    <a:pt x="304621" y="368268"/>
                    <a:pt x="351836" y="368268"/>
                  </a:cubicBezTo>
                  <a:cubicBezTo>
                    <a:pt x="399050" y="368268"/>
                    <a:pt x="437457" y="329861"/>
                    <a:pt x="437457" y="282646"/>
                  </a:cubicBezTo>
                  <a:cubicBezTo>
                    <a:pt x="437457" y="235432"/>
                    <a:pt x="399050" y="197025"/>
                    <a:pt x="351836" y="197025"/>
                  </a:cubicBezTo>
                  <a:close/>
                  <a:moveTo>
                    <a:pt x="351836" y="351613"/>
                  </a:moveTo>
                  <a:cubicBezTo>
                    <a:pt x="313803" y="351613"/>
                    <a:pt x="282869" y="320679"/>
                    <a:pt x="282869" y="282646"/>
                  </a:cubicBezTo>
                  <a:cubicBezTo>
                    <a:pt x="282869" y="244614"/>
                    <a:pt x="313803" y="213679"/>
                    <a:pt x="351836" y="213679"/>
                  </a:cubicBezTo>
                  <a:cubicBezTo>
                    <a:pt x="389868" y="213679"/>
                    <a:pt x="420803" y="244614"/>
                    <a:pt x="420803" y="282646"/>
                  </a:cubicBezTo>
                  <a:cubicBezTo>
                    <a:pt x="420803" y="320679"/>
                    <a:pt x="389868" y="351613"/>
                    <a:pt x="351836" y="351613"/>
                  </a:cubicBezTo>
                  <a:close/>
                  <a:moveTo>
                    <a:pt x="320165" y="282563"/>
                  </a:moveTo>
                  <a:lnTo>
                    <a:pt x="320165" y="282716"/>
                  </a:lnTo>
                  <a:cubicBezTo>
                    <a:pt x="320165" y="287314"/>
                    <a:pt x="316442" y="291050"/>
                    <a:pt x="311831" y="291050"/>
                  </a:cubicBezTo>
                  <a:cubicBezTo>
                    <a:pt x="307219" y="291050"/>
                    <a:pt x="303496" y="287328"/>
                    <a:pt x="303496" y="282716"/>
                  </a:cubicBezTo>
                  <a:lnTo>
                    <a:pt x="303496" y="282563"/>
                  </a:lnTo>
                  <a:cubicBezTo>
                    <a:pt x="303496" y="277965"/>
                    <a:pt x="307219" y="274229"/>
                    <a:pt x="311831" y="274229"/>
                  </a:cubicBezTo>
                  <a:cubicBezTo>
                    <a:pt x="316442" y="274229"/>
                    <a:pt x="320165" y="277951"/>
                    <a:pt x="320165" y="282563"/>
                  </a:cubicBezTo>
                  <a:close/>
                  <a:moveTo>
                    <a:pt x="360170" y="282563"/>
                  </a:moveTo>
                  <a:lnTo>
                    <a:pt x="360170" y="282716"/>
                  </a:lnTo>
                  <a:cubicBezTo>
                    <a:pt x="360170" y="287314"/>
                    <a:pt x="356447" y="291050"/>
                    <a:pt x="351836" y="291050"/>
                  </a:cubicBezTo>
                  <a:cubicBezTo>
                    <a:pt x="347224" y="291050"/>
                    <a:pt x="343501" y="287328"/>
                    <a:pt x="343501" y="282716"/>
                  </a:cubicBezTo>
                  <a:lnTo>
                    <a:pt x="343501" y="282563"/>
                  </a:lnTo>
                  <a:cubicBezTo>
                    <a:pt x="343501" y="277965"/>
                    <a:pt x="347224" y="274229"/>
                    <a:pt x="351836" y="274229"/>
                  </a:cubicBezTo>
                  <a:cubicBezTo>
                    <a:pt x="356447" y="274229"/>
                    <a:pt x="360170" y="277951"/>
                    <a:pt x="360170" y="282563"/>
                  </a:cubicBezTo>
                  <a:close/>
                  <a:moveTo>
                    <a:pt x="400175" y="282563"/>
                  </a:moveTo>
                  <a:lnTo>
                    <a:pt x="400175" y="282716"/>
                  </a:lnTo>
                  <a:cubicBezTo>
                    <a:pt x="400175" y="287314"/>
                    <a:pt x="396452" y="291050"/>
                    <a:pt x="391841" y="291050"/>
                  </a:cubicBezTo>
                  <a:cubicBezTo>
                    <a:pt x="387229" y="291050"/>
                    <a:pt x="383506" y="287328"/>
                    <a:pt x="383506" y="282716"/>
                  </a:cubicBezTo>
                  <a:lnTo>
                    <a:pt x="383506" y="282563"/>
                  </a:lnTo>
                  <a:cubicBezTo>
                    <a:pt x="383506" y="277965"/>
                    <a:pt x="387229" y="274229"/>
                    <a:pt x="391841" y="274229"/>
                  </a:cubicBezTo>
                  <a:cubicBezTo>
                    <a:pt x="396452" y="274229"/>
                    <a:pt x="400175" y="277951"/>
                    <a:pt x="400175" y="282563"/>
                  </a:cubicBezTo>
                  <a:close/>
                  <a:moveTo>
                    <a:pt x="193107" y="44672"/>
                  </a:moveTo>
                  <a:cubicBezTo>
                    <a:pt x="193107" y="49270"/>
                    <a:pt x="189385" y="53007"/>
                    <a:pt x="184773" y="53007"/>
                  </a:cubicBezTo>
                  <a:lnTo>
                    <a:pt x="109528" y="53007"/>
                  </a:lnTo>
                  <a:cubicBezTo>
                    <a:pt x="104930" y="53007"/>
                    <a:pt x="101193" y="49284"/>
                    <a:pt x="101193" y="44672"/>
                  </a:cubicBezTo>
                  <a:cubicBezTo>
                    <a:pt x="101193" y="40061"/>
                    <a:pt x="104916" y="36338"/>
                    <a:pt x="109528" y="36338"/>
                  </a:cubicBezTo>
                  <a:lnTo>
                    <a:pt x="184773" y="36338"/>
                  </a:lnTo>
                  <a:cubicBezTo>
                    <a:pt x="189371" y="36338"/>
                    <a:pt x="193107" y="40061"/>
                    <a:pt x="193107" y="44672"/>
                  </a:cubicBezTo>
                  <a:close/>
                  <a:moveTo>
                    <a:pt x="193107" y="80510"/>
                  </a:moveTo>
                  <a:cubicBezTo>
                    <a:pt x="193107" y="85108"/>
                    <a:pt x="189385" y="88844"/>
                    <a:pt x="184773" y="88844"/>
                  </a:cubicBezTo>
                  <a:lnTo>
                    <a:pt x="46172" y="88844"/>
                  </a:lnTo>
                  <a:cubicBezTo>
                    <a:pt x="41575" y="88844"/>
                    <a:pt x="37838" y="85122"/>
                    <a:pt x="37838" y="80510"/>
                  </a:cubicBezTo>
                  <a:cubicBezTo>
                    <a:pt x="37838" y="75898"/>
                    <a:pt x="41561" y="72176"/>
                    <a:pt x="46172" y="72176"/>
                  </a:cubicBezTo>
                  <a:lnTo>
                    <a:pt x="184773" y="72176"/>
                  </a:lnTo>
                  <a:cubicBezTo>
                    <a:pt x="189371" y="72176"/>
                    <a:pt x="193107" y="75898"/>
                    <a:pt x="193107" y="80510"/>
                  </a:cubicBezTo>
                  <a:close/>
                  <a:moveTo>
                    <a:pt x="193107" y="116306"/>
                  </a:moveTo>
                  <a:cubicBezTo>
                    <a:pt x="193107" y="120904"/>
                    <a:pt x="189385" y="124641"/>
                    <a:pt x="184773" y="124641"/>
                  </a:cubicBezTo>
                  <a:lnTo>
                    <a:pt x="46172" y="124641"/>
                  </a:lnTo>
                  <a:cubicBezTo>
                    <a:pt x="41575" y="124641"/>
                    <a:pt x="37838" y="120918"/>
                    <a:pt x="37838" y="116306"/>
                  </a:cubicBezTo>
                  <a:cubicBezTo>
                    <a:pt x="37838" y="111695"/>
                    <a:pt x="41561" y="107972"/>
                    <a:pt x="46172" y="107972"/>
                  </a:cubicBezTo>
                  <a:lnTo>
                    <a:pt x="184773" y="107972"/>
                  </a:lnTo>
                  <a:cubicBezTo>
                    <a:pt x="189371" y="107972"/>
                    <a:pt x="193107" y="111695"/>
                    <a:pt x="193107" y="116306"/>
                  </a:cubicBezTo>
                  <a:close/>
                  <a:moveTo>
                    <a:pt x="37838" y="44672"/>
                  </a:moveTo>
                  <a:cubicBezTo>
                    <a:pt x="37838" y="40074"/>
                    <a:pt x="41561" y="36338"/>
                    <a:pt x="46172" y="36338"/>
                  </a:cubicBezTo>
                  <a:lnTo>
                    <a:pt x="75704" y="36338"/>
                  </a:lnTo>
                  <a:cubicBezTo>
                    <a:pt x="80302" y="36338"/>
                    <a:pt x="84038" y="40061"/>
                    <a:pt x="84038" y="44672"/>
                  </a:cubicBezTo>
                  <a:cubicBezTo>
                    <a:pt x="84038" y="49284"/>
                    <a:pt x="80316" y="53007"/>
                    <a:pt x="75704" y="53007"/>
                  </a:cubicBezTo>
                  <a:lnTo>
                    <a:pt x="46172" y="53007"/>
                  </a:lnTo>
                  <a:cubicBezTo>
                    <a:pt x="41575" y="53007"/>
                    <a:pt x="37838" y="49284"/>
                    <a:pt x="37838" y="44672"/>
                  </a:cubicBezTo>
                  <a:close/>
                  <a:moveTo>
                    <a:pt x="669959" y="0"/>
                  </a:moveTo>
                  <a:lnTo>
                    <a:pt x="499271" y="0"/>
                  </a:lnTo>
                  <a:cubicBezTo>
                    <a:pt x="482671" y="0"/>
                    <a:pt x="469170" y="13502"/>
                    <a:pt x="469170" y="30101"/>
                  </a:cubicBezTo>
                  <a:lnTo>
                    <a:pt x="469170" y="130905"/>
                  </a:lnTo>
                  <a:cubicBezTo>
                    <a:pt x="469170" y="147505"/>
                    <a:pt x="482671" y="161006"/>
                    <a:pt x="499271" y="161006"/>
                  </a:cubicBezTo>
                  <a:lnTo>
                    <a:pt x="576308" y="161006"/>
                  </a:lnTo>
                  <a:lnTo>
                    <a:pt x="576308" y="273534"/>
                  </a:lnTo>
                  <a:lnTo>
                    <a:pt x="511856" y="273534"/>
                  </a:lnTo>
                  <a:lnTo>
                    <a:pt x="511856" y="265436"/>
                  </a:lnTo>
                  <a:cubicBezTo>
                    <a:pt x="511856" y="256171"/>
                    <a:pt x="505855" y="248337"/>
                    <a:pt x="496909" y="245934"/>
                  </a:cubicBezTo>
                  <a:lnTo>
                    <a:pt x="479810" y="241350"/>
                  </a:lnTo>
                  <a:cubicBezTo>
                    <a:pt x="477601" y="234474"/>
                    <a:pt x="474823" y="227792"/>
                    <a:pt x="471531" y="221375"/>
                  </a:cubicBezTo>
                  <a:lnTo>
                    <a:pt x="480407" y="206012"/>
                  </a:lnTo>
                  <a:cubicBezTo>
                    <a:pt x="485047" y="197955"/>
                    <a:pt x="483741" y="188162"/>
                    <a:pt x="477185" y="181675"/>
                  </a:cubicBezTo>
                  <a:lnTo>
                    <a:pt x="452848" y="157339"/>
                  </a:lnTo>
                  <a:cubicBezTo>
                    <a:pt x="446278" y="150783"/>
                    <a:pt x="436499" y="149491"/>
                    <a:pt x="428498" y="154130"/>
                  </a:cubicBezTo>
                  <a:lnTo>
                    <a:pt x="413135" y="162993"/>
                  </a:lnTo>
                  <a:cubicBezTo>
                    <a:pt x="406676" y="159687"/>
                    <a:pt x="399994" y="156909"/>
                    <a:pt x="393160" y="154714"/>
                  </a:cubicBezTo>
                  <a:lnTo>
                    <a:pt x="388562" y="137545"/>
                  </a:lnTo>
                  <a:cubicBezTo>
                    <a:pt x="386145" y="128613"/>
                    <a:pt x="378311" y="122613"/>
                    <a:pt x="369060" y="122613"/>
                  </a:cubicBezTo>
                  <a:lnTo>
                    <a:pt x="334653" y="122613"/>
                  </a:lnTo>
                  <a:cubicBezTo>
                    <a:pt x="325402" y="122613"/>
                    <a:pt x="317567" y="128613"/>
                    <a:pt x="315151" y="137573"/>
                  </a:cubicBezTo>
                  <a:lnTo>
                    <a:pt x="310567" y="154714"/>
                  </a:lnTo>
                  <a:cubicBezTo>
                    <a:pt x="303732" y="156909"/>
                    <a:pt x="297051" y="159687"/>
                    <a:pt x="290592" y="162993"/>
                  </a:cubicBezTo>
                  <a:lnTo>
                    <a:pt x="275243" y="154130"/>
                  </a:lnTo>
                  <a:cubicBezTo>
                    <a:pt x="267228" y="149491"/>
                    <a:pt x="257449" y="150769"/>
                    <a:pt x="250879" y="157339"/>
                  </a:cubicBezTo>
                  <a:lnTo>
                    <a:pt x="226570" y="181648"/>
                  </a:lnTo>
                  <a:cubicBezTo>
                    <a:pt x="219986" y="188162"/>
                    <a:pt x="218680" y="197955"/>
                    <a:pt x="223333" y="206026"/>
                  </a:cubicBezTo>
                  <a:lnTo>
                    <a:pt x="232196" y="221389"/>
                  </a:lnTo>
                  <a:cubicBezTo>
                    <a:pt x="228904" y="227806"/>
                    <a:pt x="226125" y="234502"/>
                    <a:pt x="223917" y="241364"/>
                  </a:cubicBezTo>
                  <a:lnTo>
                    <a:pt x="206804" y="245947"/>
                  </a:lnTo>
                  <a:cubicBezTo>
                    <a:pt x="197900" y="248337"/>
                    <a:pt x="191885" y="256157"/>
                    <a:pt x="191816" y="265450"/>
                  </a:cubicBezTo>
                  <a:lnTo>
                    <a:pt x="191816" y="274326"/>
                  </a:lnTo>
                  <a:lnTo>
                    <a:pt x="116056" y="274326"/>
                  </a:lnTo>
                  <a:lnTo>
                    <a:pt x="116056" y="161006"/>
                  </a:lnTo>
                  <a:lnTo>
                    <a:pt x="200817" y="161006"/>
                  </a:lnTo>
                  <a:cubicBezTo>
                    <a:pt x="217430" y="161006"/>
                    <a:pt x="230959" y="147505"/>
                    <a:pt x="230959" y="130905"/>
                  </a:cubicBezTo>
                  <a:lnTo>
                    <a:pt x="230959" y="30101"/>
                  </a:lnTo>
                  <a:cubicBezTo>
                    <a:pt x="230959" y="13502"/>
                    <a:pt x="217444" y="0"/>
                    <a:pt x="200817" y="0"/>
                  </a:cubicBezTo>
                  <a:lnTo>
                    <a:pt x="30101" y="0"/>
                  </a:lnTo>
                  <a:cubicBezTo>
                    <a:pt x="13502" y="0"/>
                    <a:pt x="0" y="13502"/>
                    <a:pt x="0" y="30101"/>
                  </a:cubicBezTo>
                  <a:lnTo>
                    <a:pt x="0" y="130905"/>
                  </a:lnTo>
                  <a:cubicBezTo>
                    <a:pt x="0" y="147505"/>
                    <a:pt x="13502" y="161006"/>
                    <a:pt x="30101" y="161006"/>
                  </a:cubicBezTo>
                  <a:lnTo>
                    <a:pt x="99387" y="161006"/>
                  </a:lnTo>
                  <a:lnTo>
                    <a:pt x="99387" y="282660"/>
                  </a:lnTo>
                  <a:cubicBezTo>
                    <a:pt x="99387" y="287258"/>
                    <a:pt x="103110" y="290995"/>
                    <a:pt x="107722" y="290995"/>
                  </a:cubicBezTo>
                  <a:lnTo>
                    <a:pt x="191802" y="290995"/>
                  </a:lnTo>
                  <a:lnTo>
                    <a:pt x="191802" y="299871"/>
                  </a:lnTo>
                  <a:cubicBezTo>
                    <a:pt x="191802" y="309164"/>
                    <a:pt x="197844" y="316998"/>
                    <a:pt x="206790" y="319332"/>
                  </a:cubicBezTo>
                  <a:lnTo>
                    <a:pt x="223889" y="323915"/>
                  </a:lnTo>
                  <a:cubicBezTo>
                    <a:pt x="226084" y="330764"/>
                    <a:pt x="228862" y="337459"/>
                    <a:pt x="232182" y="343932"/>
                  </a:cubicBezTo>
                  <a:lnTo>
                    <a:pt x="223306" y="359267"/>
                  </a:lnTo>
                  <a:cubicBezTo>
                    <a:pt x="218680" y="367296"/>
                    <a:pt x="219986" y="377089"/>
                    <a:pt x="226528" y="383645"/>
                  </a:cubicBezTo>
                  <a:lnTo>
                    <a:pt x="231501" y="388618"/>
                  </a:lnTo>
                  <a:lnTo>
                    <a:pt x="163757" y="456363"/>
                  </a:lnTo>
                  <a:cubicBezTo>
                    <a:pt x="162201" y="457918"/>
                    <a:pt x="161312" y="460044"/>
                    <a:pt x="161312" y="462252"/>
                  </a:cubicBezTo>
                  <a:lnTo>
                    <a:pt x="161312" y="515856"/>
                  </a:lnTo>
                  <a:cubicBezTo>
                    <a:pt x="125821" y="519996"/>
                    <a:pt x="98193" y="550235"/>
                    <a:pt x="98193" y="586837"/>
                  </a:cubicBezTo>
                  <a:cubicBezTo>
                    <a:pt x="98193" y="626259"/>
                    <a:pt x="130238" y="658318"/>
                    <a:pt x="169632" y="658318"/>
                  </a:cubicBezTo>
                  <a:cubicBezTo>
                    <a:pt x="209026" y="658318"/>
                    <a:pt x="241113" y="626245"/>
                    <a:pt x="241113" y="586837"/>
                  </a:cubicBezTo>
                  <a:cubicBezTo>
                    <a:pt x="241113" y="550235"/>
                    <a:pt x="213457" y="519996"/>
                    <a:pt x="177953" y="515856"/>
                  </a:cubicBezTo>
                  <a:lnTo>
                    <a:pt x="177953" y="465711"/>
                  </a:lnTo>
                  <a:lnTo>
                    <a:pt x="243253" y="400411"/>
                  </a:lnTo>
                  <a:lnTo>
                    <a:pt x="250837" y="407995"/>
                  </a:lnTo>
                  <a:cubicBezTo>
                    <a:pt x="257393" y="414552"/>
                    <a:pt x="267186" y="415844"/>
                    <a:pt x="275187" y="411204"/>
                  </a:cubicBezTo>
                  <a:lnTo>
                    <a:pt x="290564" y="402328"/>
                  </a:lnTo>
                  <a:cubicBezTo>
                    <a:pt x="297023" y="405620"/>
                    <a:pt x="303705" y="408384"/>
                    <a:pt x="310525" y="410607"/>
                  </a:cubicBezTo>
                  <a:lnTo>
                    <a:pt x="315123" y="427734"/>
                  </a:lnTo>
                  <a:cubicBezTo>
                    <a:pt x="317526" y="436680"/>
                    <a:pt x="325360" y="442680"/>
                    <a:pt x="334625" y="442680"/>
                  </a:cubicBezTo>
                  <a:lnTo>
                    <a:pt x="341695" y="442680"/>
                  </a:lnTo>
                  <a:lnTo>
                    <a:pt x="341695" y="515870"/>
                  </a:lnTo>
                  <a:cubicBezTo>
                    <a:pt x="306191" y="520009"/>
                    <a:pt x="278535" y="550249"/>
                    <a:pt x="278535" y="586851"/>
                  </a:cubicBezTo>
                  <a:cubicBezTo>
                    <a:pt x="278535" y="626273"/>
                    <a:pt x="310608" y="658332"/>
                    <a:pt x="350016" y="658332"/>
                  </a:cubicBezTo>
                  <a:cubicBezTo>
                    <a:pt x="389424" y="658332"/>
                    <a:pt x="421497" y="626259"/>
                    <a:pt x="421497" y="586851"/>
                  </a:cubicBezTo>
                  <a:cubicBezTo>
                    <a:pt x="421497" y="550249"/>
                    <a:pt x="393841" y="520009"/>
                    <a:pt x="358336" y="515870"/>
                  </a:cubicBezTo>
                  <a:lnTo>
                    <a:pt x="358336" y="442680"/>
                  </a:lnTo>
                  <a:lnTo>
                    <a:pt x="369032" y="442680"/>
                  </a:lnTo>
                  <a:cubicBezTo>
                    <a:pt x="378297" y="442680"/>
                    <a:pt x="386132" y="436680"/>
                    <a:pt x="388535" y="427734"/>
                  </a:cubicBezTo>
                  <a:lnTo>
                    <a:pt x="393132" y="410607"/>
                  </a:lnTo>
                  <a:cubicBezTo>
                    <a:pt x="400022" y="408370"/>
                    <a:pt x="406718" y="405606"/>
                    <a:pt x="413107" y="402328"/>
                  </a:cubicBezTo>
                  <a:lnTo>
                    <a:pt x="428456" y="411190"/>
                  </a:lnTo>
                  <a:cubicBezTo>
                    <a:pt x="436471" y="415830"/>
                    <a:pt x="446250" y="414538"/>
                    <a:pt x="452820" y="407982"/>
                  </a:cubicBezTo>
                  <a:lnTo>
                    <a:pt x="458585" y="402217"/>
                  </a:lnTo>
                  <a:lnTo>
                    <a:pt x="522079" y="465711"/>
                  </a:lnTo>
                  <a:lnTo>
                    <a:pt x="522079" y="515856"/>
                  </a:lnTo>
                  <a:cubicBezTo>
                    <a:pt x="486575" y="519996"/>
                    <a:pt x="458919" y="550235"/>
                    <a:pt x="458919" y="586837"/>
                  </a:cubicBezTo>
                  <a:cubicBezTo>
                    <a:pt x="458919" y="626259"/>
                    <a:pt x="490992" y="658318"/>
                    <a:pt x="530400" y="658318"/>
                  </a:cubicBezTo>
                  <a:cubicBezTo>
                    <a:pt x="569807" y="658318"/>
                    <a:pt x="601881" y="626245"/>
                    <a:pt x="601881" y="586837"/>
                  </a:cubicBezTo>
                  <a:cubicBezTo>
                    <a:pt x="601881" y="550235"/>
                    <a:pt x="574225" y="519996"/>
                    <a:pt x="538720" y="515856"/>
                  </a:cubicBezTo>
                  <a:lnTo>
                    <a:pt x="538720" y="462252"/>
                  </a:lnTo>
                  <a:cubicBezTo>
                    <a:pt x="538720" y="460044"/>
                    <a:pt x="537845" y="457918"/>
                    <a:pt x="536275" y="456363"/>
                  </a:cubicBezTo>
                  <a:lnTo>
                    <a:pt x="470337" y="390424"/>
                  </a:lnTo>
                  <a:lnTo>
                    <a:pt x="477129" y="383631"/>
                  </a:lnTo>
                  <a:cubicBezTo>
                    <a:pt x="483672" y="377089"/>
                    <a:pt x="484963" y="367296"/>
                    <a:pt x="480338" y="359239"/>
                  </a:cubicBezTo>
                  <a:lnTo>
                    <a:pt x="471476" y="343918"/>
                  </a:lnTo>
                  <a:cubicBezTo>
                    <a:pt x="474795" y="337459"/>
                    <a:pt x="477560" y="330750"/>
                    <a:pt x="479768" y="323915"/>
                  </a:cubicBezTo>
                  <a:lnTo>
                    <a:pt x="496868" y="319359"/>
                  </a:lnTo>
                  <a:cubicBezTo>
                    <a:pt x="505813" y="316956"/>
                    <a:pt x="511814" y="309122"/>
                    <a:pt x="511814" y="299857"/>
                  </a:cubicBezTo>
                  <a:lnTo>
                    <a:pt x="511814" y="290189"/>
                  </a:lnTo>
                  <a:lnTo>
                    <a:pt x="584601" y="290189"/>
                  </a:lnTo>
                  <a:cubicBezTo>
                    <a:pt x="589199" y="290189"/>
                    <a:pt x="592935" y="286466"/>
                    <a:pt x="592935" y="281855"/>
                  </a:cubicBezTo>
                  <a:lnTo>
                    <a:pt x="592935" y="160992"/>
                  </a:lnTo>
                  <a:lnTo>
                    <a:pt x="669931" y="160992"/>
                  </a:lnTo>
                  <a:cubicBezTo>
                    <a:pt x="686530" y="160992"/>
                    <a:pt x="700032" y="147491"/>
                    <a:pt x="700032" y="130891"/>
                  </a:cubicBezTo>
                  <a:lnTo>
                    <a:pt x="700032" y="30101"/>
                  </a:lnTo>
                  <a:cubicBezTo>
                    <a:pt x="700032" y="13502"/>
                    <a:pt x="686530" y="0"/>
                    <a:pt x="669931" y="0"/>
                  </a:cubicBezTo>
                  <a:close/>
                  <a:moveTo>
                    <a:pt x="16655" y="130905"/>
                  </a:moveTo>
                  <a:lnTo>
                    <a:pt x="16655" y="30101"/>
                  </a:lnTo>
                  <a:cubicBezTo>
                    <a:pt x="16655" y="22683"/>
                    <a:pt x="22683" y="16655"/>
                    <a:pt x="30101" y="16655"/>
                  </a:cubicBezTo>
                  <a:lnTo>
                    <a:pt x="200789" y="16655"/>
                  </a:lnTo>
                  <a:cubicBezTo>
                    <a:pt x="208220" y="16655"/>
                    <a:pt x="214277" y="22683"/>
                    <a:pt x="214277" y="30101"/>
                  </a:cubicBezTo>
                  <a:lnTo>
                    <a:pt x="214277" y="130905"/>
                  </a:lnTo>
                  <a:cubicBezTo>
                    <a:pt x="214277" y="138323"/>
                    <a:pt x="208220" y="144351"/>
                    <a:pt x="200789" y="144351"/>
                  </a:cubicBezTo>
                  <a:lnTo>
                    <a:pt x="30101" y="144351"/>
                  </a:lnTo>
                  <a:cubicBezTo>
                    <a:pt x="22683" y="144351"/>
                    <a:pt x="16655" y="138323"/>
                    <a:pt x="16655" y="130905"/>
                  </a:cubicBezTo>
                  <a:close/>
                  <a:moveTo>
                    <a:pt x="224473" y="586823"/>
                  </a:moveTo>
                  <a:cubicBezTo>
                    <a:pt x="224473" y="617063"/>
                    <a:pt x="199872" y="641650"/>
                    <a:pt x="169646" y="641650"/>
                  </a:cubicBezTo>
                  <a:cubicBezTo>
                    <a:pt x="139420" y="641650"/>
                    <a:pt x="114862" y="617049"/>
                    <a:pt x="114862" y="586823"/>
                  </a:cubicBezTo>
                  <a:cubicBezTo>
                    <a:pt x="114862" y="556597"/>
                    <a:pt x="139434" y="531997"/>
                    <a:pt x="169646" y="531997"/>
                  </a:cubicBezTo>
                  <a:cubicBezTo>
                    <a:pt x="199858" y="531997"/>
                    <a:pt x="224473" y="556597"/>
                    <a:pt x="224473" y="586823"/>
                  </a:cubicBezTo>
                  <a:close/>
                  <a:moveTo>
                    <a:pt x="404856" y="586823"/>
                  </a:moveTo>
                  <a:cubicBezTo>
                    <a:pt x="404856" y="617063"/>
                    <a:pt x="380256" y="641650"/>
                    <a:pt x="350030" y="641650"/>
                  </a:cubicBezTo>
                  <a:cubicBezTo>
                    <a:pt x="319804" y="641650"/>
                    <a:pt x="295204" y="617049"/>
                    <a:pt x="295204" y="586823"/>
                  </a:cubicBezTo>
                  <a:cubicBezTo>
                    <a:pt x="295204" y="556597"/>
                    <a:pt x="319804" y="531997"/>
                    <a:pt x="350030" y="531997"/>
                  </a:cubicBezTo>
                  <a:cubicBezTo>
                    <a:pt x="380256" y="531997"/>
                    <a:pt x="404856" y="556597"/>
                    <a:pt x="404856" y="586823"/>
                  </a:cubicBezTo>
                  <a:close/>
                  <a:moveTo>
                    <a:pt x="585240" y="586823"/>
                  </a:moveTo>
                  <a:cubicBezTo>
                    <a:pt x="585240" y="617063"/>
                    <a:pt x="560640" y="641650"/>
                    <a:pt x="530414" y="641650"/>
                  </a:cubicBezTo>
                  <a:cubicBezTo>
                    <a:pt x="500188" y="641650"/>
                    <a:pt x="475587" y="617049"/>
                    <a:pt x="475587" y="586823"/>
                  </a:cubicBezTo>
                  <a:cubicBezTo>
                    <a:pt x="475587" y="556597"/>
                    <a:pt x="500188" y="531997"/>
                    <a:pt x="530414" y="531997"/>
                  </a:cubicBezTo>
                  <a:cubicBezTo>
                    <a:pt x="560640" y="531997"/>
                    <a:pt x="585240" y="556597"/>
                    <a:pt x="585240" y="586823"/>
                  </a:cubicBezTo>
                  <a:close/>
                  <a:moveTo>
                    <a:pt x="495187" y="299857"/>
                  </a:moveTo>
                  <a:cubicBezTo>
                    <a:pt x="495187" y="301538"/>
                    <a:pt x="494187" y="302843"/>
                    <a:pt x="492589" y="303274"/>
                  </a:cubicBezTo>
                  <a:lnTo>
                    <a:pt x="471017" y="309025"/>
                  </a:lnTo>
                  <a:cubicBezTo>
                    <a:pt x="468170" y="309789"/>
                    <a:pt x="465947" y="311983"/>
                    <a:pt x="465141" y="314817"/>
                  </a:cubicBezTo>
                  <a:cubicBezTo>
                    <a:pt x="462697" y="323513"/>
                    <a:pt x="459182" y="331986"/>
                    <a:pt x="454710" y="340029"/>
                  </a:cubicBezTo>
                  <a:cubicBezTo>
                    <a:pt x="453279" y="342585"/>
                    <a:pt x="453307" y="345710"/>
                    <a:pt x="454779" y="348252"/>
                  </a:cubicBezTo>
                  <a:lnTo>
                    <a:pt x="465947" y="367560"/>
                  </a:lnTo>
                  <a:cubicBezTo>
                    <a:pt x="466781" y="369018"/>
                    <a:pt x="466572" y="370671"/>
                    <a:pt x="465391" y="371852"/>
                  </a:cubicBezTo>
                  <a:lnTo>
                    <a:pt x="441055" y="396188"/>
                  </a:lnTo>
                  <a:cubicBezTo>
                    <a:pt x="439874" y="397369"/>
                    <a:pt x="438249" y="397591"/>
                    <a:pt x="436819" y="396758"/>
                  </a:cubicBezTo>
                  <a:lnTo>
                    <a:pt x="417441" y="385576"/>
                  </a:lnTo>
                  <a:cubicBezTo>
                    <a:pt x="414899" y="384104"/>
                    <a:pt x="411774" y="384090"/>
                    <a:pt x="409218" y="385520"/>
                  </a:cubicBezTo>
                  <a:cubicBezTo>
                    <a:pt x="401328" y="389924"/>
                    <a:pt x="392841" y="393438"/>
                    <a:pt x="384006" y="395966"/>
                  </a:cubicBezTo>
                  <a:cubicBezTo>
                    <a:pt x="381200" y="396772"/>
                    <a:pt x="379020" y="398994"/>
                    <a:pt x="378256" y="401814"/>
                  </a:cubicBezTo>
                  <a:lnTo>
                    <a:pt x="372463" y="423386"/>
                  </a:lnTo>
                  <a:cubicBezTo>
                    <a:pt x="372033" y="424998"/>
                    <a:pt x="370727" y="425998"/>
                    <a:pt x="369046" y="425998"/>
                  </a:cubicBezTo>
                  <a:lnTo>
                    <a:pt x="334639" y="425998"/>
                  </a:lnTo>
                  <a:cubicBezTo>
                    <a:pt x="332958" y="425998"/>
                    <a:pt x="331653" y="424998"/>
                    <a:pt x="331222" y="423386"/>
                  </a:cubicBezTo>
                  <a:lnTo>
                    <a:pt x="325430" y="401814"/>
                  </a:lnTo>
                  <a:cubicBezTo>
                    <a:pt x="324666" y="398994"/>
                    <a:pt x="322485" y="396772"/>
                    <a:pt x="319679" y="395966"/>
                  </a:cubicBezTo>
                  <a:cubicBezTo>
                    <a:pt x="310983" y="393480"/>
                    <a:pt x="302496" y="389952"/>
                    <a:pt x="294440" y="385507"/>
                  </a:cubicBezTo>
                  <a:cubicBezTo>
                    <a:pt x="293189" y="384812"/>
                    <a:pt x="291800" y="384465"/>
                    <a:pt x="290411" y="384465"/>
                  </a:cubicBezTo>
                  <a:cubicBezTo>
                    <a:pt x="289022" y="384465"/>
                    <a:pt x="287536" y="384840"/>
                    <a:pt x="286244" y="385576"/>
                  </a:cubicBezTo>
                  <a:lnTo>
                    <a:pt x="266853" y="396772"/>
                  </a:lnTo>
                  <a:cubicBezTo>
                    <a:pt x="265422" y="397591"/>
                    <a:pt x="263811" y="397383"/>
                    <a:pt x="262630" y="396202"/>
                  </a:cubicBezTo>
                  <a:lnTo>
                    <a:pt x="238294" y="371866"/>
                  </a:lnTo>
                  <a:cubicBezTo>
                    <a:pt x="237113" y="370685"/>
                    <a:pt x="236891" y="369032"/>
                    <a:pt x="237724" y="367588"/>
                  </a:cubicBezTo>
                  <a:lnTo>
                    <a:pt x="248906" y="348252"/>
                  </a:lnTo>
                  <a:cubicBezTo>
                    <a:pt x="250379" y="345710"/>
                    <a:pt x="250406" y="342585"/>
                    <a:pt x="248976" y="340029"/>
                  </a:cubicBezTo>
                  <a:cubicBezTo>
                    <a:pt x="244489" y="332000"/>
                    <a:pt x="240988" y="323513"/>
                    <a:pt x="238544" y="314817"/>
                  </a:cubicBezTo>
                  <a:cubicBezTo>
                    <a:pt x="237752" y="311983"/>
                    <a:pt x="235529" y="309789"/>
                    <a:pt x="232682" y="309025"/>
                  </a:cubicBezTo>
                  <a:lnTo>
                    <a:pt x="211054" y="303218"/>
                  </a:lnTo>
                  <a:cubicBezTo>
                    <a:pt x="209457" y="302802"/>
                    <a:pt x="208457" y="301510"/>
                    <a:pt x="208457" y="299857"/>
                  </a:cubicBezTo>
                  <a:lnTo>
                    <a:pt x="208457" y="265505"/>
                  </a:lnTo>
                  <a:cubicBezTo>
                    <a:pt x="208457" y="263769"/>
                    <a:pt x="209457" y="262477"/>
                    <a:pt x="211110" y="262033"/>
                  </a:cubicBezTo>
                  <a:lnTo>
                    <a:pt x="232682" y="256240"/>
                  </a:lnTo>
                  <a:cubicBezTo>
                    <a:pt x="235516" y="255476"/>
                    <a:pt x="237738" y="253282"/>
                    <a:pt x="238544" y="250462"/>
                  </a:cubicBezTo>
                  <a:cubicBezTo>
                    <a:pt x="241016" y="241697"/>
                    <a:pt x="244531" y="233237"/>
                    <a:pt x="248976" y="225306"/>
                  </a:cubicBezTo>
                  <a:cubicBezTo>
                    <a:pt x="250406" y="222750"/>
                    <a:pt x="250392" y="219611"/>
                    <a:pt x="248920" y="217069"/>
                  </a:cubicBezTo>
                  <a:lnTo>
                    <a:pt x="237752" y="197705"/>
                  </a:lnTo>
                  <a:cubicBezTo>
                    <a:pt x="236919" y="196247"/>
                    <a:pt x="237113" y="194635"/>
                    <a:pt x="238308" y="193455"/>
                  </a:cubicBezTo>
                  <a:lnTo>
                    <a:pt x="262644" y="169118"/>
                  </a:lnTo>
                  <a:cubicBezTo>
                    <a:pt x="263825" y="167938"/>
                    <a:pt x="265436" y="167715"/>
                    <a:pt x="266881" y="168549"/>
                  </a:cubicBezTo>
                  <a:lnTo>
                    <a:pt x="286258" y="179731"/>
                  </a:lnTo>
                  <a:cubicBezTo>
                    <a:pt x="288800" y="181203"/>
                    <a:pt x="291925" y="181217"/>
                    <a:pt x="294481" y="179786"/>
                  </a:cubicBezTo>
                  <a:cubicBezTo>
                    <a:pt x="302510" y="175314"/>
                    <a:pt x="310969" y="171799"/>
                    <a:pt x="319651" y="169341"/>
                  </a:cubicBezTo>
                  <a:cubicBezTo>
                    <a:pt x="322471" y="168549"/>
                    <a:pt x="324679" y="166312"/>
                    <a:pt x="325430" y="163479"/>
                  </a:cubicBezTo>
                  <a:lnTo>
                    <a:pt x="331208" y="141879"/>
                  </a:lnTo>
                  <a:cubicBezTo>
                    <a:pt x="331653" y="140254"/>
                    <a:pt x="332958" y="139254"/>
                    <a:pt x="334625" y="139254"/>
                  </a:cubicBezTo>
                  <a:lnTo>
                    <a:pt x="369032" y="139254"/>
                  </a:lnTo>
                  <a:cubicBezTo>
                    <a:pt x="370699" y="139254"/>
                    <a:pt x="372019" y="140268"/>
                    <a:pt x="372449" y="141865"/>
                  </a:cubicBezTo>
                  <a:lnTo>
                    <a:pt x="378242" y="163479"/>
                  </a:lnTo>
                  <a:cubicBezTo>
                    <a:pt x="379006" y="166312"/>
                    <a:pt x="381200" y="168549"/>
                    <a:pt x="384020" y="169341"/>
                  </a:cubicBezTo>
                  <a:cubicBezTo>
                    <a:pt x="392702" y="171785"/>
                    <a:pt x="401175" y="175300"/>
                    <a:pt x="409190" y="179786"/>
                  </a:cubicBezTo>
                  <a:cubicBezTo>
                    <a:pt x="411746" y="181217"/>
                    <a:pt x="414871" y="181189"/>
                    <a:pt x="417413" y="179731"/>
                  </a:cubicBezTo>
                  <a:lnTo>
                    <a:pt x="436805" y="168535"/>
                  </a:lnTo>
                  <a:cubicBezTo>
                    <a:pt x="438235" y="167702"/>
                    <a:pt x="439847" y="167924"/>
                    <a:pt x="441027" y="169104"/>
                  </a:cubicBezTo>
                  <a:lnTo>
                    <a:pt x="465391" y="193469"/>
                  </a:lnTo>
                  <a:cubicBezTo>
                    <a:pt x="466558" y="194622"/>
                    <a:pt x="466753" y="196233"/>
                    <a:pt x="465933" y="197677"/>
                  </a:cubicBezTo>
                  <a:lnTo>
                    <a:pt x="454751" y="217055"/>
                  </a:lnTo>
                  <a:cubicBezTo>
                    <a:pt x="453279" y="219597"/>
                    <a:pt x="453265" y="222722"/>
                    <a:pt x="454696" y="225292"/>
                  </a:cubicBezTo>
                  <a:cubicBezTo>
                    <a:pt x="459155" y="233237"/>
                    <a:pt x="462655" y="241697"/>
                    <a:pt x="465128" y="250448"/>
                  </a:cubicBezTo>
                  <a:cubicBezTo>
                    <a:pt x="465919" y="253268"/>
                    <a:pt x="468156" y="255462"/>
                    <a:pt x="470989" y="256226"/>
                  </a:cubicBezTo>
                  <a:lnTo>
                    <a:pt x="492562" y="262019"/>
                  </a:lnTo>
                  <a:cubicBezTo>
                    <a:pt x="494201" y="262463"/>
                    <a:pt x="495173" y="263741"/>
                    <a:pt x="495173" y="265436"/>
                  </a:cubicBezTo>
                  <a:lnTo>
                    <a:pt x="495173" y="299843"/>
                  </a:lnTo>
                  <a:close/>
                  <a:moveTo>
                    <a:pt x="683405" y="130905"/>
                  </a:moveTo>
                  <a:cubicBezTo>
                    <a:pt x="683405" y="138323"/>
                    <a:pt x="677376" y="144351"/>
                    <a:pt x="669959" y="144351"/>
                  </a:cubicBezTo>
                  <a:lnTo>
                    <a:pt x="499271" y="144351"/>
                  </a:lnTo>
                  <a:cubicBezTo>
                    <a:pt x="491853" y="144351"/>
                    <a:pt x="485825" y="138323"/>
                    <a:pt x="485825" y="130905"/>
                  </a:cubicBezTo>
                  <a:lnTo>
                    <a:pt x="485825" y="30101"/>
                  </a:lnTo>
                  <a:cubicBezTo>
                    <a:pt x="485825" y="22683"/>
                    <a:pt x="491853" y="16655"/>
                    <a:pt x="499271" y="16655"/>
                  </a:cubicBezTo>
                  <a:lnTo>
                    <a:pt x="669959" y="16655"/>
                  </a:lnTo>
                  <a:cubicBezTo>
                    <a:pt x="677376" y="16655"/>
                    <a:pt x="683405" y="22683"/>
                    <a:pt x="683405" y="30101"/>
                  </a:cubicBezTo>
                  <a:close/>
                  <a:moveTo>
                    <a:pt x="340209" y="591213"/>
                  </a:moveTo>
                  <a:lnTo>
                    <a:pt x="368477" y="562945"/>
                  </a:lnTo>
                  <a:cubicBezTo>
                    <a:pt x="371727" y="559695"/>
                    <a:pt x="377005" y="559695"/>
                    <a:pt x="380256" y="562945"/>
                  </a:cubicBezTo>
                  <a:cubicBezTo>
                    <a:pt x="383506" y="566196"/>
                    <a:pt x="383506" y="571474"/>
                    <a:pt x="380256" y="574725"/>
                  </a:cubicBezTo>
                  <a:lnTo>
                    <a:pt x="344307" y="610674"/>
                  </a:lnTo>
                  <a:cubicBezTo>
                    <a:pt x="342737" y="612243"/>
                    <a:pt x="340612" y="613118"/>
                    <a:pt x="338417" y="613118"/>
                  </a:cubicBezTo>
                  <a:cubicBezTo>
                    <a:pt x="338056" y="613118"/>
                    <a:pt x="337695" y="613091"/>
                    <a:pt x="337334" y="613049"/>
                  </a:cubicBezTo>
                  <a:cubicBezTo>
                    <a:pt x="334764" y="612716"/>
                    <a:pt x="332500" y="611201"/>
                    <a:pt x="331208" y="608951"/>
                  </a:cubicBezTo>
                  <a:lnTo>
                    <a:pt x="318526" y="586976"/>
                  </a:lnTo>
                  <a:cubicBezTo>
                    <a:pt x="316220" y="582990"/>
                    <a:pt x="317595" y="577892"/>
                    <a:pt x="321582" y="575600"/>
                  </a:cubicBezTo>
                  <a:cubicBezTo>
                    <a:pt x="325568" y="573308"/>
                    <a:pt x="330666" y="574669"/>
                    <a:pt x="332958" y="578656"/>
                  </a:cubicBezTo>
                  <a:lnTo>
                    <a:pt x="340209" y="591227"/>
                  </a:lnTo>
                  <a:close/>
                  <a:moveTo>
                    <a:pt x="520551" y="591213"/>
                  </a:moveTo>
                  <a:lnTo>
                    <a:pt x="548819" y="562945"/>
                  </a:lnTo>
                  <a:cubicBezTo>
                    <a:pt x="552069" y="559695"/>
                    <a:pt x="557347" y="559695"/>
                    <a:pt x="560598" y="562945"/>
                  </a:cubicBezTo>
                  <a:cubicBezTo>
                    <a:pt x="563848" y="566196"/>
                    <a:pt x="563848" y="571474"/>
                    <a:pt x="560598" y="574725"/>
                  </a:cubicBezTo>
                  <a:lnTo>
                    <a:pt x="524649" y="610674"/>
                  </a:lnTo>
                  <a:cubicBezTo>
                    <a:pt x="523079" y="612243"/>
                    <a:pt x="520954" y="613118"/>
                    <a:pt x="518759" y="613118"/>
                  </a:cubicBezTo>
                  <a:cubicBezTo>
                    <a:pt x="518398" y="613118"/>
                    <a:pt x="518037" y="613091"/>
                    <a:pt x="517676" y="613049"/>
                  </a:cubicBezTo>
                  <a:cubicBezTo>
                    <a:pt x="515106" y="612716"/>
                    <a:pt x="512842" y="611201"/>
                    <a:pt x="511550" y="608951"/>
                  </a:cubicBezTo>
                  <a:lnTo>
                    <a:pt x="498868" y="586976"/>
                  </a:lnTo>
                  <a:cubicBezTo>
                    <a:pt x="496562" y="582990"/>
                    <a:pt x="497937" y="577892"/>
                    <a:pt x="501924" y="575600"/>
                  </a:cubicBezTo>
                  <a:cubicBezTo>
                    <a:pt x="505910" y="573308"/>
                    <a:pt x="511008" y="574669"/>
                    <a:pt x="513300" y="578656"/>
                  </a:cubicBezTo>
                  <a:lnTo>
                    <a:pt x="520551" y="591227"/>
                  </a:lnTo>
                  <a:close/>
                  <a:moveTo>
                    <a:pt x="159839" y="591213"/>
                  </a:moveTo>
                  <a:lnTo>
                    <a:pt x="188107" y="562945"/>
                  </a:lnTo>
                  <a:cubicBezTo>
                    <a:pt x="191357" y="559695"/>
                    <a:pt x="196636" y="559695"/>
                    <a:pt x="199886" y="562945"/>
                  </a:cubicBezTo>
                  <a:cubicBezTo>
                    <a:pt x="203137" y="566196"/>
                    <a:pt x="203137" y="571474"/>
                    <a:pt x="199886" y="574725"/>
                  </a:cubicBezTo>
                  <a:lnTo>
                    <a:pt x="163937" y="610674"/>
                  </a:lnTo>
                  <a:cubicBezTo>
                    <a:pt x="162368" y="612243"/>
                    <a:pt x="160242" y="613118"/>
                    <a:pt x="158048" y="613118"/>
                  </a:cubicBezTo>
                  <a:cubicBezTo>
                    <a:pt x="157686" y="613118"/>
                    <a:pt x="157325" y="613091"/>
                    <a:pt x="156964" y="613049"/>
                  </a:cubicBezTo>
                  <a:cubicBezTo>
                    <a:pt x="154394" y="612716"/>
                    <a:pt x="152130" y="611201"/>
                    <a:pt x="150838" y="608951"/>
                  </a:cubicBezTo>
                  <a:lnTo>
                    <a:pt x="138156" y="586976"/>
                  </a:lnTo>
                  <a:cubicBezTo>
                    <a:pt x="135850" y="582990"/>
                    <a:pt x="137225" y="577906"/>
                    <a:pt x="141212" y="575600"/>
                  </a:cubicBezTo>
                  <a:cubicBezTo>
                    <a:pt x="145199" y="573294"/>
                    <a:pt x="150283" y="574669"/>
                    <a:pt x="152589" y="578656"/>
                  </a:cubicBezTo>
                  <a:lnTo>
                    <a:pt x="159839" y="591227"/>
                  </a:lnTo>
                  <a:close/>
                  <a:moveTo>
                    <a:pt x="615202" y="61660"/>
                  </a:moveTo>
                  <a:lnTo>
                    <a:pt x="596380" y="80482"/>
                  </a:lnTo>
                  <a:lnTo>
                    <a:pt x="615202" y="99304"/>
                  </a:lnTo>
                  <a:cubicBezTo>
                    <a:pt x="618452" y="102554"/>
                    <a:pt x="618452" y="107833"/>
                    <a:pt x="615202" y="111083"/>
                  </a:cubicBezTo>
                  <a:cubicBezTo>
                    <a:pt x="613577" y="112709"/>
                    <a:pt x="611438" y="113528"/>
                    <a:pt x="609312" y="113528"/>
                  </a:cubicBezTo>
                  <a:cubicBezTo>
                    <a:pt x="607187" y="113528"/>
                    <a:pt x="605048" y="112722"/>
                    <a:pt x="603423" y="111083"/>
                  </a:cubicBezTo>
                  <a:lnTo>
                    <a:pt x="584601" y="92262"/>
                  </a:lnTo>
                  <a:lnTo>
                    <a:pt x="565779" y="111083"/>
                  </a:lnTo>
                  <a:cubicBezTo>
                    <a:pt x="562529" y="114334"/>
                    <a:pt x="557250" y="114334"/>
                    <a:pt x="554000" y="111083"/>
                  </a:cubicBezTo>
                  <a:cubicBezTo>
                    <a:pt x="550749" y="107833"/>
                    <a:pt x="550749" y="102554"/>
                    <a:pt x="554000" y="99304"/>
                  </a:cubicBezTo>
                  <a:lnTo>
                    <a:pt x="572822" y="80482"/>
                  </a:lnTo>
                  <a:lnTo>
                    <a:pt x="554000" y="61660"/>
                  </a:lnTo>
                  <a:cubicBezTo>
                    <a:pt x="550749" y="58410"/>
                    <a:pt x="550749" y="53132"/>
                    <a:pt x="554000" y="49881"/>
                  </a:cubicBezTo>
                  <a:cubicBezTo>
                    <a:pt x="557250" y="46631"/>
                    <a:pt x="562529" y="46631"/>
                    <a:pt x="565779" y="49881"/>
                  </a:cubicBezTo>
                  <a:lnTo>
                    <a:pt x="584601" y="68703"/>
                  </a:lnTo>
                  <a:lnTo>
                    <a:pt x="603423" y="49881"/>
                  </a:lnTo>
                  <a:cubicBezTo>
                    <a:pt x="606673" y="46631"/>
                    <a:pt x="611952" y="46631"/>
                    <a:pt x="615202" y="49881"/>
                  </a:cubicBezTo>
                  <a:cubicBezTo>
                    <a:pt x="618452" y="53132"/>
                    <a:pt x="618452" y="58410"/>
                    <a:pt x="615202" y="61660"/>
                  </a:cubicBezTo>
                  <a:close/>
                </a:path>
              </a:pathLst>
            </a:custGeom>
            <a:solidFill>
              <a:schemeClr val="bg1"/>
            </a:solidFill>
            <a:ln w="1377"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21" name="Group 20">
            <a:extLst>
              <a:ext uri="{FF2B5EF4-FFF2-40B4-BE49-F238E27FC236}">
                <a16:creationId xmlns:a16="http://schemas.microsoft.com/office/drawing/2014/main" id="{F5081D36-51A6-AA23-EDFB-94FBB7DDE262}"/>
              </a:ext>
            </a:extLst>
          </p:cNvPr>
          <p:cNvGrpSpPr/>
          <p:nvPr/>
        </p:nvGrpSpPr>
        <p:grpSpPr>
          <a:xfrm>
            <a:off x="8772925" y="3480698"/>
            <a:ext cx="569466" cy="569466"/>
            <a:chOff x="8772925" y="3480698"/>
            <a:chExt cx="569466" cy="569466"/>
          </a:xfrm>
        </p:grpSpPr>
        <p:sp>
          <p:nvSpPr>
            <p:cNvPr id="134" name="Oval 133">
              <a:extLst>
                <a:ext uri="{FF2B5EF4-FFF2-40B4-BE49-F238E27FC236}">
                  <a16:creationId xmlns:a16="http://schemas.microsoft.com/office/drawing/2014/main" id="{3FA69141-6D7A-FE69-E753-1CDC1BD74E5D}"/>
                </a:ext>
              </a:extLst>
            </p:cNvPr>
            <p:cNvSpPr>
              <a:spLocks noChangeAspect="1"/>
            </p:cNvSpPr>
            <p:nvPr/>
          </p:nvSpPr>
          <p:spPr>
            <a:xfrm>
              <a:off x="8772925" y="3480698"/>
              <a:ext cx="569466" cy="56946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grpSp>
          <p:nvGrpSpPr>
            <p:cNvPr id="193" name="Pic">
              <a:extLst>
                <a:ext uri="{FF2B5EF4-FFF2-40B4-BE49-F238E27FC236}">
                  <a16:creationId xmlns:a16="http://schemas.microsoft.com/office/drawing/2014/main" id="{AD58C344-803C-3776-7734-2109EAD7166A}"/>
                </a:ext>
              </a:extLst>
            </p:cNvPr>
            <p:cNvGrpSpPr>
              <a:grpSpLocks noChangeAspect="1"/>
            </p:cNvGrpSpPr>
            <p:nvPr/>
          </p:nvGrpSpPr>
          <p:grpSpPr>
            <a:xfrm>
              <a:off x="8885305" y="3594694"/>
              <a:ext cx="344706" cy="341475"/>
              <a:chOff x="1962150" y="2000884"/>
              <a:chExt cx="812799" cy="805180"/>
            </a:xfrm>
            <a:solidFill>
              <a:schemeClr val="bg1"/>
            </a:solidFill>
          </p:grpSpPr>
          <p:sp>
            <p:nvSpPr>
              <p:cNvPr id="201" name="Freeform: Shape 200">
                <a:extLst>
                  <a:ext uri="{FF2B5EF4-FFF2-40B4-BE49-F238E27FC236}">
                    <a16:creationId xmlns:a16="http://schemas.microsoft.com/office/drawing/2014/main" id="{7C3A1DC6-BF2B-95FF-FB0C-BDEC95688211}"/>
                  </a:ext>
                </a:extLst>
              </p:cNvPr>
              <p:cNvSpPr/>
              <p:nvPr/>
            </p:nvSpPr>
            <p:spPr>
              <a:xfrm>
                <a:off x="2231002" y="2264536"/>
                <a:ext cx="279539" cy="279654"/>
              </a:xfrm>
              <a:custGeom>
                <a:avLst/>
                <a:gdLst>
                  <a:gd name="csX0" fmla="*/ 126244 w 279539"/>
                  <a:gd name="csY0" fmla="*/ 279654 h 279654"/>
                  <a:gd name="csX1" fmla="*/ 118116 w 279539"/>
                  <a:gd name="csY1" fmla="*/ 275209 h 279654"/>
                  <a:gd name="csX2" fmla="*/ 102368 w 279539"/>
                  <a:gd name="csY2" fmla="*/ 249936 h 279654"/>
                  <a:gd name="csX3" fmla="*/ 94494 w 279539"/>
                  <a:gd name="csY3" fmla="*/ 246888 h 279654"/>
                  <a:gd name="csX4" fmla="*/ 65411 w 279539"/>
                  <a:gd name="csY4" fmla="*/ 254762 h 279654"/>
                  <a:gd name="csX5" fmla="*/ 56394 w 279539"/>
                  <a:gd name="csY5" fmla="*/ 252476 h 279654"/>
                  <a:gd name="csX6" fmla="*/ 31629 w 279539"/>
                  <a:gd name="csY6" fmla="*/ 228854 h 279654"/>
                  <a:gd name="csX7" fmla="*/ 28962 w 279539"/>
                  <a:gd name="csY7" fmla="*/ 219837 h 279654"/>
                  <a:gd name="csX8" fmla="*/ 35820 w 279539"/>
                  <a:gd name="csY8" fmla="*/ 190881 h 279654"/>
                  <a:gd name="csX9" fmla="*/ 32518 w 279539"/>
                  <a:gd name="csY9" fmla="*/ 183261 h 279654"/>
                  <a:gd name="csX10" fmla="*/ 5848 w 279539"/>
                  <a:gd name="csY10" fmla="*/ 168656 h 279654"/>
                  <a:gd name="csX11" fmla="*/ 895 w 279539"/>
                  <a:gd name="csY11" fmla="*/ 160528 h 279654"/>
                  <a:gd name="csX12" fmla="*/ 6 w 279539"/>
                  <a:gd name="csY12" fmla="*/ 126238 h 279654"/>
                  <a:gd name="csX13" fmla="*/ 4578 w 279539"/>
                  <a:gd name="csY13" fmla="*/ 117856 h 279654"/>
                  <a:gd name="csX14" fmla="*/ 30740 w 279539"/>
                  <a:gd name="csY14" fmla="*/ 101854 h 279654"/>
                  <a:gd name="csX15" fmla="*/ 33915 w 279539"/>
                  <a:gd name="csY15" fmla="*/ 93853 h 279654"/>
                  <a:gd name="csX16" fmla="*/ 25533 w 279539"/>
                  <a:gd name="csY16" fmla="*/ 65278 h 279654"/>
                  <a:gd name="csX17" fmla="*/ 27819 w 279539"/>
                  <a:gd name="csY17" fmla="*/ 56007 h 279654"/>
                  <a:gd name="csX18" fmla="*/ 51441 w 279539"/>
                  <a:gd name="csY18" fmla="*/ 31242 h 279654"/>
                  <a:gd name="csX19" fmla="*/ 60585 w 279539"/>
                  <a:gd name="csY19" fmla="*/ 28575 h 279654"/>
                  <a:gd name="csX20" fmla="*/ 89922 w 279539"/>
                  <a:gd name="csY20" fmla="*/ 35687 h 279654"/>
                  <a:gd name="csX21" fmla="*/ 97542 w 279539"/>
                  <a:gd name="csY21" fmla="*/ 32258 h 279654"/>
                  <a:gd name="csX22" fmla="*/ 112020 w 279539"/>
                  <a:gd name="csY22" fmla="*/ 5715 h 279654"/>
                  <a:gd name="csX23" fmla="*/ 120148 w 279539"/>
                  <a:gd name="csY23" fmla="*/ 762 h 279654"/>
                  <a:gd name="csX24" fmla="*/ 154438 w 279539"/>
                  <a:gd name="csY24" fmla="*/ 0 h 279654"/>
                  <a:gd name="csX25" fmla="*/ 162820 w 279539"/>
                  <a:gd name="csY25" fmla="*/ 4572 h 279654"/>
                  <a:gd name="csX26" fmla="*/ 178695 w 279539"/>
                  <a:gd name="csY26" fmla="*/ 30607 h 279654"/>
                  <a:gd name="csX27" fmla="*/ 185807 w 279539"/>
                  <a:gd name="csY27" fmla="*/ 33401 h 279654"/>
                  <a:gd name="csX28" fmla="*/ 215271 w 279539"/>
                  <a:gd name="csY28" fmla="*/ 24892 h 279654"/>
                  <a:gd name="csX29" fmla="*/ 224542 w 279539"/>
                  <a:gd name="csY29" fmla="*/ 27178 h 279654"/>
                  <a:gd name="csX30" fmla="*/ 249180 w 279539"/>
                  <a:gd name="csY30" fmla="*/ 50673 h 279654"/>
                  <a:gd name="csX31" fmla="*/ 251847 w 279539"/>
                  <a:gd name="csY31" fmla="*/ 59817 h 279654"/>
                  <a:gd name="csX32" fmla="*/ 244608 w 279539"/>
                  <a:gd name="csY32" fmla="*/ 89662 h 279654"/>
                  <a:gd name="csX33" fmla="*/ 247783 w 279539"/>
                  <a:gd name="csY33" fmla="*/ 96647 h 279654"/>
                  <a:gd name="csX34" fmla="*/ 273945 w 279539"/>
                  <a:gd name="csY34" fmla="*/ 111633 h 279654"/>
                  <a:gd name="csX35" fmla="*/ 278771 w 279539"/>
                  <a:gd name="csY35" fmla="*/ 119634 h 279654"/>
                  <a:gd name="csX36" fmla="*/ 279533 w 279539"/>
                  <a:gd name="csY36" fmla="*/ 153797 h 279654"/>
                  <a:gd name="csX37" fmla="*/ 274961 w 279539"/>
                  <a:gd name="csY37" fmla="*/ 162052 h 279654"/>
                  <a:gd name="csX38" fmla="*/ 249942 w 279539"/>
                  <a:gd name="csY38" fmla="*/ 177546 h 279654"/>
                  <a:gd name="csX39" fmla="*/ 247275 w 279539"/>
                  <a:gd name="csY39" fmla="*/ 184531 h 279654"/>
                  <a:gd name="csX40" fmla="*/ 255403 w 279539"/>
                  <a:gd name="csY40" fmla="*/ 214757 h 279654"/>
                  <a:gd name="csX41" fmla="*/ 253117 w 279539"/>
                  <a:gd name="csY41" fmla="*/ 223774 h 279654"/>
                  <a:gd name="csX42" fmla="*/ 229495 w 279539"/>
                  <a:gd name="csY42" fmla="*/ 248412 h 279654"/>
                  <a:gd name="csX43" fmla="*/ 220478 w 279539"/>
                  <a:gd name="csY43" fmla="*/ 251079 h 279654"/>
                  <a:gd name="csX44" fmla="*/ 190887 w 279539"/>
                  <a:gd name="csY44" fmla="*/ 244221 h 279654"/>
                  <a:gd name="csX45" fmla="*/ 183902 w 279539"/>
                  <a:gd name="csY45" fmla="*/ 247396 h 279654"/>
                  <a:gd name="csX46" fmla="*/ 168789 w 279539"/>
                  <a:gd name="csY46" fmla="*/ 273812 h 279654"/>
                  <a:gd name="csX47" fmla="*/ 160788 w 279539"/>
                  <a:gd name="csY47" fmla="*/ 278638 h 279654"/>
                  <a:gd name="csX48" fmla="*/ 126625 w 279539"/>
                  <a:gd name="csY48" fmla="*/ 279400 h 279654"/>
                  <a:gd name="csX49" fmla="*/ 126244 w 279539"/>
                  <a:gd name="csY49" fmla="*/ 279654 h 279654"/>
                  <a:gd name="csX50" fmla="*/ 95383 w 279539"/>
                  <a:gd name="csY50" fmla="*/ 227203 h 279654"/>
                  <a:gd name="csX51" fmla="*/ 99447 w 279539"/>
                  <a:gd name="csY51" fmla="*/ 228092 h 279654"/>
                  <a:gd name="csX52" fmla="*/ 111512 w 279539"/>
                  <a:gd name="csY52" fmla="*/ 232791 h 279654"/>
                  <a:gd name="csX53" fmla="*/ 116846 w 279539"/>
                  <a:gd name="csY53" fmla="*/ 236855 h 279654"/>
                  <a:gd name="csX54" fmla="*/ 131451 w 279539"/>
                  <a:gd name="csY54" fmla="*/ 260477 h 279654"/>
                  <a:gd name="csX55" fmla="*/ 154819 w 279539"/>
                  <a:gd name="csY55" fmla="*/ 259969 h 279654"/>
                  <a:gd name="csX56" fmla="*/ 168027 w 279539"/>
                  <a:gd name="csY56" fmla="*/ 236855 h 279654"/>
                  <a:gd name="csX57" fmla="*/ 168027 w 279539"/>
                  <a:gd name="csY57" fmla="*/ 236728 h 279654"/>
                  <a:gd name="csX58" fmla="*/ 173742 w 279539"/>
                  <a:gd name="csY58" fmla="*/ 231013 h 279654"/>
                  <a:gd name="csX59" fmla="*/ 185426 w 279539"/>
                  <a:gd name="csY59" fmla="*/ 225806 h 279654"/>
                  <a:gd name="csX60" fmla="*/ 193554 w 279539"/>
                  <a:gd name="csY60" fmla="*/ 225298 h 279654"/>
                  <a:gd name="csX61" fmla="*/ 194570 w 279539"/>
                  <a:gd name="csY61" fmla="*/ 225806 h 279654"/>
                  <a:gd name="csX62" fmla="*/ 219462 w 279539"/>
                  <a:gd name="csY62" fmla="*/ 231521 h 279654"/>
                  <a:gd name="csX63" fmla="*/ 235591 w 279539"/>
                  <a:gd name="csY63" fmla="*/ 214630 h 279654"/>
                  <a:gd name="csX64" fmla="*/ 228987 w 279539"/>
                  <a:gd name="csY64" fmla="*/ 190373 h 279654"/>
                  <a:gd name="csX65" fmla="*/ 228225 w 279539"/>
                  <a:gd name="csY65" fmla="*/ 189230 h 279654"/>
                  <a:gd name="csX66" fmla="*/ 227971 w 279539"/>
                  <a:gd name="csY66" fmla="*/ 180848 h 279654"/>
                  <a:gd name="csX67" fmla="*/ 232797 w 279539"/>
                  <a:gd name="csY67" fmla="*/ 168275 h 279654"/>
                  <a:gd name="csX68" fmla="*/ 236861 w 279539"/>
                  <a:gd name="csY68" fmla="*/ 163195 h 279654"/>
                  <a:gd name="csX69" fmla="*/ 260102 w 279539"/>
                  <a:gd name="csY69" fmla="*/ 148844 h 279654"/>
                  <a:gd name="csX70" fmla="*/ 259594 w 279539"/>
                  <a:gd name="csY70" fmla="*/ 125476 h 279654"/>
                  <a:gd name="csX71" fmla="*/ 235210 w 279539"/>
                  <a:gd name="csY71" fmla="*/ 111506 h 279654"/>
                  <a:gd name="csX72" fmla="*/ 231019 w 279539"/>
                  <a:gd name="csY72" fmla="*/ 106680 h 279654"/>
                  <a:gd name="csX73" fmla="*/ 225939 w 279539"/>
                  <a:gd name="csY73" fmla="*/ 95250 h 279654"/>
                  <a:gd name="csX74" fmla="*/ 225050 w 279539"/>
                  <a:gd name="csY74" fmla="*/ 88519 h 279654"/>
                  <a:gd name="csX75" fmla="*/ 231781 w 279539"/>
                  <a:gd name="csY75" fmla="*/ 60579 h 279654"/>
                  <a:gd name="csX76" fmla="*/ 215017 w 279539"/>
                  <a:gd name="csY76" fmla="*/ 44704 h 279654"/>
                  <a:gd name="csX77" fmla="*/ 187458 w 279539"/>
                  <a:gd name="csY77" fmla="*/ 52705 h 279654"/>
                  <a:gd name="csX78" fmla="*/ 180727 w 279539"/>
                  <a:gd name="csY78" fmla="*/ 52197 h 279654"/>
                  <a:gd name="csX79" fmla="*/ 169170 w 279539"/>
                  <a:gd name="csY79" fmla="*/ 47752 h 279654"/>
                  <a:gd name="csX80" fmla="*/ 163836 w 279539"/>
                  <a:gd name="csY80" fmla="*/ 43561 h 279654"/>
                  <a:gd name="csX81" fmla="*/ 148977 w 279539"/>
                  <a:gd name="csY81" fmla="*/ 19177 h 279654"/>
                  <a:gd name="csX82" fmla="*/ 125736 w 279539"/>
                  <a:gd name="csY82" fmla="*/ 19685 h 279654"/>
                  <a:gd name="csX83" fmla="*/ 112274 w 279539"/>
                  <a:gd name="csY83" fmla="*/ 44450 h 279654"/>
                  <a:gd name="csX84" fmla="*/ 107194 w 279539"/>
                  <a:gd name="csY84" fmla="*/ 48768 h 279654"/>
                  <a:gd name="csX85" fmla="*/ 95383 w 279539"/>
                  <a:gd name="csY85" fmla="*/ 54102 h 279654"/>
                  <a:gd name="csX86" fmla="*/ 88525 w 279539"/>
                  <a:gd name="csY86" fmla="*/ 54991 h 279654"/>
                  <a:gd name="csX87" fmla="*/ 61347 w 279539"/>
                  <a:gd name="csY87" fmla="*/ 48387 h 279654"/>
                  <a:gd name="csX88" fmla="*/ 45345 w 279539"/>
                  <a:gd name="csY88" fmla="*/ 65151 h 279654"/>
                  <a:gd name="csX89" fmla="*/ 53219 w 279539"/>
                  <a:gd name="csY89" fmla="*/ 91821 h 279654"/>
                  <a:gd name="csX90" fmla="*/ 52584 w 279539"/>
                  <a:gd name="csY90" fmla="*/ 98806 h 279654"/>
                  <a:gd name="csX91" fmla="*/ 47631 w 279539"/>
                  <a:gd name="csY91" fmla="*/ 111125 h 279654"/>
                  <a:gd name="csX92" fmla="*/ 43567 w 279539"/>
                  <a:gd name="csY92" fmla="*/ 116332 h 279654"/>
                  <a:gd name="csX93" fmla="*/ 19183 w 279539"/>
                  <a:gd name="csY93" fmla="*/ 131191 h 279654"/>
                  <a:gd name="csX94" fmla="*/ 19691 w 279539"/>
                  <a:gd name="csY94" fmla="*/ 154305 h 279654"/>
                  <a:gd name="csX95" fmla="*/ 44710 w 279539"/>
                  <a:gd name="csY95" fmla="*/ 167894 h 279654"/>
                  <a:gd name="csX96" fmla="*/ 49155 w 279539"/>
                  <a:gd name="csY96" fmla="*/ 173101 h 279654"/>
                  <a:gd name="csX97" fmla="*/ 54235 w 279539"/>
                  <a:gd name="csY97" fmla="*/ 184658 h 279654"/>
                  <a:gd name="csX98" fmla="*/ 55124 w 279539"/>
                  <a:gd name="csY98" fmla="*/ 191389 h 279654"/>
                  <a:gd name="csX99" fmla="*/ 48774 w 279539"/>
                  <a:gd name="csY99" fmla="*/ 218440 h 279654"/>
                  <a:gd name="csX100" fmla="*/ 65665 w 279539"/>
                  <a:gd name="csY100" fmla="*/ 234569 h 279654"/>
                  <a:gd name="csX101" fmla="*/ 92843 w 279539"/>
                  <a:gd name="csY101" fmla="*/ 227203 h 279654"/>
                  <a:gd name="csX102" fmla="*/ 95383 w 279539"/>
                  <a:gd name="csY102" fmla="*/ 227203 h 27965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Lst>
                <a:rect l="l" t="t" r="r" b="b"/>
                <a:pathLst>
                  <a:path w="279539" h="279654">
                    <a:moveTo>
                      <a:pt x="126244" y="279654"/>
                    </a:moveTo>
                    <a:cubicBezTo>
                      <a:pt x="122942" y="279654"/>
                      <a:pt x="119894" y="278003"/>
                      <a:pt x="118116" y="275209"/>
                    </a:cubicBezTo>
                    <a:lnTo>
                      <a:pt x="102368" y="249936"/>
                    </a:lnTo>
                    <a:cubicBezTo>
                      <a:pt x="99701" y="249047"/>
                      <a:pt x="97161" y="248031"/>
                      <a:pt x="94494" y="246888"/>
                    </a:cubicBezTo>
                    <a:lnTo>
                      <a:pt x="65411" y="254762"/>
                    </a:lnTo>
                    <a:cubicBezTo>
                      <a:pt x="62236" y="255651"/>
                      <a:pt x="58807" y="254762"/>
                      <a:pt x="56394" y="252476"/>
                    </a:cubicBezTo>
                    <a:lnTo>
                      <a:pt x="31629" y="228854"/>
                    </a:lnTo>
                    <a:cubicBezTo>
                      <a:pt x="29216" y="226568"/>
                      <a:pt x="28200" y="223012"/>
                      <a:pt x="28962" y="219837"/>
                    </a:cubicBezTo>
                    <a:lnTo>
                      <a:pt x="35820" y="190881"/>
                    </a:lnTo>
                    <a:cubicBezTo>
                      <a:pt x="34677" y="188468"/>
                      <a:pt x="33534" y="185801"/>
                      <a:pt x="32518" y="183261"/>
                    </a:cubicBezTo>
                    <a:lnTo>
                      <a:pt x="5848" y="168656"/>
                    </a:lnTo>
                    <a:cubicBezTo>
                      <a:pt x="2800" y="167005"/>
                      <a:pt x="895" y="163957"/>
                      <a:pt x="895" y="160528"/>
                    </a:cubicBezTo>
                    <a:lnTo>
                      <a:pt x="6" y="126238"/>
                    </a:lnTo>
                    <a:cubicBezTo>
                      <a:pt x="-121" y="122809"/>
                      <a:pt x="1657" y="119634"/>
                      <a:pt x="4578" y="117856"/>
                    </a:cubicBezTo>
                    <a:lnTo>
                      <a:pt x="30740" y="101854"/>
                    </a:lnTo>
                    <a:cubicBezTo>
                      <a:pt x="31756" y="98933"/>
                      <a:pt x="32772" y="96266"/>
                      <a:pt x="33915" y="93853"/>
                    </a:cubicBezTo>
                    <a:lnTo>
                      <a:pt x="25533" y="65278"/>
                    </a:lnTo>
                    <a:cubicBezTo>
                      <a:pt x="24517" y="61976"/>
                      <a:pt x="25406" y="58547"/>
                      <a:pt x="27819" y="56007"/>
                    </a:cubicBezTo>
                    <a:lnTo>
                      <a:pt x="51441" y="31242"/>
                    </a:lnTo>
                    <a:cubicBezTo>
                      <a:pt x="53854" y="28829"/>
                      <a:pt x="57283" y="27686"/>
                      <a:pt x="60585" y="28575"/>
                    </a:cubicBezTo>
                    <a:lnTo>
                      <a:pt x="89922" y="35687"/>
                    </a:lnTo>
                    <a:cubicBezTo>
                      <a:pt x="92335" y="34544"/>
                      <a:pt x="94875" y="33401"/>
                      <a:pt x="97542" y="32258"/>
                    </a:cubicBezTo>
                    <a:lnTo>
                      <a:pt x="112020" y="5715"/>
                    </a:lnTo>
                    <a:cubicBezTo>
                      <a:pt x="113671" y="2667"/>
                      <a:pt x="116719" y="762"/>
                      <a:pt x="120148" y="762"/>
                    </a:cubicBezTo>
                    <a:lnTo>
                      <a:pt x="154438" y="0"/>
                    </a:lnTo>
                    <a:cubicBezTo>
                      <a:pt x="157613" y="127"/>
                      <a:pt x="161042" y="1651"/>
                      <a:pt x="162820" y="4572"/>
                    </a:cubicBezTo>
                    <a:lnTo>
                      <a:pt x="178695" y="30607"/>
                    </a:lnTo>
                    <a:cubicBezTo>
                      <a:pt x="181108" y="31496"/>
                      <a:pt x="183394" y="32385"/>
                      <a:pt x="185807" y="33401"/>
                    </a:cubicBezTo>
                    <a:lnTo>
                      <a:pt x="215271" y="24892"/>
                    </a:lnTo>
                    <a:cubicBezTo>
                      <a:pt x="218573" y="24003"/>
                      <a:pt x="222002" y="24765"/>
                      <a:pt x="224542" y="27178"/>
                    </a:cubicBezTo>
                    <a:lnTo>
                      <a:pt x="249180" y="50673"/>
                    </a:lnTo>
                    <a:cubicBezTo>
                      <a:pt x="251593" y="52959"/>
                      <a:pt x="252609" y="56515"/>
                      <a:pt x="251847" y="59817"/>
                    </a:cubicBezTo>
                    <a:lnTo>
                      <a:pt x="244608" y="89662"/>
                    </a:lnTo>
                    <a:cubicBezTo>
                      <a:pt x="245751" y="91948"/>
                      <a:pt x="246767" y="94234"/>
                      <a:pt x="247783" y="96647"/>
                    </a:cubicBezTo>
                    <a:lnTo>
                      <a:pt x="273945" y="111633"/>
                    </a:lnTo>
                    <a:cubicBezTo>
                      <a:pt x="276866" y="113284"/>
                      <a:pt x="278644" y="116332"/>
                      <a:pt x="278771" y="119634"/>
                    </a:cubicBezTo>
                    <a:lnTo>
                      <a:pt x="279533" y="153797"/>
                    </a:lnTo>
                    <a:cubicBezTo>
                      <a:pt x="279660" y="157226"/>
                      <a:pt x="277882" y="160274"/>
                      <a:pt x="274961" y="162052"/>
                    </a:cubicBezTo>
                    <a:lnTo>
                      <a:pt x="249942" y="177546"/>
                    </a:lnTo>
                    <a:cubicBezTo>
                      <a:pt x="249053" y="179959"/>
                      <a:pt x="248291" y="182245"/>
                      <a:pt x="247275" y="184531"/>
                    </a:cubicBezTo>
                    <a:lnTo>
                      <a:pt x="255403" y="214757"/>
                    </a:lnTo>
                    <a:cubicBezTo>
                      <a:pt x="256292" y="217932"/>
                      <a:pt x="255403" y="221361"/>
                      <a:pt x="253117" y="223774"/>
                    </a:cubicBezTo>
                    <a:lnTo>
                      <a:pt x="229495" y="248412"/>
                    </a:lnTo>
                    <a:cubicBezTo>
                      <a:pt x="227209" y="250825"/>
                      <a:pt x="223653" y="251841"/>
                      <a:pt x="220478" y="251079"/>
                    </a:cubicBezTo>
                    <a:lnTo>
                      <a:pt x="190887" y="244221"/>
                    </a:lnTo>
                    <a:cubicBezTo>
                      <a:pt x="188601" y="245364"/>
                      <a:pt x="186188" y="246380"/>
                      <a:pt x="183902" y="247396"/>
                    </a:cubicBezTo>
                    <a:lnTo>
                      <a:pt x="168789" y="273812"/>
                    </a:lnTo>
                    <a:cubicBezTo>
                      <a:pt x="167138" y="276733"/>
                      <a:pt x="164090" y="278511"/>
                      <a:pt x="160788" y="278638"/>
                    </a:cubicBezTo>
                    <a:lnTo>
                      <a:pt x="126625" y="279400"/>
                    </a:lnTo>
                    <a:cubicBezTo>
                      <a:pt x="126371" y="279654"/>
                      <a:pt x="126371" y="279654"/>
                      <a:pt x="126244" y="279654"/>
                    </a:cubicBezTo>
                    <a:close/>
                    <a:moveTo>
                      <a:pt x="95383" y="227203"/>
                    </a:moveTo>
                    <a:cubicBezTo>
                      <a:pt x="96780" y="227203"/>
                      <a:pt x="98177" y="227457"/>
                      <a:pt x="99447" y="228092"/>
                    </a:cubicBezTo>
                    <a:cubicBezTo>
                      <a:pt x="103511" y="229997"/>
                      <a:pt x="107575" y="231648"/>
                      <a:pt x="111512" y="232791"/>
                    </a:cubicBezTo>
                    <a:cubicBezTo>
                      <a:pt x="113671" y="233426"/>
                      <a:pt x="115576" y="234950"/>
                      <a:pt x="116846" y="236855"/>
                    </a:cubicBezTo>
                    <a:lnTo>
                      <a:pt x="131451" y="260477"/>
                    </a:lnTo>
                    <a:lnTo>
                      <a:pt x="154819" y="259969"/>
                    </a:lnTo>
                    <a:lnTo>
                      <a:pt x="168027" y="236855"/>
                    </a:lnTo>
                    <a:cubicBezTo>
                      <a:pt x="168027" y="236855"/>
                      <a:pt x="168027" y="236855"/>
                      <a:pt x="168027" y="236728"/>
                    </a:cubicBezTo>
                    <a:cubicBezTo>
                      <a:pt x="169043" y="234061"/>
                      <a:pt x="171075" y="231902"/>
                      <a:pt x="173742" y="231013"/>
                    </a:cubicBezTo>
                    <a:cubicBezTo>
                      <a:pt x="177425" y="229743"/>
                      <a:pt x="181362" y="227965"/>
                      <a:pt x="185426" y="225806"/>
                    </a:cubicBezTo>
                    <a:cubicBezTo>
                      <a:pt x="187966" y="224409"/>
                      <a:pt x="190887" y="224282"/>
                      <a:pt x="193554" y="225298"/>
                    </a:cubicBezTo>
                    <a:cubicBezTo>
                      <a:pt x="193935" y="225425"/>
                      <a:pt x="194189" y="225552"/>
                      <a:pt x="194570" y="225806"/>
                    </a:cubicBezTo>
                    <a:lnTo>
                      <a:pt x="219462" y="231521"/>
                    </a:lnTo>
                    <a:lnTo>
                      <a:pt x="235591" y="214630"/>
                    </a:lnTo>
                    <a:lnTo>
                      <a:pt x="228987" y="190373"/>
                    </a:lnTo>
                    <a:cubicBezTo>
                      <a:pt x="228733" y="189992"/>
                      <a:pt x="228479" y="189611"/>
                      <a:pt x="228225" y="189230"/>
                    </a:cubicBezTo>
                    <a:cubicBezTo>
                      <a:pt x="226828" y="186690"/>
                      <a:pt x="226828" y="183515"/>
                      <a:pt x="227971" y="180848"/>
                    </a:cubicBezTo>
                    <a:cubicBezTo>
                      <a:pt x="229876" y="176657"/>
                      <a:pt x="231400" y="172593"/>
                      <a:pt x="232797" y="168275"/>
                    </a:cubicBezTo>
                    <a:cubicBezTo>
                      <a:pt x="233559" y="166116"/>
                      <a:pt x="234956" y="164338"/>
                      <a:pt x="236861" y="163195"/>
                    </a:cubicBezTo>
                    <a:lnTo>
                      <a:pt x="260102" y="148844"/>
                    </a:lnTo>
                    <a:lnTo>
                      <a:pt x="259594" y="125476"/>
                    </a:lnTo>
                    <a:lnTo>
                      <a:pt x="235210" y="111506"/>
                    </a:lnTo>
                    <a:cubicBezTo>
                      <a:pt x="233305" y="110363"/>
                      <a:pt x="231781" y="108712"/>
                      <a:pt x="231019" y="106680"/>
                    </a:cubicBezTo>
                    <a:cubicBezTo>
                      <a:pt x="229495" y="102743"/>
                      <a:pt x="227844" y="99060"/>
                      <a:pt x="225939" y="95250"/>
                    </a:cubicBezTo>
                    <a:cubicBezTo>
                      <a:pt x="224796" y="93218"/>
                      <a:pt x="224542" y="90805"/>
                      <a:pt x="225050" y="88519"/>
                    </a:cubicBezTo>
                    <a:lnTo>
                      <a:pt x="231781" y="60579"/>
                    </a:lnTo>
                    <a:lnTo>
                      <a:pt x="215017" y="44704"/>
                    </a:lnTo>
                    <a:lnTo>
                      <a:pt x="187458" y="52705"/>
                    </a:lnTo>
                    <a:cubicBezTo>
                      <a:pt x="185172" y="53340"/>
                      <a:pt x="182886" y="53213"/>
                      <a:pt x="180727" y="52197"/>
                    </a:cubicBezTo>
                    <a:cubicBezTo>
                      <a:pt x="176917" y="50419"/>
                      <a:pt x="173107" y="48895"/>
                      <a:pt x="169170" y="47752"/>
                    </a:cubicBezTo>
                    <a:cubicBezTo>
                      <a:pt x="167011" y="47117"/>
                      <a:pt x="165106" y="45593"/>
                      <a:pt x="163836" y="43561"/>
                    </a:cubicBezTo>
                    <a:lnTo>
                      <a:pt x="148977" y="19177"/>
                    </a:lnTo>
                    <a:lnTo>
                      <a:pt x="125736" y="19685"/>
                    </a:lnTo>
                    <a:lnTo>
                      <a:pt x="112274" y="44450"/>
                    </a:lnTo>
                    <a:cubicBezTo>
                      <a:pt x="111131" y="46482"/>
                      <a:pt x="109353" y="48006"/>
                      <a:pt x="107194" y="48768"/>
                    </a:cubicBezTo>
                    <a:cubicBezTo>
                      <a:pt x="102622" y="50419"/>
                      <a:pt x="98812" y="52197"/>
                      <a:pt x="95383" y="54102"/>
                    </a:cubicBezTo>
                    <a:cubicBezTo>
                      <a:pt x="93351" y="55245"/>
                      <a:pt x="90811" y="55499"/>
                      <a:pt x="88525" y="54991"/>
                    </a:cubicBezTo>
                    <a:lnTo>
                      <a:pt x="61347" y="48387"/>
                    </a:lnTo>
                    <a:lnTo>
                      <a:pt x="45345" y="65151"/>
                    </a:lnTo>
                    <a:lnTo>
                      <a:pt x="53219" y="91821"/>
                    </a:lnTo>
                    <a:cubicBezTo>
                      <a:pt x="53854" y="94107"/>
                      <a:pt x="53727" y="96647"/>
                      <a:pt x="52584" y="98806"/>
                    </a:cubicBezTo>
                    <a:cubicBezTo>
                      <a:pt x="50806" y="102362"/>
                      <a:pt x="49155" y="106426"/>
                      <a:pt x="47631" y="111125"/>
                    </a:cubicBezTo>
                    <a:cubicBezTo>
                      <a:pt x="46996" y="113284"/>
                      <a:pt x="45472" y="115189"/>
                      <a:pt x="43567" y="116332"/>
                    </a:cubicBezTo>
                    <a:lnTo>
                      <a:pt x="19183" y="131191"/>
                    </a:lnTo>
                    <a:lnTo>
                      <a:pt x="19691" y="154305"/>
                    </a:lnTo>
                    <a:lnTo>
                      <a:pt x="44710" y="167894"/>
                    </a:lnTo>
                    <a:cubicBezTo>
                      <a:pt x="46869" y="169037"/>
                      <a:pt x="48393" y="170942"/>
                      <a:pt x="49155" y="173101"/>
                    </a:cubicBezTo>
                    <a:cubicBezTo>
                      <a:pt x="50552" y="177292"/>
                      <a:pt x="52330" y="181229"/>
                      <a:pt x="54235" y="184658"/>
                    </a:cubicBezTo>
                    <a:cubicBezTo>
                      <a:pt x="55378" y="186690"/>
                      <a:pt x="55632" y="189103"/>
                      <a:pt x="55124" y="191389"/>
                    </a:cubicBezTo>
                    <a:lnTo>
                      <a:pt x="48774" y="218440"/>
                    </a:lnTo>
                    <a:lnTo>
                      <a:pt x="65665" y="234569"/>
                    </a:lnTo>
                    <a:lnTo>
                      <a:pt x="92843" y="227203"/>
                    </a:lnTo>
                    <a:cubicBezTo>
                      <a:pt x="93732" y="227330"/>
                      <a:pt x="94494" y="227203"/>
                      <a:pt x="95383" y="227203"/>
                    </a:cubicBezTo>
                    <a:close/>
                  </a:path>
                </a:pathLst>
              </a:custGeom>
              <a:grpFill/>
              <a:ln w="12700" cap="flat">
                <a:noFill/>
                <a:prstDash val="solid"/>
                <a:miter/>
              </a:ln>
            </p:spPr>
            <p:txBody>
              <a:bodyPr/>
              <a:lstStyle/>
              <a:p>
                <a:endParaRPr lang="en-IN"/>
              </a:p>
            </p:txBody>
          </p:sp>
          <p:sp>
            <p:nvSpPr>
              <p:cNvPr id="202" name="Freeform: Shape 201">
                <a:extLst>
                  <a:ext uri="{FF2B5EF4-FFF2-40B4-BE49-F238E27FC236}">
                    <a16:creationId xmlns:a16="http://schemas.microsoft.com/office/drawing/2014/main" id="{A6A75238-A2DA-00B5-5CF3-2DBE84C0EE0F}"/>
                  </a:ext>
                </a:extLst>
              </p:cNvPr>
              <p:cNvSpPr/>
              <p:nvPr/>
            </p:nvSpPr>
            <p:spPr>
              <a:xfrm>
                <a:off x="2300061" y="2332983"/>
                <a:ext cx="142946" cy="143008"/>
              </a:xfrm>
              <a:custGeom>
                <a:avLst/>
                <a:gdLst>
                  <a:gd name="csX0" fmla="*/ 71410 w 142946"/>
                  <a:gd name="csY0" fmla="*/ 143009 h 143008"/>
                  <a:gd name="csX1" fmla="*/ 22134 w 142946"/>
                  <a:gd name="csY1" fmla="*/ 123197 h 143008"/>
                  <a:gd name="csX2" fmla="*/ 19721 w 142946"/>
                  <a:gd name="csY2" fmla="*/ 22105 h 143008"/>
                  <a:gd name="csX3" fmla="*/ 69759 w 142946"/>
                  <a:gd name="csY3" fmla="*/ 7 h 143008"/>
                  <a:gd name="csX4" fmla="*/ 120813 w 142946"/>
                  <a:gd name="csY4" fmla="*/ 19692 h 143008"/>
                  <a:gd name="csX5" fmla="*/ 123226 w 142946"/>
                  <a:gd name="csY5" fmla="*/ 120784 h 143008"/>
                  <a:gd name="csX6" fmla="*/ 73188 w 142946"/>
                  <a:gd name="csY6" fmla="*/ 142882 h 143008"/>
                  <a:gd name="csX7" fmla="*/ 71410 w 142946"/>
                  <a:gd name="csY7" fmla="*/ 143009 h 143008"/>
                  <a:gd name="csX8" fmla="*/ 71410 w 142946"/>
                  <a:gd name="csY8" fmla="*/ 19057 h 143008"/>
                  <a:gd name="csX9" fmla="*/ 70140 w 142946"/>
                  <a:gd name="csY9" fmla="*/ 19057 h 143008"/>
                  <a:gd name="csX10" fmla="*/ 33437 w 142946"/>
                  <a:gd name="csY10" fmla="*/ 35313 h 143008"/>
                  <a:gd name="csX11" fmla="*/ 35215 w 142946"/>
                  <a:gd name="csY11" fmla="*/ 109481 h 143008"/>
                  <a:gd name="csX12" fmla="*/ 72680 w 142946"/>
                  <a:gd name="csY12" fmla="*/ 123959 h 143008"/>
                  <a:gd name="csX13" fmla="*/ 109383 w 142946"/>
                  <a:gd name="csY13" fmla="*/ 107703 h 143008"/>
                  <a:gd name="csX14" fmla="*/ 123861 w 142946"/>
                  <a:gd name="csY14" fmla="*/ 70238 h 143008"/>
                  <a:gd name="csX15" fmla="*/ 107605 w 142946"/>
                  <a:gd name="csY15" fmla="*/ 33535 h 143008"/>
                  <a:gd name="csX16" fmla="*/ 71410 w 142946"/>
                  <a:gd name="csY16" fmla="*/ 19057 h 14300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Lst>
                <a:rect l="l" t="t" r="r" b="b"/>
                <a:pathLst>
                  <a:path w="142946" h="143008">
                    <a:moveTo>
                      <a:pt x="71410" y="143009"/>
                    </a:moveTo>
                    <a:cubicBezTo>
                      <a:pt x="52995" y="143009"/>
                      <a:pt x="35469" y="136024"/>
                      <a:pt x="22134" y="123197"/>
                    </a:cubicBezTo>
                    <a:cubicBezTo>
                      <a:pt x="-6441" y="96019"/>
                      <a:pt x="-7457" y="50680"/>
                      <a:pt x="19721" y="22105"/>
                    </a:cubicBezTo>
                    <a:cubicBezTo>
                      <a:pt x="32929" y="8262"/>
                      <a:pt x="50709" y="388"/>
                      <a:pt x="69759" y="7"/>
                    </a:cubicBezTo>
                    <a:cubicBezTo>
                      <a:pt x="88428" y="-247"/>
                      <a:pt x="106970" y="6611"/>
                      <a:pt x="120813" y="19692"/>
                    </a:cubicBezTo>
                    <a:cubicBezTo>
                      <a:pt x="149388" y="46870"/>
                      <a:pt x="150404" y="92209"/>
                      <a:pt x="123226" y="120784"/>
                    </a:cubicBezTo>
                    <a:cubicBezTo>
                      <a:pt x="110018" y="134627"/>
                      <a:pt x="92238" y="142501"/>
                      <a:pt x="73188" y="142882"/>
                    </a:cubicBezTo>
                    <a:cubicBezTo>
                      <a:pt x="72553" y="142882"/>
                      <a:pt x="71918" y="143009"/>
                      <a:pt x="71410" y="143009"/>
                    </a:cubicBezTo>
                    <a:close/>
                    <a:moveTo>
                      <a:pt x="71410" y="19057"/>
                    </a:moveTo>
                    <a:cubicBezTo>
                      <a:pt x="71029" y="19057"/>
                      <a:pt x="70521" y="19057"/>
                      <a:pt x="70140" y="19057"/>
                    </a:cubicBezTo>
                    <a:cubicBezTo>
                      <a:pt x="56170" y="19438"/>
                      <a:pt x="43089" y="25153"/>
                      <a:pt x="33437" y="35313"/>
                    </a:cubicBezTo>
                    <a:cubicBezTo>
                      <a:pt x="13498" y="56268"/>
                      <a:pt x="14260" y="89542"/>
                      <a:pt x="35215" y="109481"/>
                    </a:cubicBezTo>
                    <a:cubicBezTo>
                      <a:pt x="45375" y="119133"/>
                      <a:pt x="58583" y="124086"/>
                      <a:pt x="72680" y="123959"/>
                    </a:cubicBezTo>
                    <a:cubicBezTo>
                      <a:pt x="86650" y="123578"/>
                      <a:pt x="99731" y="117863"/>
                      <a:pt x="109383" y="107703"/>
                    </a:cubicBezTo>
                    <a:cubicBezTo>
                      <a:pt x="119035" y="97543"/>
                      <a:pt x="124242" y="84208"/>
                      <a:pt x="123861" y="70238"/>
                    </a:cubicBezTo>
                    <a:cubicBezTo>
                      <a:pt x="123480" y="56268"/>
                      <a:pt x="117765" y="43187"/>
                      <a:pt x="107605" y="33535"/>
                    </a:cubicBezTo>
                    <a:cubicBezTo>
                      <a:pt x="97826" y="24137"/>
                      <a:pt x="84999" y="19057"/>
                      <a:pt x="71410" y="19057"/>
                    </a:cubicBezTo>
                    <a:close/>
                  </a:path>
                </a:pathLst>
              </a:custGeom>
              <a:grpFill/>
              <a:ln w="12700" cap="flat">
                <a:noFill/>
                <a:prstDash val="solid"/>
                <a:miter/>
              </a:ln>
            </p:spPr>
            <p:txBody>
              <a:bodyPr/>
              <a:lstStyle/>
              <a:p>
                <a:endParaRPr lang="en-IN"/>
              </a:p>
            </p:txBody>
          </p:sp>
          <p:sp>
            <p:nvSpPr>
              <p:cNvPr id="203" name="Freeform: Shape 202">
                <a:extLst>
                  <a:ext uri="{FF2B5EF4-FFF2-40B4-BE49-F238E27FC236}">
                    <a16:creationId xmlns:a16="http://schemas.microsoft.com/office/drawing/2014/main" id="{5EE6AF28-2229-59E2-ACC8-3FC75D025FE1}"/>
                  </a:ext>
                </a:extLst>
              </p:cNvPr>
              <p:cNvSpPr/>
              <p:nvPr/>
            </p:nvSpPr>
            <p:spPr>
              <a:xfrm>
                <a:off x="2339612" y="2380328"/>
                <a:ext cx="65592" cy="52991"/>
              </a:xfrm>
              <a:custGeom>
                <a:avLst/>
                <a:gdLst>
                  <a:gd name="csX0" fmla="*/ 23095 w 65592"/>
                  <a:gd name="csY0" fmla="*/ 52992 h 52991"/>
                  <a:gd name="csX1" fmla="*/ 16745 w 65592"/>
                  <a:gd name="csY1" fmla="*/ 50579 h 52991"/>
                  <a:gd name="csX2" fmla="*/ 3156 w 65592"/>
                  <a:gd name="csY2" fmla="*/ 38387 h 52991"/>
                  <a:gd name="csX3" fmla="*/ 2394 w 65592"/>
                  <a:gd name="csY3" fmla="*/ 24925 h 52991"/>
                  <a:gd name="csX4" fmla="*/ 15856 w 65592"/>
                  <a:gd name="csY4" fmla="*/ 24163 h 52991"/>
                  <a:gd name="csX5" fmla="*/ 22587 w 65592"/>
                  <a:gd name="csY5" fmla="*/ 30259 h 52991"/>
                  <a:gd name="csX6" fmla="*/ 49257 w 65592"/>
                  <a:gd name="csY6" fmla="*/ 2827 h 52991"/>
                  <a:gd name="csX7" fmla="*/ 62719 w 65592"/>
                  <a:gd name="csY7" fmla="*/ 2700 h 52991"/>
                  <a:gd name="csX8" fmla="*/ 62846 w 65592"/>
                  <a:gd name="csY8" fmla="*/ 16162 h 52991"/>
                  <a:gd name="csX9" fmla="*/ 29826 w 65592"/>
                  <a:gd name="csY9" fmla="*/ 50071 h 52991"/>
                  <a:gd name="csX10" fmla="*/ 23095 w 65592"/>
                  <a:gd name="csY10" fmla="*/ 52992 h 5299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Lst>
                <a:rect l="l" t="t" r="r" b="b"/>
                <a:pathLst>
                  <a:path w="65592" h="52991">
                    <a:moveTo>
                      <a:pt x="23095" y="52992"/>
                    </a:moveTo>
                    <a:cubicBezTo>
                      <a:pt x="20809" y="52992"/>
                      <a:pt x="18523" y="52230"/>
                      <a:pt x="16745" y="50579"/>
                    </a:cubicBezTo>
                    <a:lnTo>
                      <a:pt x="3156" y="38387"/>
                    </a:lnTo>
                    <a:cubicBezTo>
                      <a:pt x="-781" y="34831"/>
                      <a:pt x="-1035" y="28862"/>
                      <a:pt x="2394" y="24925"/>
                    </a:cubicBezTo>
                    <a:cubicBezTo>
                      <a:pt x="5950" y="20988"/>
                      <a:pt x="11919" y="20734"/>
                      <a:pt x="15856" y="24163"/>
                    </a:cubicBezTo>
                    <a:lnTo>
                      <a:pt x="22587" y="30259"/>
                    </a:lnTo>
                    <a:lnTo>
                      <a:pt x="49257" y="2827"/>
                    </a:lnTo>
                    <a:cubicBezTo>
                      <a:pt x="52940" y="-856"/>
                      <a:pt x="58909" y="-983"/>
                      <a:pt x="62719" y="2700"/>
                    </a:cubicBezTo>
                    <a:cubicBezTo>
                      <a:pt x="66529" y="6383"/>
                      <a:pt x="66529" y="12352"/>
                      <a:pt x="62846" y="16162"/>
                    </a:cubicBezTo>
                    <a:lnTo>
                      <a:pt x="29826" y="50071"/>
                    </a:lnTo>
                    <a:cubicBezTo>
                      <a:pt x="28048" y="51976"/>
                      <a:pt x="25508" y="52992"/>
                      <a:pt x="23095" y="52992"/>
                    </a:cubicBezTo>
                    <a:close/>
                  </a:path>
                </a:pathLst>
              </a:custGeom>
              <a:grpFill/>
              <a:ln w="12700" cap="flat">
                <a:noFill/>
                <a:prstDash val="solid"/>
                <a:miter/>
              </a:ln>
            </p:spPr>
            <p:txBody>
              <a:bodyPr/>
              <a:lstStyle/>
              <a:p>
                <a:endParaRPr lang="en-IN"/>
              </a:p>
            </p:txBody>
          </p:sp>
          <p:sp>
            <p:nvSpPr>
              <p:cNvPr id="204" name="Freeform: Shape 203">
                <a:extLst>
                  <a:ext uri="{FF2B5EF4-FFF2-40B4-BE49-F238E27FC236}">
                    <a16:creationId xmlns:a16="http://schemas.microsoft.com/office/drawing/2014/main" id="{32C001D3-D6FA-E97D-863B-1296E7D8EE85}"/>
                  </a:ext>
                </a:extLst>
              </p:cNvPr>
              <p:cNvSpPr/>
              <p:nvPr/>
            </p:nvSpPr>
            <p:spPr>
              <a:xfrm>
                <a:off x="2478786" y="2509900"/>
                <a:ext cx="296163" cy="296164"/>
              </a:xfrm>
              <a:custGeom>
                <a:avLst/>
                <a:gdLst>
                  <a:gd name="csX0" fmla="*/ 148082 w 296163"/>
                  <a:gd name="csY0" fmla="*/ 296164 h 296164"/>
                  <a:gd name="csX1" fmla="*/ 0 w 296163"/>
                  <a:gd name="csY1" fmla="*/ 148082 h 296164"/>
                  <a:gd name="csX2" fmla="*/ 148082 w 296163"/>
                  <a:gd name="csY2" fmla="*/ 0 h 296164"/>
                  <a:gd name="csX3" fmla="*/ 296164 w 296163"/>
                  <a:gd name="csY3" fmla="*/ 147955 h 296164"/>
                  <a:gd name="csX4" fmla="*/ 148082 w 296163"/>
                  <a:gd name="csY4" fmla="*/ 296164 h 296164"/>
                  <a:gd name="csX5" fmla="*/ 148082 w 296163"/>
                  <a:gd name="csY5" fmla="*/ 18923 h 296164"/>
                  <a:gd name="csX6" fmla="*/ 19050 w 296163"/>
                  <a:gd name="csY6" fmla="*/ 147955 h 296164"/>
                  <a:gd name="csX7" fmla="*/ 148082 w 296163"/>
                  <a:gd name="csY7" fmla="*/ 276987 h 296164"/>
                  <a:gd name="csX8" fmla="*/ 277114 w 296163"/>
                  <a:gd name="csY8" fmla="*/ 147955 h 296164"/>
                  <a:gd name="csX9" fmla="*/ 148082 w 296163"/>
                  <a:gd name="csY9" fmla="*/ 18923 h 29616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296163" h="296164">
                    <a:moveTo>
                      <a:pt x="148082" y="296164"/>
                    </a:moveTo>
                    <a:cubicBezTo>
                      <a:pt x="66421" y="296164"/>
                      <a:pt x="0" y="229743"/>
                      <a:pt x="0" y="148082"/>
                    </a:cubicBezTo>
                    <a:cubicBezTo>
                      <a:pt x="0" y="66421"/>
                      <a:pt x="66421" y="0"/>
                      <a:pt x="148082" y="0"/>
                    </a:cubicBezTo>
                    <a:cubicBezTo>
                      <a:pt x="229743" y="-127"/>
                      <a:pt x="296164" y="66294"/>
                      <a:pt x="296164" y="147955"/>
                    </a:cubicBezTo>
                    <a:cubicBezTo>
                      <a:pt x="296164" y="229616"/>
                      <a:pt x="229743" y="296164"/>
                      <a:pt x="148082" y="296164"/>
                    </a:cubicBezTo>
                    <a:close/>
                    <a:moveTo>
                      <a:pt x="148082" y="18923"/>
                    </a:moveTo>
                    <a:cubicBezTo>
                      <a:pt x="76962" y="18923"/>
                      <a:pt x="19050" y="76835"/>
                      <a:pt x="19050" y="147955"/>
                    </a:cubicBezTo>
                    <a:cubicBezTo>
                      <a:pt x="19050" y="219075"/>
                      <a:pt x="76962" y="276987"/>
                      <a:pt x="148082" y="276987"/>
                    </a:cubicBezTo>
                    <a:cubicBezTo>
                      <a:pt x="219202" y="276987"/>
                      <a:pt x="277114" y="219075"/>
                      <a:pt x="277114" y="147955"/>
                    </a:cubicBezTo>
                    <a:cubicBezTo>
                      <a:pt x="277114" y="76835"/>
                      <a:pt x="219202" y="18923"/>
                      <a:pt x="148082" y="18923"/>
                    </a:cubicBezTo>
                    <a:close/>
                  </a:path>
                </a:pathLst>
              </a:custGeom>
              <a:grpFill/>
              <a:ln w="12700" cap="flat">
                <a:noFill/>
                <a:prstDash val="solid"/>
                <a:miter/>
              </a:ln>
            </p:spPr>
            <p:txBody>
              <a:bodyPr/>
              <a:lstStyle/>
              <a:p>
                <a:endParaRPr lang="en-IN"/>
              </a:p>
            </p:txBody>
          </p:sp>
          <p:sp>
            <p:nvSpPr>
              <p:cNvPr id="205" name="Freeform: Shape 204">
                <a:extLst>
                  <a:ext uri="{FF2B5EF4-FFF2-40B4-BE49-F238E27FC236}">
                    <a16:creationId xmlns:a16="http://schemas.microsoft.com/office/drawing/2014/main" id="{3886DE02-1D5A-FD02-FF55-5921364889DB}"/>
                  </a:ext>
                </a:extLst>
              </p:cNvPr>
              <p:cNvSpPr/>
              <p:nvPr/>
            </p:nvSpPr>
            <p:spPr>
              <a:xfrm>
                <a:off x="2586355" y="2579877"/>
                <a:ext cx="81025" cy="81026"/>
              </a:xfrm>
              <a:custGeom>
                <a:avLst/>
                <a:gdLst>
                  <a:gd name="csX0" fmla="*/ 40513 w 81025"/>
                  <a:gd name="csY0" fmla="*/ 81026 h 81026"/>
                  <a:gd name="csX1" fmla="*/ 0 w 81025"/>
                  <a:gd name="csY1" fmla="*/ 40513 h 81026"/>
                  <a:gd name="csX2" fmla="*/ 40513 w 81025"/>
                  <a:gd name="csY2" fmla="*/ 0 h 81026"/>
                  <a:gd name="csX3" fmla="*/ 81026 w 81025"/>
                  <a:gd name="csY3" fmla="*/ 40513 h 81026"/>
                  <a:gd name="csX4" fmla="*/ 40513 w 81025"/>
                  <a:gd name="csY4" fmla="*/ 81026 h 81026"/>
                  <a:gd name="csX5" fmla="*/ 40513 w 81025"/>
                  <a:gd name="csY5" fmla="*/ 19177 h 81026"/>
                  <a:gd name="csX6" fmla="*/ 19050 w 81025"/>
                  <a:gd name="csY6" fmla="*/ 40640 h 81026"/>
                  <a:gd name="csX7" fmla="*/ 40513 w 81025"/>
                  <a:gd name="csY7" fmla="*/ 62103 h 81026"/>
                  <a:gd name="csX8" fmla="*/ 61976 w 81025"/>
                  <a:gd name="csY8" fmla="*/ 40640 h 81026"/>
                  <a:gd name="csX9" fmla="*/ 40513 w 81025"/>
                  <a:gd name="csY9" fmla="*/ 19177 h 8102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81025" h="81026">
                    <a:moveTo>
                      <a:pt x="40513" y="81026"/>
                    </a:moveTo>
                    <a:cubicBezTo>
                      <a:pt x="18161" y="81026"/>
                      <a:pt x="0" y="62865"/>
                      <a:pt x="0" y="40513"/>
                    </a:cubicBezTo>
                    <a:cubicBezTo>
                      <a:pt x="0" y="18161"/>
                      <a:pt x="18161" y="0"/>
                      <a:pt x="40513" y="0"/>
                    </a:cubicBezTo>
                    <a:cubicBezTo>
                      <a:pt x="62865" y="0"/>
                      <a:pt x="81026" y="18161"/>
                      <a:pt x="81026" y="40513"/>
                    </a:cubicBezTo>
                    <a:cubicBezTo>
                      <a:pt x="80899" y="62865"/>
                      <a:pt x="62738" y="81026"/>
                      <a:pt x="40513" y="81026"/>
                    </a:cubicBezTo>
                    <a:close/>
                    <a:moveTo>
                      <a:pt x="40513" y="19177"/>
                    </a:moveTo>
                    <a:cubicBezTo>
                      <a:pt x="28702" y="19177"/>
                      <a:pt x="19050" y="28829"/>
                      <a:pt x="19050" y="40640"/>
                    </a:cubicBezTo>
                    <a:cubicBezTo>
                      <a:pt x="19050" y="52451"/>
                      <a:pt x="28702" y="62103"/>
                      <a:pt x="40513" y="62103"/>
                    </a:cubicBezTo>
                    <a:cubicBezTo>
                      <a:pt x="52324" y="62103"/>
                      <a:pt x="61976" y="52451"/>
                      <a:pt x="61976" y="40640"/>
                    </a:cubicBezTo>
                    <a:cubicBezTo>
                      <a:pt x="61849" y="28702"/>
                      <a:pt x="52324" y="19177"/>
                      <a:pt x="40513" y="19177"/>
                    </a:cubicBezTo>
                    <a:close/>
                  </a:path>
                </a:pathLst>
              </a:custGeom>
              <a:grpFill/>
              <a:ln w="12700" cap="flat">
                <a:noFill/>
                <a:prstDash val="solid"/>
                <a:miter/>
              </a:ln>
            </p:spPr>
            <p:txBody>
              <a:bodyPr/>
              <a:lstStyle/>
              <a:p>
                <a:endParaRPr lang="en-IN"/>
              </a:p>
            </p:txBody>
          </p:sp>
          <p:sp>
            <p:nvSpPr>
              <p:cNvPr id="206" name="Freeform: Shape 205">
                <a:extLst>
                  <a:ext uri="{FF2B5EF4-FFF2-40B4-BE49-F238E27FC236}">
                    <a16:creationId xmlns:a16="http://schemas.microsoft.com/office/drawing/2014/main" id="{BDB8F5B1-3E6A-DD33-38E2-F1AE4F90CB9F}"/>
                  </a:ext>
                </a:extLst>
              </p:cNvPr>
              <p:cNvSpPr/>
              <p:nvPr/>
            </p:nvSpPr>
            <p:spPr>
              <a:xfrm>
                <a:off x="2556891" y="2641854"/>
                <a:ext cx="139953" cy="93979"/>
              </a:xfrm>
              <a:custGeom>
                <a:avLst/>
                <a:gdLst>
                  <a:gd name="csX0" fmla="*/ 101854 w 139953"/>
                  <a:gd name="csY0" fmla="*/ 93980 h 93979"/>
                  <a:gd name="csX1" fmla="*/ 38100 w 139953"/>
                  <a:gd name="csY1" fmla="*/ 93980 h 93979"/>
                  <a:gd name="csX2" fmla="*/ 0 w 139953"/>
                  <a:gd name="csY2" fmla="*/ 57912 h 93979"/>
                  <a:gd name="csX3" fmla="*/ 69977 w 139953"/>
                  <a:gd name="csY3" fmla="*/ 0 h 93979"/>
                  <a:gd name="csX4" fmla="*/ 139954 w 139953"/>
                  <a:gd name="csY4" fmla="*/ 57658 h 93979"/>
                  <a:gd name="csX5" fmla="*/ 139954 w 139953"/>
                  <a:gd name="csY5" fmla="*/ 58166 h 93979"/>
                  <a:gd name="csX6" fmla="*/ 101854 w 139953"/>
                  <a:gd name="csY6" fmla="*/ 93980 h 93979"/>
                  <a:gd name="csX7" fmla="*/ 69977 w 139953"/>
                  <a:gd name="csY7" fmla="*/ 19050 h 93979"/>
                  <a:gd name="csX8" fmla="*/ 19050 w 139953"/>
                  <a:gd name="csY8" fmla="*/ 57658 h 93979"/>
                  <a:gd name="csX9" fmla="*/ 38100 w 139953"/>
                  <a:gd name="csY9" fmla="*/ 75057 h 93979"/>
                  <a:gd name="csX10" fmla="*/ 101854 w 139953"/>
                  <a:gd name="csY10" fmla="*/ 75057 h 93979"/>
                  <a:gd name="csX11" fmla="*/ 120904 w 139953"/>
                  <a:gd name="csY11" fmla="*/ 57912 h 93979"/>
                  <a:gd name="csX12" fmla="*/ 121031 w 139953"/>
                  <a:gd name="csY12" fmla="*/ 56642 h 93979"/>
                  <a:gd name="csX13" fmla="*/ 69977 w 139953"/>
                  <a:gd name="csY13" fmla="*/ 19050 h 93979"/>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139953" h="93979">
                    <a:moveTo>
                      <a:pt x="101854" y="93980"/>
                    </a:moveTo>
                    <a:lnTo>
                      <a:pt x="38100" y="93980"/>
                    </a:lnTo>
                    <a:cubicBezTo>
                      <a:pt x="17145" y="93980"/>
                      <a:pt x="127" y="77724"/>
                      <a:pt x="0" y="57912"/>
                    </a:cubicBezTo>
                    <a:cubicBezTo>
                      <a:pt x="0" y="22098"/>
                      <a:pt x="26797" y="0"/>
                      <a:pt x="69977" y="0"/>
                    </a:cubicBezTo>
                    <a:cubicBezTo>
                      <a:pt x="113157" y="0"/>
                      <a:pt x="139954" y="22098"/>
                      <a:pt x="139954" y="57658"/>
                    </a:cubicBezTo>
                    <a:lnTo>
                      <a:pt x="139954" y="58166"/>
                    </a:lnTo>
                    <a:cubicBezTo>
                      <a:pt x="139700" y="77978"/>
                      <a:pt x="122682" y="93980"/>
                      <a:pt x="101854" y="93980"/>
                    </a:cubicBezTo>
                    <a:close/>
                    <a:moveTo>
                      <a:pt x="69977" y="19050"/>
                    </a:moveTo>
                    <a:cubicBezTo>
                      <a:pt x="54610" y="19050"/>
                      <a:pt x="19050" y="22860"/>
                      <a:pt x="19050" y="57658"/>
                    </a:cubicBezTo>
                    <a:cubicBezTo>
                      <a:pt x="19050" y="67183"/>
                      <a:pt x="27813" y="75057"/>
                      <a:pt x="38100" y="75057"/>
                    </a:cubicBezTo>
                    <a:lnTo>
                      <a:pt x="101854" y="75057"/>
                    </a:lnTo>
                    <a:cubicBezTo>
                      <a:pt x="112141" y="75057"/>
                      <a:pt x="120904" y="67183"/>
                      <a:pt x="120904" y="57912"/>
                    </a:cubicBezTo>
                    <a:cubicBezTo>
                      <a:pt x="120904" y="57531"/>
                      <a:pt x="120904" y="57023"/>
                      <a:pt x="121031" y="56642"/>
                    </a:cubicBezTo>
                    <a:cubicBezTo>
                      <a:pt x="120904" y="22860"/>
                      <a:pt x="85217" y="19050"/>
                      <a:pt x="69977" y="19050"/>
                    </a:cubicBezTo>
                    <a:close/>
                  </a:path>
                </a:pathLst>
              </a:custGeom>
              <a:grpFill/>
              <a:ln w="12700" cap="flat">
                <a:noFill/>
                <a:prstDash val="solid"/>
                <a:miter/>
              </a:ln>
            </p:spPr>
            <p:txBody>
              <a:bodyPr/>
              <a:lstStyle/>
              <a:p>
                <a:endParaRPr lang="en-IN"/>
              </a:p>
            </p:txBody>
          </p:sp>
          <p:sp>
            <p:nvSpPr>
              <p:cNvPr id="207" name="Freeform: Shape 206">
                <a:extLst>
                  <a:ext uri="{FF2B5EF4-FFF2-40B4-BE49-F238E27FC236}">
                    <a16:creationId xmlns:a16="http://schemas.microsoft.com/office/drawing/2014/main" id="{8FB2B605-14A3-0D51-DB82-C388EF07BAA2}"/>
                  </a:ext>
                </a:extLst>
              </p:cNvPr>
              <p:cNvSpPr/>
              <p:nvPr/>
            </p:nvSpPr>
            <p:spPr>
              <a:xfrm>
                <a:off x="1962150" y="2509773"/>
                <a:ext cx="296163" cy="296290"/>
              </a:xfrm>
              <a:custGeom>
                <a:avLst/>
                <a:gdLst>
                  <a:gd name="csX0" fmla="*/ 148082 w 296163"/>
                  <a:gd name="csY0" fmla="*/ 296291 h 296290"/>
                  <a:gd name="csX1" fmla="*/ 0 w 296163"/>
                  <a:gd name="csY1" fmla="*/ 148082 h 296290"/>
                  <a:gd name="csX2" fmla="*/ 148082 w 296163"/>
                  <a:gd name="csY2" fmla="*/ 0 h 296290"/>
                  <a:gd name="csX3" fmla="*/ 296164 w 296163"/>
                  <a:gd name="csY3" fmla="*/ 148082 h 296290"/>
                  <a:gd name="csX4" fmla="*/ 148082 w 296163"/>
                  <a:gd name="csY4" fmla="*/ 296291 h 296290"/>
                  <a:gd name="csX5" fmla="*/ 148082 w 296163"/>
                  <a:gd name="csY5" fmla="*/ 19050 h 296290"/>
                  <a:gd name="csX6" fmla="*/ 19050 w 296163"/>
                  <a:gd name="csY6" fmla="*/ 148082 h 296290"/>
                  <a:gd name="csX7" fmla="*/ 148082 w 296163"/>
                  <a:gd name="csY7" fmla="*/ 277114 h 296290"/>
                  <a:gd name="csX8" fmla="*/ 277114 w 296163"/>
                  <a:gd name="csY8" fmla="*/ 148082 h 296290"/>
                  <a:gd name="csX9" fmla="*/ 148082 w 296163"/>
                  <a:gd name="csY9" fmla="*/ 19050 h 29629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296163" h="296290">
                    <a:moveTo>
                      <a:pt x="148082" y="296291"/>
                    </a:moveTo>
                    <a:cubicBezTo>
                      <a:pt x="66421" y="296291"/>
                      <a:pt x="0" y="229743"/>
                      <a:pt x="0" y="148082"/>
                    </a:cubicBezTo>
                    <a:cubicBezTo>
                      <a:pt x="0" y="66421"/>
                      <a:pt x="66421" y="0"/>
                      <a:pt x="148082" y="0"/>
                    </a:cubicBezTo>
                    <a:cubicBezTo>
                      <a:pt x="229743" y="0"/>
                      <a:pt x="296164" y="66421"/>
                      <a:pt x="296164" y="148082"/>
                    </a:cubicBezTo>
                    <a:cubicBezTo>
                      <a:pt x="296164" y="229743"/>
                      <a:pt x="229743" y="296291"/>
                      <a:pt x="148082" y="296291"/>
                    </a:cubicBezTo>
                    <a:close/>
                    <a:moveTo>
                      <a:pt x="148082" y="19050"/>
                    </a:moveTo>
                    <a:cubicBezTo>
                      <a:pt x="76962" y="19050"/>
                      <a:pt x="19050" y="76962"/>
                      <a:pt x="19050" y="148082"/>
                    </a:cubicBezTo>
                    <a:cubicBezTo>
                      <a:pt x="19050" y="219202"/>
                      <a:pt x="76962" y="277114"/>
                      <a:pt x="148082" y="277114"/>
                    </a:cubicBezTo>
                    <a:cubicBezTo>
                      <a:pt x="219202" y="277114"/>
                      <a:pt x="277114" y="219202"/>
                      <a:pt x="277114" y="148082"/>
                    </a:cubicBezTo>
                    <a:cubicBezTo>
                      <a:pt x="277114" y="76962"/>
                      <a:pt x="219202" y="19050"/>
                      <a:pt x="148082" y="19050"/>
                    </a:cubicBezTo>
                    <a:close/>
                  </a:path>
                </a:pathLst>
              </a:custGeom>
              <a:grpFill/>
              <a:ln w="12700" cap="flat">
                <a:noFill/>
                <a:prstDash val="solid"/>
                <a:miter/>
              </a:ln>
            </p:spPr>
            <p:txBody>
              <a:bodyPr/>
              <a:lstStyle/>
              <a:p>
                <a:endParaRPr lang="en-IN"/>
              </a:p>
            </p:txBody>
          </p:sp>
          <p:sp>
            <p:nvSpPr>
              <p:cNvPr id="208" name="Freeform: Shape 207">
                <a:extLst>
                  <a:ext uri="{FF2B5EF4-FFF2-40B4-BE49-F238E27FC236}">
                    <a16:creationId xmlns:a16="http://schemas.microsoft.com/office/drawing/2014/main" id="{E3C52541-88EA-4AA6-1DE2-98DCA19A4683}"/>
                  </a:ext>
                </a:extLst>
              </p:cNvPr>
              <p:cNvSpPr/>
              <p:nvPr/>
            </p:nvSpPr>
            <p:spPr>
              <a:xfrm>
                <a:off x="2069719" y="2579877"/>
                <a:ext cx="81026" cy="81026"/>
              </a:xfrm>
              <a:custGeom>
                <a:avLst/>
                <a:gdLst>
                  <a:gd name="csX0" fmla="*/ 40513 w 81026"/>
                  <a:gd name="csY0" fmla="*/ 81026 h 81026"/>
                  <a:gd name="csX1" fmla="*/ 0 w 81026"/>
                  <a:gd name="csY1" fmla="*/ 40513 h 81026"/>
                  <a:gd name="csX2" fmla="*/ 40513 w 81026"/>
                  <a:gd name="csY2" fmla="*/ 0 h 81026"/>
                  <a:gd name="csX3" fmla="*/ 81026 w 81026"/>
                  <a:gd name="csY3" fmla="*/ 40513 h 81026"/>
                  <a:gd name="csX4" fmla="*/ 40513 w 81026"/>
                  <a:gd name="csY4" fmla="*/ 81026 h 81026"/>
                  <a:gd name="csX5" fmla="*/ 40513 w 81026"/>
                  <a:gd name="csY5" fmla="*/ 19177 h 81026"/>
                  <a:gd name="csX6" fmla="*/ 19050 w 81026"/>
                  <a:gd name="csY6" fmla="*/ 40640 h 81026"/>
                  <a:gd name="csX7" fmla="*/ 40513 w 81026"/>
                  <a:gd name="csY7" fmla="*/ 62103 h 81026"/>
                  <a:gd name="csX8" fmla="*/ 61976 w 81026"/>
                  <a:gd name="csY8" fmla="*/ 40640 h 81026"/>
                  <a:gd name="csX9" fmla="*/ 40513 w 81026"/>
                  <a:gd name="csY9" fmla="*/ 19177 h 8102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81026" h="81026">
                    <a:moveTo>
                      <a:pt x="40513" y="81026"/>
                    </a:moveTo>
                    <a:cubicBezTo>
                      <a:pt x="18161" y="81026"/>
                      <a:pt x="0" y="62865"/>
                      <a:pt x="0" y="40513"/>
                    </a:cubicBezTo>
                    <a:cubicBezTo>
                      <a:pt x="0" y="18161"/>
                      <a:pt x="18161" y="0"/>
                      <a:pt x="40513" y="0"/>
                    </a:cubicBezTo>
                    <a:cubicBezTo>
                      <a:pt x="62865" y="0"/>
                      <a:pt x="81026" y="18161"/>
                      <a:pt x="81026" y="40513"/>
                    </a:cubicBezTo>
                    <a:cubicBezTo>
                      <a:pt x="81026" y="62865"/>
                      <a:pt x="62865" y="81026"/>
                      <a:pt x="40513" y="81026"/>
                    </a:cubicBezTo>
                    <a:close/>
                    <a:moveTo>
                      <a:pt x="40513" y="19177"/>
                    </a:moveTo>
                    <a:cubicBezTo>
                      <a:pt x="28702" y="19177"/>
                      <a:pt x="19050" y="28829"/>
                      <a:pt x="19050" y="40640"/>
                    </a:cubicBezTo>
                    <a:cubicBezTo>
                      <a:pt x="19050" y="52451"/>
                      <a:pt x="28702" y="62103"/>
                      <a:pt x="40513" y="62103"/>
                    </a:cubicBezTo>
                    <a:cubicBezTo>
                      <a:pt x="52324" y="62103"/>
                      <a:pt x="61976" y="52451"/>
                      <a:pt x="61976" y="40640"/>
                    </a:cubicBezTo>
                    <a:cubicBezTo>
                      <a:pt x="61976" y="28702"/>
                      <a:pt x="52324" y="19177"/>
                      <a:pt x="40513" y="19177"/>
                    </a:cubicBezTo>
                    <a:close/>
                  </a:path>
                </a:pathLst>
              </a:custGeom>
              <a:grpFill/>
              <a:ln w="12700" cap="flat">
                <a:noFill/>
                <a:prstDash val="solid"/>
                <a:miter/>
              </a:ln>
            </p:spPr>
            <p:txBody>
              <a:bodyPr/>
              <a:lstStyle/>
              <a:p>
                <a:endParaRPr lang="en-IN"/>
              </a:p>
            </p:txBody>
          </p:sp>
          <p:sp>
            <p:nvSpPr>
              <p:cNvPr id="209" name="Freeform: Shape 208">
                <a:extLst>
                  <a:ext uri="{FF2B5EF4-FFF2-40B4-BE49-F238E27FC236}">
                    <a16:creationId xmlns:a16="http://schemas.microsoft.com/office/drawing/2014/main" id="{6288D7F1-CA71-D974-5909-57D0C9DE2C31}"/>
                  </a:ext>
                </a:extLst>
              </p:cNvPr>
              <p:cNvSpPr/>
              <p:nvPr/>
            </p:nvSpPr>
            <p:spPr>
              <a:xfrm>
                <a:off x="2040255" y="2641726"/>
                <a:ext cx="139953" cy="94106"/>
              </a:xfrm>
              <a:custGeom>
                <a:avLst/>
                <a:gdLst>
                  <a:gd name="csX0" fmla="*/ 101854 w 139953"/>
                  <a:gd name="csY0" fmla="*/ 94107 h 94106"/>
                  <a:gd name="csX1" fmla="*/ 38100 w 139953"/>
                  <a:gd name="csY1" fmla="*/ 94107 h 94106"/>
                  <a:gd name="csX2" fmla="*/ 0 w 139953"/>
                  <a:gd name="csY2" fmla="*/ 58166 h 94106"/>
                  <a:gd name="csX3" fmla="*/ 0 w 139953"/>
                  <a:gd name="csY3" fmla="*/ 57658 h 94106"/>
                  <a:gd name="csX4" fmla="*/ 69977 w 139953"/>
                  <a:gd name="csY4" fmla="*/ 0 h 94106"/>
                  <a:gd name="csX5" fmla="*/ 139954 w 139953"/>
                  <a:gd name="csY5" fmla="*/ 57658 h 94106"/>
                  <a:gd name="csX6" fmla="*/ 101854 w 139953"/>
                  <a:gd name="csY6" fmla="*/ 94107 h 94106"/>
                  <a:gd name="csX7" fmla="*/ 69977 w 139953"/>
                  <a:gd name="csY7" fmla="*/ 19177 h 94106"/>
                  <a:gd name="csX8" fmla="*/ 19050 w 139953"/>
                  <a:gd name="csY8" fmla="*/ 57785 h 94106"/>
                  <a:gd name="csX9" fmla="*/ 38100 w 139953"/>
                  <a:gd name="csY9" fmla="*/ 75184 h 94106"/>
                  <a:gd name="csX10" fmla="*/ 101854 w 139953"/>
                  <a:gd name="csY10" fmla="*/ 75184 h 94106"/>
                  <a:gd name="csX11" fmla="*/ 120904 w 139953"/>
                  <a:gd name="csY11" fmla="*/ 58039 h 94106"/>
                  <a:gd name="csX12" fmla="*/ 69977 w 139953"/>
                  <a:gd name="csY12" fmla="*/ 19177 h 9410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139953" h="94106">
                    <a:moveTo>
                      <a:pt x="101854" y="94107"/>
                    </a:moveTo>
                    <a:lnTo>
                      <a:pt x="38100" y="94107"/>
                    </a:lnTo>
                    <a:cubicBezTo>
                      <a:pt x="17272" y="94107"/>
                      <a:pt x="254" y="77978"/>
                      <a:pt x="0" y="58166"/>
                    </a:cubicBezTo>
                    <a:cubicBezTo>
                      <a:pt x="0" y="58039"/>
                      <a:pt x="0" y="57785"/>
                      <a:pt x="0" y="57658"/>
                    </a:cubicBezTo>
                    <a:cubicBezTo>
                      <a:pt x="0" y="22098"/>
                      <a:pt x="26797" y="0"/>
                      <a:pt x="69977" y="0"/>
                    </a:cubicBezTo>
                    <a:cubicBezTo>
                      <a:pt x="113157" y="0"/>
                      <a:pt x="139954" y="22098"/>
                      <a:pt x="139954" y="57658"/>
                    </a:cubicBezTo>
                    <a:cubicBezTo>
                      <a:pt x="139954" y="77978"/>
                      <a:pt x="122809" y="94107"/>
                      <a:pt x="101854" y="94107"/>
                    </a:cubicBezTo>
                    <a:close/>
                    <a:moveTo>
                      <a:pt x="69977" y="19177"/>
                    </a:moveTo>
                    <a:cubicBezTo>
                      <a:pt x="54610" y="19177"/>
                      <a:pt x="19050" y="22987"/>
                      <a:pt x="19050" y="57785"/>
                    </a:cubicBezTo>
                    <a:cubicBezTo>
                      <a:pt x="19050" y="67310"/>
                      <a:pt x="27813" y="75184"/>
                      <a:pt x="38100" y="75184"/>
                    </a:cubicBezTo>
                    <a:lnTo>
                      <a:pt x="101854" y="75184"/>
                    </a:lnTo>
                    <a:cubicBezTo>
                      <a:pt x="112141" y="75184"/>
                      <a:pt x="120904" y="67310"/>
                      <a:pt x="120904" y="58039"/>
                    </a:cubicBezTo>
                    <a:cubicBezTo>
                      <a:pt x="120904" y="22987"/>
                      <a:pt x="85344" y="19177"/>
                      <a:pt x="69977" y="19177"/>
                    </a:cubicBezTo>
                    <a:close/>
                  </a:path>
                </a:pathLst>
              </a:custGeom>
              <a:grpFill/>
              <a:ln w="12700" cap="flat">
                <a:noFill/>
                <a:prstDash val="solid"/>
                <a:miter/>
              </a:ln>
            </p:spPr>
            <p:txBody>
              <a:bodyPr/>
              <a:lstStyle/>
              <a:p>
                <a:endParaRPr lang="en-IN"/>
              </a:p>
            </p:txBody>
          </p:sp>
          <p:sp>
            <p:nvSpPr>
              <p:cNvPr id="210" name="Freeform: Shape 209">
                <a:extLst>
                  <a:ext uri="{FF2B5EF4-FFF2-40B4-BE49-F238E27FC236}">
                    <a16:creationId xmlns:a16="http://schemas.microsoft.com/office/drawing/2014/main" id="{07E2B835-29C5-AC3B-D523-900353CA2493}"/>
                  </a:ext>
                </a:extLst>
              </p:cNvPr>
              <p:cNvSpPr/>
              <p:nvPr/>
            </p:nvSpPr>
            <p:spPr>
              <a:xfrm>
                <a:off x="2478786" y="2001011"/>
                <a:ext cx="296163" cy="296164"/>
              </a:xfrm>
              <a:custGeom>
                <a:avLst/>
                <a:gdLst>
                  <a:gd name="csX0" fmla="*/ 148082 w 296163"/>
                  <a:gd name="csY0" fmla="*/ 296164 h 296164"/>
                  <a:gd name="csX1" fmla="*/ 0 w 296163"/>
                  <a:gd name="csY1" fmla="*/ 148082 h 296164"/>
                  <a:gd name="csX2" fmla="*/ 148082 w 296163"/>
                  <a:gd name="csY2" fmla="*/ 0 h 296164"/>
                  <a:gd name="csX3" fmla="*/ 296164 w 296163"/>
                  <a:gd name="csY3" fmla="*/ 148082 h 296164"/>
                  <a:gd name="csX4" fmla="*/ 148082 w 296163"/>
                  <a:gd name="csY4" fmla="*/ 296164 h 296164"/>
                  <a:gd name="csX5" fmla="*/ 148082 w 296163"/>
                  <a:gd name="csY5" fmla="*/ 18923 h 296164"/>
                  <a:gd name="csX6" fmla="*/ 19050 w 296163"/>
                  <a:gd name="csY6" fmla="*/ 147955 h 296164"/>
                  <a:gd name="csX7" fmla="*/ 148082 w 296163"/>
                  <a:gd name="csY7" fmla="*/ 276987 h 296164"/>
                  <a:gd name="csX8" fmla="*/ 277114 w 296163"/>
                  <a:gd name="csY8" fmla="*/ 147955 h 296164"/>
                  <a:gd name="csX9" fmla="*/ 148082 w 296163"/>
                  <a:gd name="csY9" fmla="*/ 18923 h 29616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296163" h="296164">
                    <a:moveTo>
                      <a:pt x="148082" y="296164"/>
                    </a:moveTo>
                    <a:cubicBezTo>
                      <a:pt x="66421" y="296164"/>
                      <a:pt x="0" y="229743"/>
                      <a:pt x="0" y="148082"/>
                    </a:cubicBezTo>
                    <a:cubicBezTo>
                      <a:pt x="0" y="66421"/>
                      <a:pt x="66421" y="0"/>
                      <a:pt x="148082" y="0"/>
                    </a:cubicBezTo>
                    <a:cubicBezTo>
                      <a:pt x="229743" y="-127"/>
                      <a:pt x="296164" y="66421"/>
                      <a:pt x="296164" y="148082"/>
                    </a:cubicBezTo>
                    <a:cubicBezTo>
                      <a:pt x="296164" y="229743"/>
                      <a:pt x="229743" y="296164"/>
                      <a:pt x="148082" y="296164"/>
                    </a:cubicBezTo>
                    <a:close/>
                    <a:moveTo>
                      <a:pt x="148082" y="18923"/>
                    </a:moveTo>
                    <a:cubicBezTo>
                      <a:pt x="76962" y="18923"/>
                      <a:pt x="19050" y="76835"/>
                      <a:pt x="19050" y="147955"/>
                    </a:cubicBezTo>
                    <a:cubicBezTo>
                      <a:pt x="19050" y="219075"/>
                      <a:pt x="76962" y="276987"/>
                      <a:pt x="148082" y="276987"/>
                    </a:cubicBezTo>
                    <a:cubicBezTo>
                      <a:pt x="219202" y="276987"/>
                      <a:pt x="277114" y="219075"/>
                      <a:pt x="277114" y="147955"/>
                    </a:cubicBezTo>
                    <a:cubicBezTo>
                      <a:pt x="277114" y="76835"/>
                      <a:pt x="219202" y="18923"/>
                      <a:pt x="148082" y="18923"/>
                    </a:cubicBezTo>
                    <a:close/>
                  </a:path>
                </a:pathLst>
              </a:custGeom>
              <a:grpFill/>
              <a:ln w="12700" cap="flat">
                <a:noFill/>
                <a:prstDash val="solid"/>
                <a:miter/>
              </a:ln>
            </p:spPr>
            <p:txBody>
              <a:bodyPr/>
              <a:lstStyle/>
              <a:p>
                <a:endParaRPr lang="en-IN"/>
              </a:p>
            </p:txBody>
          </p:sp>
          <p:sp>
            <p:nvSpPr>
              <p:cNvPr id="211" name="Freeform: Shape 210">
                <a:extLst>
                  <a:ext uri="{FF2B5EF4-FFF2-40B4-BE49-F238E27FC236}">
                    <a16:creationId xmlns:a16="http://schemas.microsoft.com/office/drawing/2014/main" id="{C81EA2BA-0E27-5603-D7EB-F185DE4FF928}"/>
                  </a:ext>
                </a:extLst>
              </p:cNvPr>
              <p:cNvSpPr/>
              <p:nvPr/>
            </p:nvSpPr>
            <p:spPr>
              <a:xfrm>
                <a:off x="2586355" y="2070989"/>
                <a:ext cx="81025" cy="81025"/>
              </a:xfrm>
              <a:custGeom>
                <a:avLst/>
                <a:gdLst>
                  <a:gd name="csX0" fmla="*/ 40513 w 81025"/>
                  <a:gd name="csY0" fmla="*/ 81026 h 81025"/>
                  <a:gd name="csX1" fmla="*/ 0 w 81025"/>
                  <a:gd name="csY1" fmla="*/ 40513 h 81025"/>
                  <a:gd name="csX2" fmla="*/ 40513 w 81025"/>
                  <a:gd name="csY2" fmla="*/ 0 h 81025"/>
                  <a:gd name="csX3" fmla="*/ 81026 w 81025"/>
                  <a:gd name="csY3" fmla="*/ 40513 h 81025"/>
                  <a:gd name="csX4" fmla="*/ 40513 w 81025"/>
                  <a:gd name="csY4" fmla="*/ 81026 h 81025"/>
                  <a:gd name="csX5" fmla="*/ 40513 w 81025"/>
                  <a:gd name="csY5" fmla="*/ 19177 h 81025"/>
                  <a:gd name="csX6" fmla="*/ 19050 w 81025"/>
                  <a:gd name="csY6" fmla="*/ 40640 h 81025"/>
                  <a:gd name="csX7" fmla="*/ 40513 w 81025"/>
                  <a:gd name="csY7" fmla="*/ 62103 h 81025"/>
                  <a:gd name="csX8" fmla="*/ 61976 w 81025"/>
                  <a:gd name="csY8" fmla="*/ 40640 h 81025"/>
                  <a:gd name="csX9" fmla="*/ 40513 w 81025"/>
                  <a:gd name="csY9" fmla="*/ 19177 h 8102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81025" h="81025">
                    <a:moveTo>
                      <a:pt x="40513" y="81026"/>
                    </a:moveTo>
                    <a:cubicBezTo>
                      <a:pt x="18161" y="81026"/>
                      <a:pt x="0" y="62865"/>
                      <a:pt x="0" y="40513"/>
                    </a:cubicBezTo>
                    <a:cubicBezTo>
                      <a:pt x="0" y="18161"/>
                      <a:pt x="18161" y="0"/>
                      <a:pt x="40513" y="0"/>
                    </a:cubicBezTo>
                    <a:cubicBezTo>
                      <a:pt x="62865" y="0"/>
                      <a:pt x="81026" y="18161"/>
                      <a:pt x="81026" y="40513"/>
                    </a:cubicBezTo>
                    <a:cubicBezTo>
                      <a:pt x="81026" y="62865"/>
                      <a:pt x="62738" y="81026"/>
                      <a:pt x="40513" y="81026"/>
                    </a:cubicBezTo>
                    <a:close/>
                    <a:moveTo>
                      <a:pt x="40513" y="19177"/>
                    </a:moveTo>
                    <a:cubicBezTo>
                      <a:pt x="28702" y="19177"/>
                      <a:pt x="19050" y="28829"/>
                      <a:pt x="19050" y="40640"/>
                    </a:cubicBezTo>
                    <a:cubicBezTo>
                      <a:pt x="19050" y="52451"/>
                      <a:pt x="28702" y="62103"/>
                      <a:pt x="40513" y="62103"/>
                    </a:cubicBezTo>
                    <a:cubicBezTo>
                      <a:pt x="52324" y="62103"/>
                      <a:pt x="61976" y="52451"/>
                      <a:pt x="61976" y="40640"/>
                    </a:cubicBezTo>
                    <a:cubicBezTo>
                      <a:pt x="61976" y="28829"/>
                      <a:pt x="52324" y="19177"/>
                      <a:pt x="40513" y="19177"/>
                    </a:cubicBezTo>
                    <a:close/>
                  </a:path>
                </a:pathLst>
              </a:custGeom>
              <a:grpFill/>
              <a:ln w="12700" cap="flat">
                <a:noFill/>
                <a:prstDash val="solid"/>
                <a:miter/>
              </a:ln>
            </p:spPr>
            <p:txBody>
              <a:bodyPr/>
              <a:lstStyle/>
              <a:p>
                <a:endParaRPr lang="en-IN"/>
              </a:p>
            </p:txBody>
          </p:sp>
          <p:sp>
            <p:nvSpPr>
              <p:cNvPr id="212" name="Freeform: Shape 211">
                <a:extLst>
                  <a:ext uri="{FF2B5EF4-FFF2-40B4-BE49-F238E27FC236}">
                    <a16:creationId xmlns:a16="http://schemas.microsoft.com/office/drawing/2014/main" id="{003E203E-B0A1-0AB8-C66C-20F926E8F355}"/>
                  </a:ext>
                </a:extLst>
              </p:cNvPr>
              <p:cNvSpPr/>
              <p:nvPr/>
            </p:nvSpPr>
            <p:spPr>
              <a:xfrm>
                <a:off x="2556891" y="2132964"/>
                <a:ext cx="139953" cy="93980"/>
              </a:xfrm>
              <a:custGeom>
                <a:avLst/>
                <a:gdLst>
                  <a:gd name="csX0" fmla="*/ 101854 w 139953"/>
                  <a:gd name="csY0" fmla="*/ 93980 h 93980"/>
                  <a:gd name="csX1" fmla="*/ 38100 w 139953"/>
                  <a:gd name="csY1" fmla="*/ 93980 h 93980"/>
                  <a:gd name="csX2" fmla="*/ 0 w 139953"/>
                  <a:gd name="csY2" fmla="*/ 57912 h 93980"/>
                  <a:gd name="csX3" fmla="*/ 69977 w 139953"/>
                  <a:gd name="csY3" fmla="*/ 0 h 93980"/>
                  <a:gd name="csX4" fmla="*/ 139954 w 139953"/>
                  <a:gd name="csY4" fmla="*/ 57658 h 93980"/>
                  <a:gd name="csX5" fmla="*/ 139954 w 139953"/>
                  <a:gd name="csY5" fmla="*/ 58166 h 93980"/>
                  <a:gd name="csX6" fmla="*/ 101854 w 139953"/>
                  <a:gd name="csY6" fmla="*/ 93980 h 93980"/>
                  <a:gd name="csX7" fmla="*/ 69977 w 139953"/>
                  <a:gd name="csY7" fmla="*/ 19050 h 93980"/>
                  <a:gd name="csX8" fmla="*/ 19050 w 139953"/>
                  <a:gd name="csY8" fmla="*/ 57658 h 93980"/>
                  <a:gd name="csX9" fmla="*/ 38100 w 139953"/>
                  <a:gd name="csY9" fmla="*/ 75057 h 93980"/>
                  <a:gd name="csX10" fmla="*/ 101854 w 139953"/>
                  <a:gd name="csY10" fmla="*/ 75057 h 93980"/>
                  <a:gd name="csX11" fmla="*/ 120904 w 139953"/>
                  <a:gd name="csY11" fmla="*/ 57912 h 93980"/>
                  <a:gd name="csX12" fmla="*/ 121031 w 139953"/>
                  <a:gd name="csY12" fmla="*/ 56642 h 93980"/>
                  <a:gd name="csX13" fmla="*/ 69977 w 139953"/>
                  <a:gd name="csY13" fmla="*/ 19050 h 9398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Lst>
                <a:rect l="l" t="t" r="r" b="b"/>
                <a:pathLst>
                  <a:path w="139953" h="93980">
                    <a:moveTo>
                      <a:pt x="101854" y="93980"/>
                    </a:moveTo>
                    <a:lnTo>
                      <a:pt x="38100" y="93980"/>
                    </a:lnTo>
                    <a:cubicBezTo>
                      <a:pt x="17145" y="93980"/>
                      <a:pt x="127" y="77851"/>
                      <a:pt x="0" y="57912"/>
                    </a:cubicBezTo>
                    <a:cubicBezTo>
                      <a:pt x="0" y="22098"/>
                      <a:pt x="26797" y="0"/>
                      <a:pt x="69977" y="0"/>
                    </a:cubicBezTo>
                    <a:cubicBezTo>
                      <a:pt x="113157" y="0"/>
                      <a:pt x="139954" y="22098"/>
                      <a:pt x="139954" y="57658"/>
                    </a:cubicBezTo>
                    <a:lnTo>
                      <a:pt x="139954" y="58166"/>
                    </a:lnTo>
                    <a:cubicBezTo>
                      <a:pt x="139700" y="77978"/>
                      <a:pt x="122682" y="93980"/>
                      <a:pt x="101854" y="93980"/>
                    </a:cubicBezTo>
                    <a:close/>
                    <a:moveTo>
                      <a:pt x="69977" y="19050"/>
                    </a:moveTo>
                    <a:cubicBezTo>
                      <a:pt x="54610" y="19050"/>
                      <a:pt x="19050" y="22860"/>
                      <a:pt x="19050" y="57658"/>
                    </a:cubicBezTo>
                    <a:cubicBezTo>
                      <a:pt x="19050" y="67183"/>
                      <a:pt x="27813" y="75057"/>
                      <a:pt x="38100" y="75057"/>
                    </a:cubicBezTo>
                    <a:lnTo>
                      <a:pt x="101854" y="75057"/>
                    </a:lnTo>
                    <a:cubicBezTo>
                      <a:pt x="112141" y="75057"/>
                      <a:pt x="120904" y="67183"/>
                      <a:pt x="120904" y="57912"/>
                    </a:cubicBezTo>
                    <a:cubicBezTo>
                      <a:pt x="120904" y="57531"/>
                      <a:pt x="120904" y="57023"/>
                      <a:pt x="121031" y="56642"/>
                    </a:cubicBezTo>
                    <a:cubicBezTo>
                      <a:pt x="120904" y="22860"/>
                      <a:pt x="85217" y="19050"/>
                      <a:pt x="69977" y="19050"/>
                    </a:cubicBezTo>
                    <a:close/>
                  </a:path>
                </a:pathLst>
              </a:custGeom>
              <a:grpFill/>
              <a:ln w="12700" cap="flat">
                <a:noFill/>
                <a:prstDash val="solid"/>
                <a:miter/>
              </a:ln>
            </p:spPr>
            <p:txBody>
              <a:bodyPr/>
              <a:lstStyle/>
              <a:p>
                <a:endParaRPr lang="en-IN"/>
              </a:p>
            </p:txBody>
          </p:sp>
          <p:sp>
            <p:nvSpPr>
              <p:cNvPr id="213" name="Freeform: Shape 212">
                <a:extLst>
                  <a:ext uri="{FF2B5EF4-FFF2-40B4-BE49-F238E27FC236}">
                    <a16:creationId xmlns:a16="http://schemas.microsoft.com/office/drawing/2014/main" id="{9A4B8535-5F4A-0F27-28C3-C950298186CA}"/>
                  </a:ext>
                </a:extLst>
              </p:cNvPr>
              <p:cNvSpPr/>
              <p:nvPr/>
            </p:nvSpPr>
            <p:spPr>
              <a:xfrm>
                <a:off x="1962150" y="2000884"/>
                <a:ext cx="296163" cy="296290"/>
              </a:xfrm>
              <a:custGeom>
                <a:avLst/>
                <a:gdLst>
                  <a:gd name="csX0" fmla="*/ 148082 w 296163"/>
                  <a:gd name="csY0" fmla="*/ 296291 h 296290"/>
                  <a:gd name="csX1" fmla="*/ 0 w 296163"/>
                  <a:gd name="csY1" fmla="*/ 148209 h 296290"/>
                  <a:gd name="csX2" fmla="*/ 148082 w 296163"/>
                  <a:gd name="csY2" fmla="*/ 0 h 296290"/>
                  <a:gd name="csX3" fmla="*/ 296164 w 296163"/>
                  <a:gd name="csY3" fmla="*/ 148082 h 296290"/>
                  <a:gd name="csX4" fmla="*/ 148082 w 296163"/>
                  <a:gd name="csY4" fmla="*/ 296291 h 296290"/>
                  <a:gd name="csX5" fmla="*/ 148082 w 296163"/>
                  <a:gd name="csY5" fmla="*/ 19050 h 296290"/>
                  <a:gd name="csX6" fmla="*/ 19050 w 296163"/>
                  <a:gd name="csY6" fmla="*/ 148209 h 296290"/>
                  <a:gd name="csX7" fmla="*/ 148082 w 296163"/>
                  <a:gd name="csY7" fmla="*/ 277241 h 296290"/>
                  <a:gd name="csX8" fmla="*/ 277114 w 296163"/>
                  <a:gd name="csY8" fmla="*/ 148209 h 296290"/>
                  <a:gd name="csX9" fmla="*/ 148082 w 296163"/>
                  <a:gd name="csY9" fmla="*/ 19050 h 29629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296163" h="296290">
                    <a:moveTo>
                      <a:pt x="148082" y="296291"/>
                    </a:moveTo>
                    <a:cubicBezTo>
                      <a:pt x="66421" y="296291"/>
                      <a:pt x="0" y="229870"/>
                      <a:pt x="0" y="148209"/>
                    </a:cubicBezTo>
                    <a:cubicBezTo>
                      <a:pt x="0" y="66548"/>
                      <a:pt x="66421" y="0"/>
                      <a:pt x="148082" y="0"/>
                    </a:cubicBezTo>
                    <a:cubicBezTo>
                      <a:pt x="229743" y="0"/>
                      <a:pt x="296164" y="66421"/>
                      <a:pt x="296164" y="148082"/>
                    </a:cubicBezTo>
                    <a:cubicBezTo>
                      <a:pt x="296164" y="229870"/>
                      <a:pt x="229743" y="296291"/>
                      <a:pt x="148082" y="296291"/>
                    </a:cubicBezTo>
                    <a:close/>
                    <a:moveTo>
                      <a:pt x="148082" y="19050"/>
                    </a:moveTo>
                    <a:cubicBezTo>
                      <a:pt x="76962" y="19050"/>
                      <a:pt x="19050" y="76962"/>
                      <a:pt x="19050" y="148209"/>
                    </a:cubicBezTo>
                    <a:cubicBezTo>
                      <a:pt x="19050" y="219329"/>
                      <a:pt x="76962" y="277241"/>
                      <a:pt x="148082" y="277241"/>
                    </a:cubicBezTo>
                    <a:cubicBezTo>
                      <a:pt x="219202" y="277241"/>
                      <a:pt x="277114" y="219329"/>
                      <a:pt x="277114" y="148209"/>
                    </a:cubicBezTo>
                    <a:cubicBezTo>
                      <a:pt x="277114" y="76962"/>
                      <a:pt x="219202" y="19050"/>
                      <a:pt x="148082" y="19050"/>
                    </a:cubicBezTo>
                    <a:close/>
                  </a:path>
                </a:pathLst>
              </a:custGeom>
              <a:grpFill/>
              <a:ln w="12700" cap="flat">
                <a:noFill/>
                <a:prstDash val="solid"/>
                <a:miter/>
              </a:ln>
            </p:spPr>
            <p:txBody>
              <a:bodyPr/>
              <a:lstStyle/>
              <a:p>
                <a:endParaRPr lang="en-IN"/>
              </a:p>
            </p:txBody>
          </p:sp>
          <p:sp>
            <p:nvSpPr>
              <p:cNvPr id="214" name="Freeform: Shape 213">
                <a:extLst>
                  <a:ext uri="{FF2B5EF4-FFF2-40B4-BE49-F238E27FC236}">
                    <a16:creationId xmlns:a16="http://schemas.microsoft.com/office/drawing/2014/main" id="{4B2A65E5-8D60-7088-F00F-C7307185D4FA}"/>
                  </a:ext>
                </a:extLst>
              </p:cNvPr>
              <p:cNvSpPr/>
              <p:nvPr/>
            </p:nvSpPr>
            <p:spPr>
              <a:xfrm>
                <a:off x="2069719" y="2070989"/>
                <a:ext cx="81026" cy="81025"/>
              </a:xfrm>
              <a:custGeom>
                <a:avLst/>
                <a:gdLst>
                  <a:gd name="csX0" fmla="*/ 40513 w 81026"/>
                  <a:gd name="csY0" fmla="*/ 81026 h 81025"/>
                  <a:gd name="csX1" fmla="*/ 0 w 81026"/>
                  <a:gd name="csY1" fmla="*/ 40513 h 81025"/>
                  <a:gd name="csX2" fmla="*/ 40513 w 81026"/>
                  <a:gd name="csY2" fmla="*/ 0 h 81025"/>
                  <a:gd name="csX3" fmla="*/ 81026 w 81026"/>
                  <a:gd name="csY3" fmla="*/ 40513 h 81025"/>
                  <a:gd name="csX4" fmla="*/ 40513 w 81026"/>
                  <a:gd name="csY4" fmla="*/ 81026 h 81025"/>
                  <a:gd name="csX5" fmla="*/ 40513 w 81026"/>
                  <a:gd name="csY5" fmla="*/ 19177 h 81025"/>
                  <a:gd name="csX6" fmla="*/ 19050 w 81026"/>
                  <a:gd name="csY6" fmla="*/ 40640 h 81025"/>
                  <a:gd name="csX7" fmla="*/ 40513 w 81026"/>
                  <a:gd name="csY7" fmla="*/ 62103 h 81025"/>
                  <a:gd name="csX8" fmla="*/ 61976 w 81026"/>
                  <a:gd name="csY8" fmla="*/ 40640 h 81025"/>
                  <a:gd name="csX9" fmla="*/ 40513 w 81026"/>
                  <a:gd name="csY9" fmla="*/ 19177 h 8102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81026" h="81025">
                    <a:moveTo>
                      <a:pt x="40513" y="81026"/>
                    </a:moveTo>
                    <a:cubicBezTo>
                      <a:pt x="18161" y="81026"/>
                      <a:pt x="0" y="62865"/>
                      <a:pt x="0" y="40513"/>
                    </a:cubicBezTo>
                    <a:cubicBezTo>
                      <a:pt x="0" y="18161"/>
                      <a:pt x="18161" y="0"/>
                      <a:pt x="40513" y="0"/>
                    </a:cubicBezTo>
                    <a:cubicBezTo>
                      <a:pt x="62865" y="0"/>
                      <a:pt x="81026" y="18161"/>
                      <a:pt x="81026" y="40513"/>
                    </a:cubicBezTo>
                    <a:cubicBezTo>
                      <a:pt x="81026" y="62865"/>
                      <a:pt x="62865" y="81026"/>
                      <a:pt x="40513" y="81026"/>
                    </a:cubicBezTo>
                    <a:close/>
                    <a:moveTo>
                      <a:pt x="40513" y="19177"/>
                    </a:moveTo>
                    <a:cubicBezTo>
                      <a:pt x="28702" y="19177"/>
                      <a:pt x="19050" y="28829"/>
                      <a:pt x="19050" y="40640"/>
                    </a:cubicBezTo>
                    <a:cubicBezTo>
                      <a:pt x="19050" y="52451"/>
                      <a:pt x="28702" y="62103"/>
                      <a:pt x="40513" y="62103"/>
                    </a:cubicBezTo>
                    <a:cubicBezTo>
                      <a:pt x="52324" y="62103"/>
                      <a:pt x="61976" y="52451"/>
                      <a:pt x="61976" y="40640"/>
                    </a:cubicBezTo>
                    <a:cubicBezTo>
                      <a:pt x="61976" y="28829"/>
                      <a:pt x="52324" y="19177"/>
                      <a:pt x="40513" y="19177"/>
                    </a:cubicBezTo>
                    <a:close/>
                  </a:path>
                </a:pathLst>
              </a:custGeom>
              <a:grpFill/>
              <a:ln w="12700" cap="flat">
                <a:noFill/>
                <a:prstDash val="solid"/>
                <a:miter/>
              </a:ln>
            </p:spPr>
            <p:txBody>
              <a:bodyPr/>
              <a:lstStyle/>
              <a:p>
                <a:endParaRPr lang="en-IN"/>
              </a:p>
            </p:txBody>
          </p:sp>
          <p:sp>
            <p:nvSpPr>
              <p:cNvPr id="215" name="Freeform: Shape 214">
                <a:extLst>
                  <a:ext uri="{FF2B5EF4-FFF2-40B4-BE49-F238E27FC236}">
                    <a16:creationId xmlns:a16="http://schemas.microsoft.com/office/drawing/2014/main" id="{E4CDA845-C597-39D9-C1CB-BF2C6E05102A}"/>
                  </a:ext>
                </a:extLst>
              </p:cNvPr>
              <p:cNvSpPr/>
              <p:nvPr/>
            </p:nvSpPr>
            <p:spPr>
              <a:xfrm>
                <a:off x="2040255" y="2132964"/>
                <a:ext cx="139953" cy="93980"/>
              </a:xfrm>
              <a:custGeom>
                <a:avLst/>
                <a:gdLst>
                  <a:gd name="csX0" fmla="*/ 101854 w 139953"/>
                  <a:gd name="csY0" fmla="*/ 93980 h 93980"/>
                  <a:gd name="csX1" fmla="*/ 38100 w 139953"/>
                  <a:gd name="csY1" fmla="*/ 93980 h 93980"/>
                  <a:gd name="csX2" fmla="*/ 0 w 139953"/>
                  <a:gd name="csY2" fmla="*/ 58166 h 93980"/>
                  <a:gd name="csX3" fmla="*/ 0 w 139953"/>
                  <a:gd name="csY3" fmla="*/ 57658 h 93980"/>
                  <a:gd name="csX4" fmla="*/ 69977 w 139953"/>
                  <a:gd name="csY4" fmla="*/ 0 h 93980"/>
                  <a:gd name="csX5" fmla="*/ 139954 w 139953"/>
                  <a:gd name="csY5" fmla="*/ 57658 h 93980"/>
                  <a:gd name="csX6" fmla="*/ 101854 w 139953"/>
                  <a:gd name="csY6" fmla="*/ 93980 h 93980"/>
                  <a:gd name="csX7" fmla="*/ 69977 w 139953"/>
                  <a:gd name="csY7" fmla="*/ 19050 h 93980"/>
                  <a:gd name="csX8" fmla="*/ 19050 w 139953"/>
                  <a:gd name="csY8" fmla="*/ 57658 h 93980"/>
                  <a:gd name="csX9" fmla="*/ 38100 w 139953"/>
                  <a:gd name="csY9" fmla="*/ 75057 h 93980"/>
                  <a:gd name="csX10" fmla="*/ 101854 w 139953"/>
                  <a:gd name="csY10" fmla="*/ 75057 h 93980"/>
                  <a:gd name="csX11" fmla="*/ 120904 w 139953"/>
                  <a:gd name="csY11" fmla="*/ 57912 h 93980"/>
                  <a:gd name="csX12" fmla="*/ 69977 w 139953"/>
                  <a:gd name="csY12" fmla="*/ 19050 h 9398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139953" h="93980">
                    <a:moveTo>
                      <a:pt x="101854" y="93980"/>
                    </a:moveTo>
                    <a:lnTo>
                      <a:pt x="38100" y="93980"/>
                    </a:lnTo>
                    <a:cubicBezTo>
                      <a:pt x="17272" y="93980"/>
                      <a:pt x="254" y="77851"/>
                      <a:pt x="0" y="58166"/>
                    </a:cubicBezTo>
                    <a:cubicBezTo>
                      <a:pt x="0" y="58039"/>
                      <a:pt x="0" y="57785"/>
                      <a:pt x="0" y="57658"/>
                    </a:cubicBezTo>
                    <a:cubicBezTo>
                      <a:pt x="0" y="22098"/>
                      <a:pt x="26797" y="0"/>
                      <a:pt x="69977" y="0"/>
                    </a:cubicBezTo>
                    <a:cubicBezTo>
                      <a:pt x="113157" y="0"/>
                      <a:pt x="139954" y="22098"/>
                      <a:pt x="139954" y="57658"/>
                    </a:cubicBezTo>
                    <a:cubicBezTo>
                      <a:pt x="139954" y="77851"/>
                      <a:pt x="122809" y="93980"/>
                      <a:pt x="101854" y="93980"/>
                    </a:cubicBezTo>
                    <a:close/>
                    <a:moveTo>
                      <a:pt x="69977" y="19050"/>
                    </a:moveTo>
                    <a:cubicBezTo>
                      <a:pt x="54610" y="19050"/>
                      <a:pt x="19050" y="22860"/>
                      <a:pt x="19050" y="57658"/>
                    </a:cubicBezTo>
                    <a:cubicBezTo>
                      <a:pt x="19050" y="67183"/>
                      <a:pt x="27813" y="75057"/>
                      <a:pt x="38100" y="75057"/>
                    </a:cubicBezTo>
                    <a:lnTo>
                      <a:pt x="101854" y="75057"/>
                    </a:lnTo>
                    <a:cubicBezTo>
                      <a:pt x="112141" y="75057"/>
                      <a:pt x="120904" y="67183"/>
                      <a:pt x="120904" y="57912"/>
                    </a:cubicBezTo>
                    <a:cubicBezTo>
                      <a:pt x="120904" y="22860"/>
                      <a:pt x="85344" y="19050"/>
                      <a:pt x="69977" y="19050"/>
                    </a:cubicBezTo>
                    <a:close/>
                  </a:path>
                </a:pathLst>
              </a:custGeom>
              <a:grpFill/>
              <a:ln w="12700" cap="flat">
                <a:noFill/>
                <a:prstDash val="solid"/>
                <a:miter/>
              </a:ln>
            </p:spPr>
            <p:txBody>
              <a:bodyPr/>
              <a:lstStyle/>
              <a:p>
                <a:endParaRPr lang="en-IN"/>
              </a:p>
            </p:txBody>
          </p:sp>
          <p:sp>
            <p:nvSpPr>
              <p:cNvPr id="216" name="Freeform: Shape 215">
                <a:extLst>
                  <a:ext uri="{FF2B5EF4-FFF2-40B4-BE49-F238E27FC236}">
                    <a16:creationId xmlns:a16="http://schemas.microsoft.com/office/drawing/2014/main" id="{7FAC009C-166F-D132-4F1B-026D9457DBF3}"/>
                  </a:ext>
                </a:extLst>
              </p:cNvPr>
              <p:cNvSpPr/>
              <p:nvPr/>
            </p:nvSpPr>
            <p:spPr>
              <a:xfrm>
                <a:off x="2453861" y="2486580"/>
                <a:ext cx="84012" cy="83264"/>
              </a:xfrm>
              <a:custGeom>
                <a:avLst/>
                <a:gdLst>
                  <a:gd name="csX0" fmla="*/ 74582 w 84012"/>
                  <a:gd name="csY0" fmla="*/ 83265 h 83264"/>
                  <a:gd name="csX1" fmla="*/ 67851 w 84012"/>
                  <a:gd name="csY1" fmla="*/ 80471 h 83264"/>
                  <a:gd name="csX2" fmla="*/ 2827 w 84012"/>
                  <a:gd name="csY2" fmla="*/ 16336 h 83264"/>
                  <a:gd name="csX3" fmla="*/ 2700 w 84012"/>
                  <a:gd name="csY3" fmla="*/ 2874 h 83264"/>
                  <a:gd name="csX4" fmla="*/ 16162 w 84012"/>
                  <a:gd name="csY4" fmla="*/ 2747 h 83264"/>
                  <a:gd name="csX5" fmla="*/ 81186 w 84012"/>
                  <a:gd name="csY5" fmla="*/ 66882 h 83264"/>
                  <a:gd name="csX6" fmla="*/ 81313 w 84012"/>
                  <a:gd name="csY6" fmla="*/ 80344 h 83264"/>
                  <a:gd name="csX7" fmla="*/ 74582 w 84012"/>
                  <a:gd name="csY7" fmla="*/ 83265 h 83264"/>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84012" h="83264">
                    <a:moveTo>
                      <a:pt x="74582" y="83265"/>
                    </a:moveTo>
                    <a:cubicBezTo>
                      <a:pt x="72169" y="83265"/>
                      <a:pt x="69756" y="82376"/>
                      <a:pt x="67851" y="80471"/>
                    </a:cubicBezTo>
                    <a:lnTo>
                      <a:pt x="2827" y="16336"/>
                    </a:lnTo>
                    <a:cubicBezTo>
                      <a:pt x="-856" y="12653"/>
                      <a:pt x="-983" y="6557"/>
                      <a:pt x="2700" y="2874"/>
                    </a:cubicBezTo>
                    <a:cubicBezTo>
                      <a:pt x="6383" y="-936"/>
                      <a:pt x="12479" y="-936"/>
                      <a:pt x="16162" y="2747"/>
                    </a:cubicBezTo>
                    <a:lnTo>
                      <a:pt x="81186" y="66882"/>
                    </a:lnTo>
                    <a:cubicBezTo>
                      <a:pt x="84869" y="70565"/>
                      <a:pt x="84996" y="76661"/>
                      <a:pt x="81313" y="80344"/>
                    </a:cubicBezTo>
                    <a:cubicBezTo>
                      <a:pt x="79535" y="82249"/>
                      <a:pt x="77122" y="83265"/>
                      <a:pt x="74582" y="83265"/>
                    </a:cubicBezTo>
                    <a:close/>
                  </a:path>
                </a:pathLst>
              </a:custGeom>
              <a:grpFill/>
              <a:ln w="12700" cap="flat">
                <a:noFill/>
                <a:prstDash val="solid"/>
                <a:miter/>
              </a:ln>
            </p:spPr>
            <p:txBody>
              <a:bodyPr/>
              <a:lstStyle/>
              <a:p>
                <a:endParaRPr lang="en-IN"/>
              </a:p>
            </p:txBody>
          </p:sp>
          <p:sp>
            <p:nvSpPr>
              <p:cNvPr id="217" name="Freeform: Shape 216">
                <a:extLst>
                  <a:ext uri="{FF2B5EF4-FFF2-40B4-BE49-F238E27FC236}">
                    <a16:creationId xmlns:a16="http://schemas.microsoft.com/office/drawing/2014/main" id="{1D9110EF-36D6-8765-C144-2A90BEF63F55}"/>
                  </a:ext>
                </a:extLst>
              </p:cNvPr>
              <p:cNvSpPr/>
              <p:nvPr/>
            </p:nvSpPr>
            <p:spPr>
              <a:xfrm>
                <a:off x="2453798" y="2237517"/>
                <a:ext cx="84518" cy="84550"/>
              </a:xfrm>
              <a:custGeom>
                <a:avLst/>
                <a:gdLst>
                  <a:gd name="csX0" fmla="*/ 9493 w 84518"/>
                  <a:gd name="csY0" fmla="*/ 84550 h 84550"/>
                  <a:gd name="csX1" fmla="*/ 2762 w 84518"/>
                  <a:gd name="csY1" fmla="*/ 81756 h 84550"/>
                  <a:gd name="csX2" fmla="*/ 2762 w 84518"/>
                  <a:gd name="csY2" fmla="*/ 68294 h 84550"/>
                  <a:gd name="csX3" fmla="*/ 68294 w 84518"/>
                  <a:gd name="csY3" fmla="*/ 2762 h 84550"/>
                  <a:gd name="csX4" fmla="*/ 81756 w 84518"/>
                  <a:gd name="csY4" fmla="*/ 2762 h 84550"/>
                  <a:gd name="csX5" fmla="*/ 81756 w 84518"/>
                  <a:gd name="csY5" fmla="*/ 16224 h 84550"/>
                  <a:gd name="csX6" fmla="*/ 16351 w 84518"/>
                  <a:gd name="csY6" fmla="*/ 81756 h 84550"/>
                  <a:gd name="csX7" fmla="*/ 9493 w 84518"/>
                  <a:gd name="csY7" fmla="*/ 84550 h 84550"/>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84518" h="84550">
                    <a:moveTo>
                      <a:pt x="9493" y="84550"/>
                    </a:moveTo>
                    <a:cubicBezTo>
                      <a:pt x="7080" y="84550"/>
                      <a:pt x="4667" y="83661"/>
                      <a:pt x="2762" y="81756"/>
                    </a:cubicBezTo>
                    <a:cubicBezTo>
                      <a:pt x="-921" y="78073"/>
                      <a:pt x="-921" y="71977"/>
                      <a:pt x="2762" y="68294"/>
                    </a:cubicBezTo>
                    <a:lnTo>
                      <a:pt x="68294" y="2762"/>
                    </a:lnTo>
                    <a:cubicBezTo>
                      <a:pt x="71977" y="-921"/>
                      <a:pt x="78073" y="-921"/>
                      <a:pt x="81756" y="2762"/>
                    </a:cubicBezTo>
                    <a:cubicBezTo>
                      <a:pt x="85439" y="6445"/>
                      <a:pt x="85439" y="12541"/>
                      <a:pt x="81756" y="16224"/>
                    </a:cubicBezTo>
                    <a:lnTo>
                      <a:pt x="16351" y="81756"/>
                    </a:lnTo>
                    <a:cubicBezTo>
                      <a:pt x="14446" y="83661"/>
                      <a:pt x="12033" y="84550"/>
                      <a:pt x="9493" y="84550"/>
                    </a:cubicBezTo>
                    <a:close/>
                  </a:path>
                </a:pathLst>
              </a:custGeom>
              <a:grpFill/>
              <a:ln w="12700" cap="flat">
                <a:noFill/>
                <a:prstDash val="solid"/>
                <a:miter/>
              </a:ln>
            </p:spPr>
            <p:txBody>
              <a:bodyPr/>
              <a:lstStyle/>
              <a:p>
                <a:endParaRPr lang="en-IN"/>
              </a:p>
            </p:txBody>
          </p:sp>
          <p:sp>
            <p:nvSpPr>
              <p:cNvPr id="218" name="Freeform: Shape 217">
                <a:extLst>
                  <a:ext uri="{FF2B5EF4-FFF2-40B4-BE49-F238E27FC236}">
                    <a16:creationId xmlns:a16="http://schemas.microsoft.com/office/drawing/2014/main" id="{F915ECF5-3C5F-5D2D-3BE5-C1F2D80E0356}"/>
                  </a:ext>
                </a:extLst>
              </p:cNvPr>
              <p:cNvSpPr/>
              <p:nvPr/>
            </p:nvSpPr>
            <p:spPr>
              <a:xfrm>
                <a:off x="2201449" y="2234469"/>
                <a:ext cx="87566" cy="87598"/>
              </a:xfrm>
              <a:custGeom>
                <a:avLst/>
                <a:gdLst>
                  <a:gd name="csX0" fmla="*/ 78073 w 87566"/>
                  <a:gd name="csY0" fmla="*/ 87598 h 87598"/>
                  <a:gd name="csX1" fmla="*/ 71342 w 87566"/>
                  <a:gd name="csY1" fmla="*/ 84804 h 87598"/>
                  <a:gd name="csX2" fmla="*/ 2762 w 87566"/>
                  <a:gd name="csY2" fmla="*/ 16224 h 87598"/>
                  <a:gd name="csX3" fmla="*/ 2762 w 87566"/>
                  <a:gd name="csY3" fmla="*/ 2762 h 87598"/>
                  <a:gd name="csX4" fmla="*/ 16224 w 87566"/>
                  <a:gd name="csY4" fmla="*/ 2762 h 87598"/>
                  <a:gd name="csX5" fmla="*/ 84804 w 87566"/>
                  <a:gd name="csY5" fmla="*/ 71342 h 87598"/>
                  <a:gd name="csX6" fmla="*/ 84804 w 87566"/>
                  <a:gd name="csY6" fmla="*/ 84804 h 87598"/>
                  <a:gd name="csX7" fmla="*/ 78073 w 87566"/>
                  <a:gd name="csY7" fmla="*/ 87598 h 8759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87566" h="87598">
                    <a:moveTo>
                      <a:pt x="78073" y="87598"/>
                    </a:moveTo>
                    <a:cubicBezTo>
                      <a:pt x="75660" y="87598"/>
                      <a:pt x="73247" y="86709"/>
                      <a:pt x="71342" y="84804"/>
                    </a:cubicBezTo>
                    <a:lnTo>
                      <a:pt x="2762" y="16224"/>
                    </a:lnTo>
                    <a:cubicBezTo>
                      <a:pt x="-921" y="12541"/>
                      <a:pt x="-921" y="6445"/>
                      <a:pt x="2762" y="2762"/>
                    </a:cubicBezTo>
                    <a:cubicBezTo>
                      <a:pt x="6445" y="-921"/>
                      <a:pt x="12541" y="-921"/>
                      <a:pt x="16224" y="2762"/>
                    </a:cubicBezTo>
                    <a:lnTo>
                      <a:pt x="84804" y="71342"/>
                    </a:lnTo>
                    <a:cubicBezTo>
                      <a:pt x="88487" y="75025"/>
                      <a:pt x="88487" y="81121"/>
                      <a:pt x="84804" y="84804"/>
                    </a:cubicBezTo>
                    <a:cubicBezTo>
                      <a:pt x="83026" y="86582"/>
                      <a:pt x="80613" y="87598"/>
                      <a:pt x="78073" y="87598"/>
                    </a:cubicBezTo>
                    <a:close/>
                  </a:path>
                </a:pathLst>
              </a:custGeom>
              <a:grpFill/>
              <a:ln w="12700" cap="flat">
                <a:noFill/>
                <a:prstDash val="solid"/>
                <a:miter/>
              </a:ln>
            </p:spPr>
            <p:txBody>
              <a:bodyPr/>
              <a:lstStyle/>
              <a:p>
                <a:endParaRPr lang="en-IN"/>
              </a:p>
            </p:txBody>
          </p:sp>
          <p:sp>
            <p:nvSpPr>
              <p:cNvPr id="219" name="Freeform: Shape 218">
                <a:extLst>
                  <a:ext uri="{FF2B5EF4-FFF2-40B4-BE49-F238E27FC236}">
                    <a16:creationId xmlns:a16="http://schemas.microsoft.com/office/drawing/2014/main" id="{1CFF4FB8-227A-0127-ED85-2A36C0991780}"/>
                  </a:ext>
                </a:extLst>
              </p:cNvPr>
              <p:cNvSpPr/>
              <p:nvPr/>
            </p:nvSpPr>
            <p:spPr>
              <a:xfrm>
                <a:off x="2200127" y="2487909"/>
                <a:ext cx="87417" cy="83078"/>
              </a:xfrm>
              <a:custGeom>
                <a:avLst/>
                <a:gdLst>
                  <a:gd name="csX0" fmla="*/ 9546 w 87417"/>
                  <a:gd name="csY0" fmla="*/ 83079 h 83078"/>
                  <a:gd name="csX1" fmla="*/ 2561 w 87417"/>
                  <a:gd name="csY1" fmla="*/ 80031 h 83078"/>
                  <a:gd name="csX2" fmla="*/ 3069 w 87417"/>
                  <a:gd name="csY2" fmla="*/ 66569 h 83078"/>
                  <a:gd name="csX3" fmla="*/ 71395 w 87417"/>
                  <a:gd name="csY3" fmla="*/ 2561 h 83078"/>
                  <a:gd name="csX4" fmla="*/ 84857 w 87417"/>
                  <a:gd name="csY4" fmla="*/ 3069 h 83078"/>
                  <a:gd name="csX5" fmla="*/ 84349 w 87417"/>
                  <a:gd name="csY5" fmla="*/ 16531 h 83078"/>
                  <a:gd name="csX6" fmla="*/ 16023 w 87417"/>
                  <a:gd name="csY6" fmla="*/ 80412 h 83078"/>
                  <a:gd name="csX7" fmla="*/ 9546 w 87417"/>
                  <a:gd name="csY7" fmla="*/ 83079 h 8307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Lst>
                <a:rect l="l" t="t" r="r" b="b"/>
                <a:pathLst>
                  <a:path w="87417" h="83078">
                    <a:moveTo>
                      <a:pt x="9546" y="83079"/>
                    </a:moveTo>
                    <a:cubicBezTo>
                      <a:pt x="7006" y="83079"/>
                      <a:pt x="4466" y="82063"/>
                      <a:pt x="2561" y="80031"/>
                    </a:cubicBezTo>
                    <a:cubicBezTo>
                      <a:pt x="-995" y="76221"/>
                      <a:pt x="-868" y="70125"/>
                      <a:pt x="3069" y="66569"/>
                    </a:cubicBezTo>
                    <a:lnTo>
                      <a:pt x="71395" y="2561"/>
                    </a:lnTo>
                    <a:cubicBezTo>
                      <a:pt x="75205" y="-995"/>
                      <a:pt x="81301" y="-868"/>
                      <a:pt x="84857" y="3069"/>
                    </a:cubicBezTo>
                    <a:cubicBezTo>
                      <a:pt x="88413" y="6879"/>
                      <a:pt x="88286" y="12975"/>
                      <a:pt x="84349" y="16531"/>
                    </a:cubicBezTo>
                    <a:lnTo>
                      <a:pt x="16023" y="80412"/>
                    </a:lnTo>
                    <a:cubicBezTo>
                      <a:pt x="14245" y="82190"/>
                      <a:pt x="11959" y="83079"/>
                      <a:pt x="9546" y="83079"/>
                    </a:cubicBezTo>
                    <a:close/>
                  </a:path>
                </a:pathLst>
              </a:custGeom>
              <a:grpFill/>
              <a:ln w="12700" cap="flat">
                <a:noFill/>
                <a:prstDash val="solid"/>
                <a:miter/>
              </a:ln>
            </p:spPr>
            <p:txBody>
              <a:bodyPr/>
              <a:lstStyle/>
              <a:p>
                <a:endParaRPr lang="en-IN"/>
              </a:p>
            </p:txBody>
          </p:sp>
        </p:grpSp>
      </p:grpSp>
      <p:grpSp>
        <p:nvGrpSpPr>
          <p:cNvPr id="22" name="Group 21">
            <a:extLst>
              <a:ext uri="{FF2B5EF4-FFF2-40B4-BE49-F238E27FC236}">
                <a16:creationId xmlns:a16="http://schemas.microsoft.com/office/drawing/2014/main" id="{B069C3C8-2115-8A83-767A-FF85FE5BDB8D}"/>
              </a:ext>
            </a:extLst>
          </p:cNvPr>
          <p:cNvGrpSpPr/>
          <p:nvPr/>
        </p:nvGrpSpPr>
        <p:grpSpPr>
          <a:xfrm>
            <a:off x="5648218" y="4881526"/>
            <a:ext cx="569466" cy="569466"/>
            <a:chOff x="5648218" y="4881526"/>
            <a:chExt cx="569466" cy="569466"/>
          </a:xfrm>
        </p:grpSpPr>
        <p:sp>
          <p:nvSpPr>
            <p:cNvPr id="140" name="Oval 139">
              <a:extLst>
                <a:ext uri="{FF2B5EF4-FFF2-40B4-BE49-F238E27FC236}">
                  <a16:creationId xmlns:a16="http://schemas.microsoft.com/office/drawing/2014/main" id="{9F55A513-853F-E8C3-E622-D8C97AA954D1}"/>
                </a:ext>
              </a:extLst>
            </p:cNvPr>
            <p:cNvSpPr>
              <a:spLocks noChangeAspect="1"/>
            </p:cNvSpPr>
            <p:nvPr/>
          </p:nvSpPr>
          <p:spPr>
            <a:xfrm>
              <a:off x="5648218" y="4881526"/>
              <a:ext cx="569466" cy="56946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sp>
          <p:nvSpPr>
            <p:cNvPr id="194" name="Pic">
              <a:extLst>
                <a:ext uri="{FF2B5EF4-FFF2-40B4-BE49-F238E27FC236}">
                  <a16:creationId xmlns:a16="http://schemas.microsoft.com/office/drawing/2014/main" id="{30E02D38-61D0-19E6-F1F1-D07EBF0AB5D2}"/>
                </a:ext>
              </a:extLst>
            </p:cNvPr>
            <p:cNvSpPr>
              <a:spLocks noChangeAspect="1"/>
            </p:cNvSpPr>
            <p:nvPr/>
          </p:nvSpPr>
          <p:spPr>
            <a:xfrm>
              <a:off x="5771027" y="5012777"/>
              <a:ext cx="323846" cy="306965"/>
            </a:xfrm>
            <a:custGeom>
              <a:avLst/>
              <a:gdLst>
                <a:gd name="csX0" fmla="*/ 176739 w 631082"/>
                <a:gd name="csY0" fmla="*/ 247002 h 598188"/>
                <a:gd name="csX1" fmla="*/ 197095 w 631082"/>
                <a:gd name="csY1" fmla="*/ 264994 h 598188"/>
                <a:gd name="csX2" fmla="*/ 198213 w 631082"/>
                <a:gd name="csY2" fmla="*/ 265019 h 598188"/>
                <a:gd name="csX3" fmla="*/ 220092 w 631082"/>
                <a:gd name="csY3" fmla="*/ 247638 h 598188"/>
                <a:gd name="csX4" fmla="*/ 220182 w 631082"/>
                <a:gd name="csY4" fmla="*/ 247103 h 598188"/>
                <a:gd name="csX5" fmla="*/ 233396 w 631082"/>
                <a:gd name="csY5" fmla="*/ 151782 h 598188"/>
                <a:gd name="csX6" fmla="*/ 215368 w 631082"/>
                <a:gd name="csY6" fmla="*/ 93799 h 598188"/>
                <a:gd name="csX7" fmla="*/ 182347 w 631082"/>
                <a:gd name="csY7" fmla="*/ 93972 h 598188"/>
                <a:gd name="csX8" fmla="*/ 163536 w 631082"/>
                <a:gd name="csY8" fmla="*/ 151759 h 598188"/>
                <a:gd name="csX9" fmla="*/ 176738 w 631082"/>
                <a:gd name="csY9" fmla="*/ 247004 h 598188"/>
                <a:gd name="csX10" fmla="*/ 192011 w 631082"/>
                <a:gd name="csY10" fmla="*/ 109025 h 598188"/>
                <a:gd name="csX11" fmla="*/ 199065 w 631082"/>
                <a:gd name="csY11" fmla="*/ 106845 h 598188"/>
                <a:gd name="csX12" fmla="*/ 205712 w 631082"/>
                <a:gd name="csY12" fmla="*/ 108856 h 598188"/>
                <a:gd name="csX13" fmla="*/ 215679 w 631082"/>
                <a:gd name="csY13" fmla="*/ 149302 h 598188"/>
                <a:gd name="csX14" fmla="*/ 202510 w 631082"/>
                <a:gd name="csY14" fmla="*/ 244303 h 598188"/>
                <a:gd name="csX15" fmla="*/ 197877 w 631082"/>
                <a:gd name="csY15" fmla="*/ 247122 h 598188"/>
                <a:gd name="csX16" fmla="*/ 194502 w 631082"/>
                <a:gd name="csY16" fmla="*/ 244883 h 598188"/>
                <a:gd name="csX17" fmla="*/ 194473 w 631082"/>
                <a:gd name="csY17" fmla="*/ 244645 h 598188"/>
                <a:gd name="csX18" fmla="*/ 181252 w 631082"/>
                <a:gd name="csY18" fmla="*/ 149274 h 598188"/>
                <a:gd name="csX19" fmla="*/ 192012 w 631082"/>
                <a:gd name="csY19" fmla="*/ 109023 h 598188"/>
                <a:gd name="csX20" fmla="*/ 198504 w 631082"/>
                <a:gd name="csY20" fmla="*/ 267274 h 598188"/>
                <a:gd name="csX21" fmla="*/ 171310 w 631082"/>
                <a:gd name="csY21" fmla="*/ 294469 h 598188"/>
                <a:gd name="csX22" fmla="*/ 198504 w 631082"/>
                <a:gd name="csY22" fmla="*/ 321664 h 598188"/>
                <a:gd name="csX23" fmla="*/ 225698 w 631082"/>
                <a:gd name="csY23" fmla="*/ 294469 h 598188"/>
                <a:gd name="csX24" fmla="*/ 198504 w 631082"/>
                <a:gd name="csY24" fmla="*/ 267274 h 598188"/>
                <a:gd name="csX25" fmla="*/ 198504 w 631082"/>
                <a:gd name="csY25" fmla="*/ 303774 h 598188"/>
                <a:gd name="csX26" fmla="*/ 189198 w 631082"/>
                <a:gd name="csY26" fmla="*/ 294469 h 598188"/>
                <a:gd name="csX27" fmla="*/ 198504 w 631082"/>
                <a:gd name="csY27" fmla="*/ 285163 h 598188"/>
                <a:gd name="csX28" fmla="*/ 207810 w 631082"/>
                <a:gd name="csY28" fmla="*/ 294469 h 598188"/>
                <a:gd name="csX29" fmla="*/ 198504 w 631082"/>
                <a:gd name="csY29" fmla="*/ 303774 h 598188"/>
                <a:gd name="csX30" fmla="*/ 538090 w 631082"/>
                <a:gd name="csY30" fmla="*/ 295701 h 598188"/>
                <a:gd name="csX31" fmla="*/ 529147 w 631082"/>
                <a:gd name="csY31" fmla="*/ 304646 h 598188"/>
                <a:gd name="csX32" fmla="*/ 429495 w 631082"/>
                <a:gd name="csY32" fmla="*/ 304646 h 598188"/>
                <a:gd name="csX33" fmla="*/ 420552 w 631082"/>
                <a:gd name="csY33" fmla="*/ 295701 h 598188"/>
                <a:gd name="csX34" fmla="*/ 429495 w 631082"/>
                <a:gd name="csY34" fmla="*/ 286756 h 598188"/>
                <a:gd name="csX35" fmla="*/ 529147 w 631082"/>
                <a:gd name="csY35" fmla="*/ 286756 h 598188"/>
                <a:gd name="csX36" fmla="*/ 538090 w 631082"/>
                <a:gd name="csY36" fmla="*/ 295701 h 598188"/>
                <a:gd name="csX37" fmla="*/ 538090 w 631082"/>
                <a:gd name="csY37" fmla="*/ 343607 h 598188"/>
                <a:gd name="csX38" fmla="*/ 529147 w 631082"/>
                <a:gd name="csY38" fmla="*/ 352552 h 598188"/>
                <a:gd name="csX39" fmla="*/ 429495 w 631082"/>
                <a:gd name="csY39" fmla="*/ 352552 h 598188"/>
                <a:gd name="csX40" fmla="*/ 420552 w 631082"/>
                <a:gd name="csY40" fmla="*/ 343607 h 598188"/>
                <a:gd name="csX41" fmla="*/ 429495 w 631082"/>
                <a:gd name="csY41" fmla="*/ 334663 h 598188"/>
                <a:gd name="csX42" fmla="*/ 529147 w 631082"/>
                <a:gd name="csY42" fmla="*/ 334663 h 598188"/>
                <a:gd name="csX43" fmla="*/ 538090 w 631082"/>
                <a:gd name="csY43" fmla="*/ 343607 h 598188"/>
                <a:gd name="csX44" fmla="*/ 538090 w 631082"/>
                <a:gd name="csY44" fmla="*/ 391551 h 598188"/>
                <a:gd name="csX45" fmla="*/ 529147 w 631082"/>
                <a:gd name="csY45" fmla="*/ 400496 h 598188"/>
                <a:gd name="csX46" fmla="*/ 160953 w 631082"/>
                <a:gd name="csY46" fmla="*/ 400496 h 598188"/>
                <a:gd name="csX47" fmla="*/ 152009 w 631082"/>
                <a:gd name="csY47" fmla="*/ 391551 h 598188"/>
                <a:gd name="csX48" fmla="*/ 160953 w 631082"/>
                <a:gd name="csY48" fmla="*/ 382606 h 598188"/>
                <a:gd name="csX49" fmla="*/ 529146 w 631082"/>
                <a:gd name="csY49" fmla="*/ 382606 h 598188"/>
                <a:gd name="csX50" fmla="*/ 538089 w 631082"/>
                <a:gd name="csY50" fmla="*/ 391551 h 598188"/>
                <a:gd name="csX51" fmla="*/ 538090 w 631082"/>
                <a:gd name="csY51" fmla="*/ 439458 h 598188"/>
                <a:gd name="csX52" fmla="*/ 529147 w 631082"/>
                <a:gd name="csY52" fmla="*/ 448402 h 598188"/>
                <a:gd name="csX53" fmla="*/ 160953 w 631082"/>
                <a:gd name="csY53" fmla="*/ 448402 h 598188"/>
                <a:gd name="csX54" fmla="*/ 152009 w 631082"/>
                <a:gd name="csY54" fmla="*/ 439458 h 598188"/>
                <a:gd name="csX55" fmla="*/ 160953 w 631082"/>
                <a:gd name="csY55" fmla="*/ 430513 h 598188"/>
                <a:gd name="csX56" fmla="*/ 529146 w 631082"/>
                <a:gd name="csY56" fmla="*/ 430513 h 598188"/>
                <a:gd name="csX57" fmla="*/ 538089 w 631082"/>
                <a:gd name="csY57" fmla="*/ 439458 h 598188"/>
                <a:gd name="csX58" fmla="*/ 631079 w 631082"/>
                <a:gd name="csY58" fmla="*/ 184061 h 598188"/>
                <a:gd name="csX59" fmla="*/ 538452 w 631082"/>
                <a:gd name="csY59" fmla="*/ 91433 h 598188"/>
                <a:gd name="csX60" fmla="*/ 457931 w 631082"/>
                <a:gd name="csY60" fmla="*/ 138362 h 598188"/>
                <a:gd name="csX61" fmla="*/ 297639 w 631082"/>
                <a:gd name="csY61" fmla="*/ 138362 h 598188"/>
                <a:gd name="csX62" fmla="*/ 227402 w 631082"/>
                <a:gd name="csY62" fmla="*/ 16723 h 598188"/>
                <a:gd name="csX63" fmla="*/ 198503 w 631082"/>
                <a:gd name="csY63" fmla="*/ 0 h 598188"/>
                <a:gd name="csX64" fmla="*/ 169574 w 631082"/>
                <a:gd name="csY64" fmla="*/ 16711 h 598188"/>
                <a:gd name="csX65" fmla="*/ 4605 w 631082"/>
                <a:gd name="csY65" fmla="*/ 302478 h 598188"/>
                <a:gd name="csX66" fmla="*/ 4596 w 631082"/>
                <a:gd name="csY66" fmla="*/ 335874 h 598188"/>
                <a:gd name="csX67" fmla="*/ 33492 w 631082"/>
                <a:gd name="csY67" fmla="*/ 352553 h 598188"/>
                <a:gd name="csX68" fmla="*/ 83391 w 631082"/>
                <a:gd name="csY68" fmla="*/ 352553 h 598188"/>
                <a:gd name="csX69" fmla="*/ 83391 w 631082"/>
                <a:gd name="csY69" fmla="*/ 450467 h 598188"/>
                <a:gd name="csX70" fmla="*/ 142524 w 631082"/>
                <a:gd name="csY70" fmla="*/ 509600 h 598188"/>
                <a:gd name="csX71" fmla="*/ 182067 w 631082"/>
                <a:gd name="csY71" fmla="*/ 509600 h 598188"/>
                <a:gd name="csX72" fmla="*/ 182067 w 631082"/>
                <a:gd name="csY72" fmla="*/ 582854 h 598188"/>
                <a:gd name="csX73" fmla="*/ 191509 w 631082"/>
                <a:gd name="csY73" fmla="*/ 597008 h 598188"/>
                <a:gd name="csX74" fmla="*/ 197380 w 631082"/>
                <a:gd name="csY74" fmla="*/ 598189 h 598188"/>
                <a:gd name="csX75" fmla="*/ 208237 w 631082"/>
                <a:gd name="csY75" fmla="*/ 593704 h 598188"/>
                <a:gd name="csX76" fmla="*/ 292305 w 631082"/>
                <a:gd name="csY76" fmla="*/ 509600 h 598188"/>
                <a:gd name="csX77" fmla="*/ 538781 w 631082"/>
                <a:gd name="csY77" fmla="*/ 509600 h 598188"/>
                <a:gd name="csX78" fmla="*/ 597914 w 631082"/>
                <a:gd name="csY78" fmla="*/ 450467 h 598188"/>
                <a:gd name="csX79" fmla="*/ 597914 w 631082"/>
                <a:gd name="csY79" fmla="*/ 255017 h 598188"/>
                <a:gd name="csX80" fmla="*/ 631083 w 631082"/>
                <a:gd name="csY80" fmla="*/ 184063 h 598188"/>
                <a:gd name="csX81" fmla="*/ 538452 w 631082"/>
                <a:gd name="csY81" fmla="*/ 109322 h 598188"/>
                <a:gd name="csX82" fmla="*/ 613191 w 631082"/>
                <a:gd name="csY82" fmla="*/ 184061 h 598188"/>
                <a:gd name="csX83" fmla="*/ 538452 w 631082"/>
                <a:gd name="csY83" fmla="*/ 258801 h 598188"/>
                <a:gd name="csX84" fmla="*/ 463713 w 631082"/>
                <a:gd name="csY84" fmla="*/ 184061 h 598188"/>
                <a:gd name="csX85" fmla="*/ 538452 w 631082"/>
                <a:gd name="csY85" fmla="*/ 109322 h 598188"/>
                <a:gd name="csX86" fmla="*/ 20092 w 631082"/>
                <a:gd name="csY86" fmla="*/ 326936 h 598188"/>
                <a:gd name="csX87" fmla="*/ 20090 w 631082"/>
                <a:gd name="csY87" fmla="*/ 311434 h 598188"/>
                <a:gd name="csX88" fmla="*/ 185069 w 631082"/>
                <a:gd name="csY88" fmla="*/ 25655 h 598188"/>
                <a:gd name="csX89" fmla="*/ 198504 w 631082"/>
                <a:gd name="csY89" fmla="*/ 17892 h 598188"/>
                <a:gd name="csX90" fmla="*/ 211888 w 631082"/>
                <a:gd name="csY90" fmla="*/ 25628 h 598188"/>
                <a:gd name="csX91" fmla="*/ 211906 w 631082"/>
                <a:gd name="csY91" fmla="*/ 25659 h 598188"/>
                <a:gd name="csX92" fmla="*/ 376926 w 631082"/>
                <a:gd name="csY92" fmla="*/ 311448 h 598188"/>
                <a:gd name="csX93" fmla="*/ 376917 w 631082"/>
                <a:gd name="csY93" fmla="*/ 326937 h 598188"/>
                <a:gd name="csX94" fmla="*/ 363482 w 631082"/>
                <a:gd name="csY94" fmla="*/ 334664 h 598188"/>
                <a:gd name="csX95" fmla="*/ 33491 w 631082"/>
                <a:gd name="csY95" fmla="*/ 334664 h 598188"/>
                <a:gd name="csX96" fmla="*/ 20092 w 631082"/>
                <a:gd name="csY96" fmla="*/ 326937 h 598188"/>
                <a:gd name="csX97" fmla="*/ 580022 w 631082"/>
                <a:gd name="csY97" fmla="*/ 450465 h 598188"/>
                <a:gd name="csX98" fmla="*/ 538778 w 631082"/>
                <a:gd name="csY98" fmla="*/ 491709 h 598188"/>
                <a:gd name="csX99" fmla="*/ 288596 w 631082"/>
                <a:gd name="csY99" fmla="*/ 491709 h 598188"/>
                <a:gd name="csX100" fmla="*/ 282270 w 631082"/>
                <a:gd name="csY100" fmla="*/ 494330 h 598188"/>
                <a:gd name="csX101" fmla="*/ 199952 w 631082"/>
                <a:gd name="csY101" fmla="*/ 576684 h 598188"/>
                <a:gd name="csX102" fmla="*/ 199952 w 631082"/>
                <a:gd name="csY102" fmla="*/ 500654 h 598188"/>
                <a:gd name="csX103" fmla="*/ 191008 w 631082"/>
                <a:gd name="csY103" fmla="*/ 491709 h 598188"/>
                <a:gd name="csX104" fmla="*/ 142522 w 631082"/>
                <a:gd name="csY104" fmla="*/ 491709 h 598188"/>
                <a:gd name="csX105" fmla="*/ 101277 w 631082"/>
                <a:gd name="csY105" fmla="*/ 450465 h 598188"/>
                <a:gd name="csX106" fmla="*/ 101277 w 631082"/>
                <a:gd name="csY106" fmla="*/ 352552 h 598188"/>
                <a:gd name="csX107" fmla="*/ 363481 w 631082"/>
                <a:gd name="csY107" fmla="*/ 352552 h 598188"/>
                <a:gd name="csX108" fmla="*/ 392411 w 631082"/>
                <a:gd name="csY108" fmla="*/ 335873 h 598188"/>
                <a:gd name="csX109" fmla="*/ 392410 w 631082"/>
                <a:gd name="csY109" fmla="*/ 302489 h 598188"/>
                <a:gd name="csX110" fmla="*/ 307969 w 631082"/>
                <a:gd name="csY110" fmla="*/ 156252 h 598188"/>
                <a:gd name="csX111" fmla="*/ 450096 w 631082"/>
                <a:gd name="csY111" fmla="*/ 156252 h 598188"/>
                <a:gd name="csX112" fmla="*/ 445825 w 631082"/>
                <a:gd name="csY112" fmla="*/ 184061 h 598188"/>
                <a:gd name="csX113" fmla="*/ 446104 w 631082"/>
                <a:gd name="csY113" fmla="*/ 190905 h 598188"/>
                <a:gd name="csX114" fmla="*/ 378508 w 631082"/>
                <a:gd name="csY114" fmla="*/ 190905 h 598188"/>
                <a:gd name="csX115" fmla="*/ 369565 w 631082"/>
                <a:gd name="csY115" fmla="*/ 199849 h 598188"/>
                <a:gd name="csX116" fmla="*/ 378508 w 631082"/>
                <a:gd name="csY116" fmla="*/ 208794 h 598188"/>
                <a:gd name="csX117" fmla="*/ 449205 w 631082"/>
                <a:gd name="csY117" fmla="*/ 208794 h 598188"/>
                <a:gd name="csX118" fmla="*/ 463798 w 631082"/>
                <a:gd name="csY118" fmla="*/ 238811 h 598188"/>
                <a:gd name="csX119" fmla="*/ 399619 w 631082"/>
                <a:gd name="csY119" fmla="*/ 238811 h 598188"/>
                <a:gd name="csX120" fmla="*/ 390676 w 631082"/>
                <a:gd name="csY120" fmla="*/ 247756 h 598188"/>
                <a:gd name="csX121" fmla="*/ 399619 w 631082"/>
                <a:gd name="csY121" fmla="*/ 256701 h 598188"/>
                <a:gd name="csX122" fmla="*/ 481079 w 631082"/>
                <a:gd name="csY122" fmla="*/ 256701 h 598188"/>
                <a:gd name="csX123" fmla="*/ 538452 w 631082"/>
                <a:gd name="csY123" fmla="*/ 276689 h 598188"/>
                <a:gd name="csX124" fmla="*/ 580022 w 631082"/>
                <a:gd name="csY124" fmla="*/ 266797 h 598188"/>
                <a:gd name="csX125" fmla="*/ 580022 w 631082"/>
                <a:gd name="csY125" fmla="*/ 450464 h 598188"/>
                <a:gd name="csX126" fmla="*/ 502000 w 631082"/>
                <a:gd name="csY126" fmla="*/ 207864 h 598188"/>
                <a:gd name="csX127" fmla="*/ 525803 w 631082"/>
                <a:gd name="csY127" fmla="*/ 184061 h 598188"/>
                <a:gd name="csX128" fmla="*/ 502000 w 631082"/>
                <a:gd name="csY128" fmla="*/ 160259 h 598188"/>
                <a:gd name="csX129" fmla="*/ 502000 w 631082"/>
                <a:gd name="csY129" fmla="*/ 147610 h 598188"/>
                <a:gd name="csX130" fmla="*/ 514648 w 631082"/>
                <a:gd name="csY130" fmla="*/ 147610 h 598188"/>
                <a:gd name="csX131" fmla="*/ 538452 w 631082"/>
                <a:gd name="csY131" fmla="*/ 171413 h 598188"/>
                <a:gd name="csX132" fmla="*/ 562254 w 631082"/>
                <a:gd name="csY132" fmla="*/ 147610 h 598188"/>
                <a:gd name="csX133" fmla="*/ 574902 w 631082"/>
                <a:gd name="csY133" fmla="*/ 147610 h 598188"/>
                <a:gd name="csX134" fmla="*/ 574902 w 631082"/>
                <a:gd name="csY134" fmla="*/ 160259 h 598188"/>
                <a:gd name="csX135" fmla="*/ 551100 w 631082"/>
                <a:gd name="csY135" fmla="*/ 184061 h 598188"/>
                <a:gd name="csX136" fmla="*/ 574902 w 631082"/>
                <a:gd name="csY136" fmla="*/ 207864 h 598188"/>
                <a:gd name="csX137" fmla="*/ 574902 w 631082"/>
                <a:gd name="csY137" fmla="*/ 220513 h 598188"/>
                <a:gd name="csX138" fmla="*/ 568578 w 631082"/>
                <a:gd name="csY138" fmla="*/ 223133 h 598188"/>
                <a:gd name="csX139" fmla="*/ 562253 w 631082"/>
                <a:gd name="csY139" fmla="*/ 220513 h 598188"/>
                <a:gd name="csX140" fmla="*/ 538451 w 631082"/>
                <a:gd name="csY140" fmla="*/ 196709 h 598188"/>
                <a:gd name="csX141" fmla="*/ 514647 w 631082"/>
                <a:gd name="csY141" fmla="*/ 220513 h 598188"/>
                <a:gd name="csX142" fmla="*/ 501999 w 631082"/>
                <a:gd name="csY142" fmla="*/ 220513 h 598188"/>
                <a:gd name="csX143" fmla="*/ 501999 w 631082"/>
                <a:gd name="csY143" fmla="*/ 207864 h 598188"/>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 ang="0">
                  <a:pos x="csX96" y="csY96"/>
                </a:cxn>
                <a:cxn ang="0">
                  <a:pos x="csX97" y="csY97"/>
                </a:cxn>
                <a:cxn ang="0">
                  <a:pos x="csX98" y="csY98"/>
                </a:cxn>
                <a:cxn ang="0">
                  <a:pos x="csX99" y="csY99"/>
                </a:cxn>
                <a:cxn ang="0">
                  <a:pos x="csX100" y="csY100"/>
                </a:cxn>
                <a:cxn ang="0">
                  <a:pos x="csX101" y="csY101"/>
                </a:cxn>
                <a:cxn ang="0">
                  <a:pos x="csX102" y="csY102"/>
                </a:cxn>
                <a:cxn ang="0">
                  <a:pos x="csX103" y="csY103"/>
                </a:cxn>
                <a:cxn ang="0">
                  <a:pos x="csX104" y="csY104"/>
                </a:cxn>
                <a:cxn ang="0">
                  <a:pos x="csX105" y="csY105"/>
                </a:cxn>
                <a:cxn ang="0">
                  <a:pos x="csX106" y="csY106"/>
                </a:cxn>
                <a:cxn ang="0">
                  <a:pos x="csX107" y="csY107"/>
                </a:cxn>
                <a:cxn ang="0">
                  <a:pos x="csX108" y="csY108"/>
                </a:cxn>
                <a:cxn ang="0">
                  <a:pos x="csX109" y="csY109"/>
                </a:cxn>
                <a:cxn ang="0">
                  <a:pos x="csX110" y="csY110"/>
                </a:cxn>
                <a:cxn ang="0">
                  <a:pos x="csX111" y="csY111"/>
                </a:cxn>
                <a:cxn ang="0">
                  <a:pos x="csX112" y="csY112"/>
                </a:cxn>
                <a:cxn ang="0">
                  <a:pos x="csX113" y="csY113"/>
                </a:cxn>
                <a:cxn ang="0">
                  <a:pos x="csX114" y="csY114"/>
                </a:cxn>
                <a:cxn ang="0">
                  <a:pos x="csX115" y="csY115"/>
                </a:cxn>
                <a:cxn ang="0">
                  <a:pos x="csX116" y="csY116"/>
                </a:cxn>
                <a:cxn ang="0">
                  <a:pos x="csX117" y="csY117"/>
                </a:cxn>
                <a:cxn ang="0">
                  <a:pos x="csX118" y="csY118"/>
                </a:cxn>
                <a:cxn ang="0">
                  <a:pos x="csX119" y="csY119"/>
                </a:cxn>
                <a:cxn ang="0">
                  <a:pos x="csX120" y="csY120"/>
                </a:cxn>
                <a:cxn ang="0">
                  <a:pos x="csX121" y="csY121"/>
                </a:cxn>
                <a:cxn ang="0">
                  <a:pos x="csX122" y="csY122"/>
                </a:cxn>
                <a:cxn ang="0">
                  <a:pos x="csX123" y="csY123"/>
                </a:cxn>
                <a:cxn ang="0">
                  <a:pos x="csX124" y="csY124"/>
                </a:cxn>
                <a:cxn ang="0">
                  <a:pos x="csX125" y="csY125"/>
                </a:cxn>
                <a:cxn ang="0">
                  <a:pos x="csX126" y="csY126"/>
                </a:cxn>
                <a:cxn ang="0">
                  <a:pos x="csX127" y="csY127"/>
                </a:cxn>
                <a:cxn ang="0">
                  <a:pos x="csX128" y="csY128"/>
                </a:cxn>
                <a:cxn ang="0">
                  <a:pos x="csX129" y="csY129"/>
                </a:cxn>
                <a:cxn ang="0">
                  <a:pos x="csX130" y="csY130"/>
                </a:cxn>
                <a:cxn ang="0">
                  <a:pos x="csX131" y="csY131"/>
                </a:cxn>
                <a:cxn ang="0">
                  <a:pos x="csX132" y="csY132"/>
                </a:cxn>
                <a:cxn ang="0">
                  <a:pos x="csX133" y="csY133"/>
                </a:cxn>
                <a:cxn ang="0">
                  <a:pos x="csX134" y="csY134"/>
                </a:cxn>
                <a:cxn ang="0">
                  <a:pos x="csX135" y="csY135"/>
                </a:cxn>
                <a:cxn ang="0">
                  <a:pos x="csX136" y="csY136"/>
                </a:cxn>
                <a:cxn ang="0">
                  <a:pos x="csX137" y="csY137"/>
                </a:cxn>
                <a:cxn ang="0">
                  <a:pos x="csX138" y="csY138"/>
                </a:cxn>
                <a:cxn ang="0">
                  <a:pos x="csX139" y="csY139"/>
                </a:cxn>
                <a:cxn ang="0">
                  <a:pos x="csX140" y="csY140"/>
                </a:cxn>
                <a:cxn ang="0">
                  <a:pos x="csX141" y="csY141"/>
                </a:cxn>
                <a:cxn ang="0">
                  <a:pos x="csX142" y="csY142"/>
                </a:cxn>
                <a:cxn ang="0">
                  <a:pos x="csX143" y="csY143"/>
                </a:cxn>
              </a:cxnLst>
              <a:rect l="l" t="t" r="r" b="b"/>
              <a:pathLst>
                <a:path w="631082" h="598188">
                  <a:moveTo>
                    <a:pt x="176739" y="247002"/>
                  </a:moveTo>
                  <a:cubicBezTo>
                    <a:pt x="177936" y="257131"/>
                    <a:pt x="186285" y="264521"/>
                    <a:pt x="197095" y="264994"/>
                  </a:cubicBezTo>
                  <a:cubicBezTo>
                    <a:pt x="197469" y="265012"/>
                    <a:pt x="197841" y="265019"/>
                    <a:pt x="198213" y="265019"/>
                  </a:cubicBezTo>
                  <a:cubicBezTo>
                    <a:pt x="209094" y="265019"/>
                    <a:pt x="218008" y="258002"/>
                    <a:pt x="220092" y="247638"/>
                  </a:cubicBezTo>
                  <a:cubicBezTo>
                    <a:pt x="220127" y="247461"/>
                    <a:pt x="220158" y="247283"/>
                    <a:pt x="220182" y="247103"/>
                  </a:cubicBezTo>
                  <a:lnTo>
                    <a:pt x="233396" y="151782"/>
                  </a:lnTo>
                  <a:cubicBezTo>
                    <a:pt x="238819" y="113359"/>
                    <a:pt x="222594" y="98433"/>
                    <a:pt x="215368" y="93799"/>
                  </a:cubicBezTo>
                  <a:cubicBezTo>
                    <a:pt x="205261" y="87320"/>
                    <a:pt x="192609" y="87385"/>
                    <a:pt x="182347" y="93972"/>
                  </a:cubicBezTo>
                  <a:cubicBezTo>
                    <a:pt x="166852" y="103920"/>
                    <a:pt x="159821" y="125532"/>
                    <a:pt x="163536" y="151759"/>
                  </a:cubicBezTo>
                  <a:lnTo>
                    <a:pt x="176738" y="247004"/>
                  </a:lnTo>
                  <a:close/>
                  <a:moveTo>
                    <a:pt x="192011" y="109025"/>
                  </a:moveTo>
                  <a:cubicBezTo>
                    <a:pt x="194273" y="107572"/>
                    <a:pt x="196681" y="106845"/>
                    <a:pt x="199065" y="106845"/>
                  </a:cubicBezTo>
                  <a:cubicBezTo>
                    <a:pt x="201353" y="106845"/>
                    <a:pt x="203619" y="107515"/>
                    <a:pt x="205712" y="108856"/>
                  </a:cubicBezTo>
                  <a:cubicBezTo>
                    <a:pt x="212660" y="113312"/>
                    <a:pt x="218929" y="126271"/>
                    <a:pt x="215679" y="149302"/>
                  </a:cubicBezTo>
                  <a:lnTo>
                    <a:pt x="202510" y="244303"/>
                  </a:lnTo>
                  <a:cubicBezTo>
                    <a:pt x="201820" y="247073"/>
                    <a:pt x="198806" y="247173"/>
                    <a:pt x="197877" y="247122"/>
                  </a:cubicBezTo>
                  <a:cubicBezTo>
                    <a:pt x="196933" y="247081"/>
                    <a:pt x="194713" y="246780"/>
                    <a:pt x="194502" y="244883"/>
                  </a:cubicBezTo>
                  <a:cubicBezTo>
                    <a:pt x="194493" y="244804"/>
                    <a:pt x="194483" y="244725"/>
                    <a:pt x="194473" y="244645"/>
                  </a:cubicBezTo>
                  <a:lnTo>
                    <a:pt x="181252" y="149274"/>
                  </a:lnTo>
                  <a:cubicBezTo>
                    <a:pt x="178060" y="126739"/>
                    <a:pt x="184717" y="113706"/>
                    <a:pt x="192012" y="109023"/>
                  </a:cubicBezTo>
                  <a:close/>
                  <a:moveTo>
                    <a:pt x="198504" y="267274"/>
                  </a:moveTo>
                  <a:cubicBezTo>
                    <a:pt x="183510" y="267274"/>
                    <a:pt x="171310" y="279475"/>
                    <a:pt x="171310" y="294469"/>
                  </a:cubicBezTo>
                  <a:cubicBezTo>
                    <a:pt x="171310" y="309464"/>
                    <a:pt x="183510" y="321664"/>
                    <a:pt x="198504" y="321664"/>
                  </a:cubicBezTo>
                  <a:cubicBezTo>
                    <a:pt x="213499" y="321664"/>
                    <a:pt x="225698" y="309464"/>
                    <a:pt x="225698" y="294469"/>
                  </a:cubicBezTo>
                  <a:cubicBezTo>
                    <a:pt x="225698" y="279475"/>
                    <a:pt x="213499" y="267274"/>
                    <a:pt x="198504" y="267274"/>
                  </a:cubicBezTo>
                  <a:close/>
                  <a:moveTo>
                    <a:pt x="198504" y="303774"/>
                  </a:moveTo>
                  <a:cubicBezTo>
                    <a:pt x="193373" y="303774"/>
                    <a:pt x="189198" y="299600"/>
                    <a:pt x="189198" y="294469"/>
                  </a:cubicBezTo>
                  <a:cubicBezTo>
                    <a:pt x="189198" y="289339"/>
                    <a:pt x="193373" y="285163"/>
                    <a:pt x="198504" y="285163"/>
                  </a:cubicBezTo>
                  <a:cubicBezTo>
                    <a:pt x="203636" y="285163"/>
                    <a:pt x="207810" y="289338"/>
                    <a:pt x="207810" y="294469"/>
                  </a:cubicBezTo>
                  <a:cubicBezTo>
                    <a:pt x="207810" y="299601"/>
                    <a:pt x="203636" y="303774"/>
                    <a:pt x="198504" y="303774"/>
                  </a:cubicBezTo>
                  <a:close/>
                  <a:moveTo>
                    <a:pt x="538090" y="295701"/>
                  </a:moveTo>
                  <a:cubicBezTo>
                    <a:pt x="538090" y="300641"/>
                    <a:pt x="534086" y="304646"/>
                    <a:pt x="529147" y="304646"/>
                  </a:cubicBezTo>
                  <a:lnTo>
                    <a:pt x="429495" y="304646"/>
                  </a:lnTo>
                  <a:cubicBezTo>
                    <a:pt x="424555" y="304646"/>
                    <a:pt x="420552" y="300641"/>
                    <a:pt x="420552" y="295701"/>
                  </a:cubicBezTo>
                  <a:cubicBezTo>
                    <a:pt x="420552" y="290761"/>
                    <a:pt x="424556" y="286756"/>
                    <a:pt x="429495" y="286756"/>
                  </a:cubicBezTo>
                  <a:lnTo>
                    <a:pt x="529147" y="286756"/>
                  </a:lnTo>
                  <a:cubicBezTo>
                    <a:pt x="534087" y="286756"/>
                    <a:pt x="538090" y="290761"/>
                    <a:pt x="538090" y="295701"/>
                  </a:cubicBezTo>
                  <a:close/>
                  <a:moveTo>
                    <a:pt x="538090" y="343607"/>
                  </a:moveTo>
                  <a:cubicBezTo>
                    <a:pt x="538090" y="348547"/>
                    <a:pt x="534086" y="352552"/>
                    <a:pt x="529147" y="352552"/>
                  </a:cubicBezTo>
                  <a:lnTo>
                    <a:pt x="429495" y="352552"/>
                  </a:lnTo>
                  <a:cubicBezTo>
                    <a:pt x="424555" y="352552"/>
                    <a:pt x="420552" y="348547"/>
                    <a:pt x="420552" y="343607"/>
                  </a:cubicBezTo>
                  <a:cubicBezTo>
                    <a:pt x="420552" y="338668"/>
                    <a:pt x="424556" y="334663"/>
                    <a:pt x="429495" y="334663"/>
                  </a:cubicBezTo>
                  <a:lnTo>
                    <a:pt x="529147" y="334663"/>
                  </a:lnTo>
                  <a:cubicBezTo>
                    <a:pt x="534087" y="334663"/>
                    <a:pt x="538090" y="338668"/>
                    <a:pt x="538090" y="343607"/>
                  </a:cubicBezTo>
                  <a:close/>
                  <a:moveTo>
                    <a:pt x="538090" y="391551"/>
                  </a:moveTo>
                  <a:cubicBezTo>
                    <a:pt x="538090" y="396491"/>
                    <a:pt x="534086" y="400496"/>
                    <a:pt x="529147" y="400496"/>
                  </a:cubicBezTo>
                  <a:lnTo>
                    <a:pt x="160953" y="400496"/>
                  </a:lnTo>
                  <a:cubicBezTo>
                    <a:pt x="156013" y="400496"/>
                    <a:pt x="152009" y="396491"/>
                    <a:pt x="152009" y="391551"/>
                  </a:cubicBezTo>
                  <a:cubicBezTo>
                    <a:pt x="152009" y="386611"/>
                    <a:pt x="156014" y="382606"/>
                    <a:pt x="160953" y="382606"/>
                  </a:cubicBezTo>
                  <a:lnTo>
                    <a:pt x="529146" y="382606"/>
                  </a:lnTo>
                  <a:cubicBezTo>
                    <a:pt x="534086" y="382606"/>
                    <a:pt x="538089" y="386611"/>
                    <a:pt x="538089" y="391551"/>
                  </a:cubicBezTo>
                  <a:close/>
                  <a:moveTo>
                    <a:pt x="538090" y="439458"/>
                  </a:moveTo>
                  <a:cubicBezTo>
                    <a:pt x="538090" y="444398"/>
                    <a:pt x="534086" y="448402"/>
                    <a:pt x="529147" y="448402"/>
                  </a:cubicBezTo>
                  <a:lnTo>
                    <a:pt x="160953" y="448402"/>
                  </a:lnTo>
                  <a:cubicBezTo>
                    <a:pt x="156013" y="448402"/>
                    <a:pt x="152009" y="444398"/>
                    <a:pt x="152009" y="439458"/>
                  </a:cubicBezTo>
                  <a:cubicBezTo>
                    <a:pt x="152009" y="434518"/>
                    <a:pt x="156014" y="430513"/>
                    <a:pt x="160953" y="430513"/>
                  </a:cubicBezTo>
                  <a:lnTo>
                    <a:pt x="529146" y="430513"/>
                  </a:lnTo>
                  <a:cubicBezTo>
                    <a:pt x="534086" y="430513"/>
                    <a:pt x="538089" y="434518"/>
                    <a:pt x="538089" y="439458"/>
                  </a:cubicBezTo>
                  <a:close/>
                  <a:moveTo>
                    <a:pt x="631079" y="184061"/>
                  </a:moveTo>
                  <a:cubicBezTo>
                    <a:pt x="631079" y="132987"/>
                    <a:pt x="589526" y="91433"/>
                    <a:pt x="538452" y="91433"/>
                  </a:cubicBezTo>
                  <a:cubicBezTo>
                    <a:pt x="503989" y="91433"/>
                    <a:pt x="473884" y="110366"/>
                    <a:pt x="457931" y="138362"/>
                  </a:cubicBezTo>
                  <a:lnTo>
                    <a:pt x="297639" y="138362"/>
                  </a:lnTo>
                  <a:lnTo>
                    <a:pt x="227402" y="16723"/>
                  </a:lnTo>
                  <a:cubicBezTo>
                    <a:pt x="221314" y="6096"/>
                    <a:pt x="210782" y="0"/>
                    <a:pt x="198503" y="0"/>
                  </a:cubicBezTo>
                  <a:cubicBezTo>
                    <a:pt x="186224" y="0"/>
                    <a:pt x="175697" y="6093"/>
                    <a:pt x="169574" y="16711"/>
                  </a:cubicBezTo>
                  <a:lnTo>
                    <a:pt x="4605" y="302478"/>
                  </a:lnTo>
                  <a:cubicBezTo>
                    <a:pt x="-1532" y="313070"/>
                    <a:pt x="-1535" y="325242"/>
                    <a:pt x="4596" y="335874"/>
                  </a:cubicBezTo>
                  <a:cubicBezTo>
                    <a:pt x="10709" y="346473"/>
                    <a:pt x="21241" y="352553"/>
                    <a:pt x="33492" y="352553"/>
                  </a:cubicBezTo>
                  <a:lnTo>
                    <a:pt x="83391" y="352553"/>
                  </a:lnTo>
                  <a:lnTo>
                    <a:pt x="83391" y="450467"/>
                  </a:lnTo>
                  <a:cubicBezTo>
                    <a:pt x="83391" y="483072"/>
                    <a:pt x="109917" y="509600"/>
                    <a:pt x="142524" y="509600"/>
                  </a:cubicBezTo>
                  <a:lnTo>
                    <a:pt x="182067" y="509600"/>
                  </a:lnTo>
                  <a:lnTo>
                    <a:pt x="182067" y="582854"/>
                  </a:lnTo>
                  <a:cubicBezTo>
                    <a:pt x="182067" y="589093"/>
                    <a:pt x="185792" y="594657"/>
                    <a:pt x="191509" y="597008"/>
                  </a:cubicBezTo>
                  <a:cubicBezTo>
                    <a:pt x="193407" y="597802"/>
                    <a:pt x="195400" y="598189"/>
                    <a:pt x="197380" y="598189"/>
                  </a:cubicBezTo>
                  <a:cubicBezTo>
                    <a:pt x="201336" y="598189"/>
                    <a:pt x="205241" y="596643"/>
                    <a:pt x="208237" y="593704"/>
                  </a:cubicBezTo>
                  <a:lnTo>
                    <a:pt x="292305" y="509600"/>
                  </a:lnTo>
                  <a:lnTo>
                    <a:pt x="538781" y="509600"/>
                  </a:lnTo>
                  <a:cubicBezTo>
                    <a:pt x="571387" y="509600"/>
                    <a:pt x="597914" y="483072"/>
                    <a:pt x="597914" y="450467"/>
                  </a:cubicBezTo>
                  <a:lnTo>
                    <a:pt x="597914" y="255017"/>
                  </a:lnTo>
                  <a:cubicBezTo>
                    <a:pt x="618173" y="238012"/>
                    <a:pt x="631083" y="212520"/>
                    <a:pt x="631083" y="184063"/>
                  </a:cubicBezTo>
                  <a:close/>
                  <a:moveTo>
                    <a:pt x="538452" y="109322"/>
                  </a:moveTo>
                  <a:cubicBezTo>
                    <a:pt x="579663" y="109322"/>
                    <a:pt x="613191" y="142850"/>
                    <a:pt x="613191" y="184061"/>
                  </a:cubicBezTo>
                  <a:cubicBezTo>
                    <a:pt x="613191" y="225273"/>
                    <a:pt x="579663" y="258801"/>
                    <a:pt x="538452" y="258801"/>
                  </a:cubicBezTo>
                  <a:cubicBezTo>
                    <a:pt x="497240" y="258801"/>
                    <a:pt x="463713" y="225273"/>
                    <a:pt x="463713" y="184061"/>
                  </a:cubicBezTo>
                  <a:cubicBezTo>
                    <a:pt x="463713" y="142850"/>
                    <a:pt x="497240" y="109322"/>
                    <a:pt x="538452" y="109322"/>
                  </a:cubicBezTo>
                  <a:close/>
                  <a:moveTo>
                    <a:pt x="20092" y="326936"/>
                  </a:moveTo>
                  <a:cubicBezTo>
                    <a:pt x="17202" y="321924"/>
                    <a:pt x="17198" y="316424"/>
                    <a:pt x="20090" y="311434"/>
                  </a:cubicBezTo>
                  <a:lnTo>
                    <a:pt x="185069" y="25655"/>
                  </a:lnTo>
                  <a:cubicBezTo>
                    <a:pt x="187956" y="20649"/>
                    <a:pt x="192728" y="17892"/>
                    <a:pt x="198504" y="17892"/>
                  </a:cubicBezTo>
                  <a:cubicBezTo>
                    <a:pt x="204281" y="17892"/>
                    <a:pt x="209034" y="20638"/>
                    <a:pt x="211888" y="25628"/>
                  </a:cubicBezTo>
                  <a:cubicBezTo>
                    <a:pt x="211894" y="25638"/>
                    <a:pt x="211901" y="25650"/>
                    <a:pt x="211906" y="25659"/>
                  </a:cubicBezTo>
                  <a:lnTo>
                    <a:pt x="376926" y="311448"/>
                  </a:lnTo>
                  <a:cubicBezTo>
                    <a:pt x="379810" y="316425"/>
                    <a:pt x="379806" y="321925"/>
                    <a:pt x="376917" y="326937"/>
                  </a:cubicBezTo>
                  <a:cubicBezTo>
                    <a:pt x="374043" y="331920"/>
                    <a:pt x="369273" y="334664"/>
                    <a:pt x="363482" y="334664"/>
                  </a:cubicBezTo>
                  <a:lnTo>
                    <a:pt x="33491" y="334664"/>
                  </a:lnTo>
                  <a:cubicBezTo>
                    <a:pt x="27723" y="334664"/>
                    <a:pt x="22966" y="331921"/>
                    <a:pt x="20092" y="326937"/>
                  </a:cubicBezTo>
                  <a:close/>
                  <a:moveTo>
                    <a:pt x="580022" y="450465"/>
                  </a:moveTo>
                  <a:cubicBezTo>
                    <a:pt x="580022" y="473208"/>
                    <a:pt x="561520" y="491709"/>
                    <a:pt x="538778" y="491709"/>
                  </a:cubicBezTo>
                  <a:lnTo>
                    <a:pt x="288596" y="491709"/>
                  </a:lnTo>
                  <a:cubicBezTo>
                    <a:pt x="286224" y="491709"/>
                    <a:pt x="283947" y="492652"/>
                    <a:pt x="282270" y="494330"/>
                  </a:cubicBezTo>
                  <a:lnTo>
                    <a:pt x="199952" y="576684"/>
                  </a:lnTo>
                  <a:lnTo>
                    <a:pt x="199952" y="500654"/>
                  </a:lnTo>
                  <a:cubicBezTo>
                    <a:pt x="199952" y="495714"/>
                    <a:pt x="195947" y="491709"/>
                    <a:pt x="191008" y="491709"/>
                  </a:cubicBezTo>
                  <a:lnTo>
                    <a:pt x="142522" y="491709"/>
                  </a:lnTo>
                  <a:cubicBezTo>
                    <a:pt x="119779" y="491709"/>
                    <a:pt x="101277" y="473208"/>
                    <a:pt x="101277" y="450465"/>
                  </a:cubicBezTo>
                  <a:lnTo>
                    <a:pt x="101277" y="352552"/>
                  </a:lnTo>
                  <a:lnTo>
                    <a:pt x="363481" y="352552"/>
                  </a:lnTo>
                  <a:cubicBezTo>
                    <a:pt x="375754" y="352552"/>
                    <a:pt x="386300" y="346472"/>
                    <a:pt x="392411" y="335873"/>
                  </a:cubicBezTo>
                  <a:cubicBezTo>
                    <a:pt x="398543" y="325242"/>
                    <a:pt x="398539" y="313069"/>
                    <a:pt x="392410" y="302489"/>
                  </a:cubicBezTo>
                  <a:lnTo>
                    <a:pt x="307969" y="156252"/>
                  </a:lnTo>
                  <a:lnTo>
                    <a:pt x="450096" y="156252"/>
                  </a:lnTo>
                  <a:cubicBezTo>
                    <a:pt x="447326" y="165034"/>
                    <a:pt x="445825" y="174375"/>
                    <a:pt x="445825" y="184061"/>
                  </a:cubicBezTo>
                  <a:cubicBezTo>
                    <a:pt x="445825" y="186366"/>
                    <a:pt x="445938" y="188642"/>
                    <a:pt x="446104" y="190905"/>
                  </a:cubicBezTo>
                  <a:lnTo>
                    <a:pt x="378508" y="190905"/>
                  </a:lnTo>
                  <a:cubicBezTo>
                    <a:pt x="373569" y="190905"/>
                    <a:pt x="369565" y="194909"/>
                    <a:pt x="369565" y="199849"/>
                  </a:cubicBezTo>
                  <a:cubicBezTo>
                    <a:pt x="369565" y="204789"/>
                    <a:pt x="373570" y="208794"/>
                    <a:pt x="378508" y="208794"/>
                  </a:cubicBezTo>
                  <a:lnTo>
                    <a:pt x="449205" y="208794"/>
                  </a:lnTo>
                  <a:cubicBezTo>
                    <a:pt x="452244" y="219744"/>
                    <a:pt x="457235" y="229886"/>
                    <a:pt x="463798" y="238811"/>
                  </a:cubicBezTo>
                  <a:lnTo>
                    <a:pt x="399619" y="238811"/>
                  </a:lnTo>
                  <a:cubicBezTo>
                    <a:pt x="394680" y="238811"/>
                    <a:pt x="390676" y="242816"/>
                    <a:pt x="390676" y="247756"/>
                  </a:cubicBezTo>
                  <a:cubicBezTo>
                    <a:pt x="390676" y="252696"/>
                    <a:pt x="394681" y="256701"/>
                    <a:pt x="399619" y="256701"/>
                  </a:cubicBezTo>
                  <a:lnTo>
                    <a:pt x="481079" y="256701"/>
                  </a:lnTo>
                  <a:cubicBezTo>
                    <a:pt x="496870" y="269199"/>
                    <a:pt x="516797" y="276689"/>
                    <a:pt x="538452" y="276689"/>
                  </a:cubicBezTo>
                  <a:cubicBezTo>
                    <a:pt x="553395" y="276689"/>
                    <a:pt x="567511" y="273109"/>
                    <a:pt x="580022" y="266797"/>
                  </a:cubicBezTo>
                  <a:lnTo>
                    <a:pt x="580022" y="450464"/>
                  </a:lnTo>
                  <a:close/>
                  <a:moveTo>
                    <a:pt x="502000" y="207864"/>
                  </a:moveTo>
                  <a:lnTo>
                    <a:pt x="525803" y="184061"/>
                  </a:lnTo>
                  <a:lnTo>
                    <a:pt x="502000" y="160259"/>
                  </a:lnTo>
                  <a:cubicBezTo>
                    <a:pt x="498507" y="156766"/>
                    <a:pt x="498507" y="151102"/>
                    <a:pt x="502000" y="147610"/>
                  </a:cubicBezTo>
                  <a:cubicBezTo>
                    <a:pt x="505491" y="144117"/>
                    <a:pt x="511155" y="144117"/>
                    <a:pt x="514648" y="147610"/>
                  </a:cubicBezTo>
                  <a:lnTo>
                    <a:pt x="538452" y="171413"/>
                  </a:lnTo>
                  <a:lnTo>
                    <a:pt x="562254" y="147610"/>
                  </a:lnTo>
                  <a:cubicBezTo>
                    <a:pt x="565747" y="144118"/>
                    <a:pt x="571410" y="144118"/>
                    <a:pt x="574902" y="147610"/>
                  </a:cubicBezTo>
                  <a:cubicBezTo>
                    <a:pt x="578395" y="151102"/>
                    <a:pt x="578395" y="156766"/>
                    <a:pt x="574902" y="160259"/>
                  </a:cubicBezTo>
                  <a:lnTo>
                    <a:pt x="551100" y="184061"/>
                  </a:lnTo>
                  <a:lnTo>
                    <a:pt x="574902" y="207864"/>
                  </a:lnTo>
                  <a:cubicBezTo>
                    <a:pt x="578395" y="211357"/>
                    <a:pt x="578395" y="217021"/>
                    <a:pt x="574902" y="220513"/>
                  </a:cubicBezTo>
                  <a:cubicBezTo>
                    <a:pt x="573156" y="222259"/>
                    <a:pt x="570867" y="223133"/>
                    <a:pt x="568578" y="223133"/>
                  </a:cubicBezTo>
                  <a:cubicBezTo>
                    <a:pt x="566289" y="223133"/>
                    <a:pt x="564001" y="222259"/>
                    <a:pt x="562253" y="220513"/>
                  </a:cubicBezTo>
                  <a:lnTo>
                    <a:pt x="538451" y="196709"/>
                  </a:lnTo>
                  <a:lnTo>
                    <a:pt x="514647" y="220513"/>
                  </a:lnTo>
                  <a:cubicBezTo>
                    <a:pt x="511155" y="224003"/>
                    <a:pt x="505491" y="224006"/>
                    <a:pt x="501999" y="220513"/>
                  </a:cubicBezTo>
                  <a:cubicBezTo>
                    <a:pt x="498506" y="217021"/>
                    <a:pt x="498506" y="211357"/>
                    <a:pt x="501999" y="207864"/>
                  </a:cubicBezTo>
                  <a:close/>
                </a:path>
              </a:pathLst>
            </a:custGeom>
            <a:solidFill>
              <a:schemeClr val="bg1"/>
            </a:solidFill>
            <a:ln w="126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20" name="Group 19">
            <a:extLst>
              <a:ext uri="{FF2B5EF4-FFF2-40B4-BE49-F238E27FC236}">
                <a16:creationId xmlns:a16="http://schemas.microsoft.com/office/drawing/2014/main" id="{9DEF9010-773F-60F9-C011-3630481C4AE6}"/>
              </a:ext>
            </a:extLst>
          </p:cNvPr>
          <p:cNvGrpSpPr/>
          <p:nvPr/>
        </p:nvGrpSpPr>
        <p:grpSpPr>
          <a:xfrm>
            <a:off x="8772925" y="4881526"/>
            <a:ext cx="569466" cy="569466"/>
            <a:chOff x="8772925" y="4881526"/>
            <a:chExt cx="569466" cy="569466"/>
          </a:xfrm>
        </p:grpSpPr>
        <p:sp>
          <p:nvSpPr>
            <p:cNvPr id="146" name="Oval 145">
              <a:extLst>
                <a:ext uri="{FF2B5EF4-FFF2-40B4-BE49-F238E27FC236}">
                  <a16:creationId xmlns:a16="http://schemas.microsoft.com/office/drawing/2014/main" id="{FC7B2B79-61AA-ACD2-BAC9-3B1A4AEF1E92}"/>
                </a:ext>
              </a:extLst>
            </p:cNvPr>
            <p:cNvSpPr>
              <a:spLocks noChangeAspect="1"/>
            </p:cNvSpPr>
            <p:nvPr/>
          </p:nvSpPr>
          <p:spPr>
            <a:xfrm>
              <a:off x="8772925" y="4881526"/>
              <a:ext cx="569466" cy="56946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grpSp>
          <p:nvGrpSpPr>
            <p:cNvPr id="195" name="Pic">
              <a:extLst>
                <a:ext uri="{FF2B5EF4-FFF2-40B4-BE49-F238E27FC236}">
                  <a16:creationId xmlns:a16="http://schemas.microsoft.com/office/drawing/2014/main" id="{1386D086-3D67-00DC-417F-72D5EB6B326D}"/>
                </a:ext>
              </a:extLst>
            </p:cNvPr>
            <p:cNvGrpSpPr>
              <a:grpSpLocks noChangeAspect="1"/>
            </p:cNvGrpSpPr>
            <p:nvPr/>
          </p:nvGrpSpPr>
          <p:grpSpPr>
            <a:xfrm>
              <a:off x="8927328" y="5009091"/>
              <a:ext cx="260660" cy="314335"/>
              <a:chOff x="3055960" y="4484798"/>
              <a:chExt cx="507954" cy="612552"/>
            </a:xfrm>
            <a:solidFill>
              <a:schemeClr val="bg1"/>
            </a:solidFill>
          </p:grpSpPr>
          <p:sp>
            <p:nvSpPr>
              <p:cNvPr id="196" name="Freeform: Shape 195">
                <a:extLst>
                  <a:ext uri="{FF2B5EF4-FFF2-40B4-BE49-F238E27FC236}">
                    <a16:creationId xmlns:a16="http://schemas.microsoft.com/office/drawing/2014/main" id="{F93C11DF-246A-8C15-3E91-A2D6FE08B932}"/>
                  </a:ext>
                </a:extLst>
              </p:cNvPr>
              <p:cNvSpPr/>
              <p:nvPr/>
            </p:nvSpPr>
            <p:spPr>
              <a:xfrm>
                <a:off x="3119291" y="4547283"/>
                <a:ext cx="126578" cy="126705"/>
              </a:xfrm>
              <a:custGeom>
                <a:avLst/>
                <a:gdLst>
                  <a:gd name="csX0" fmla="*/ 0 w 126578"/>
                  <a:gd name="csY0" fmla="*/ 63355 h 126705"/>
                  <a:gd name="csX1" fmla="*/ 63224 w 126578"/>
                  <a:gd name="csY1" fmla="*/ 126705 h 126705"/>
                  <a:gd name="csX2" fmla="*/ 126579 w 126578"/>
                  <a:gd name="csY2" fmla="*/ 63355 h 126705"/>
                  <a:gd name="csX3" fmla="*/ 63224 w 126578"/>
                  <a:gd name="csY3" fmla="*/ 0 h 126705"/>
                  <a:gd name="csX4" fmla="*/ 0 w 126578"/>
                  <a:gd name="csY4" fmla="*/ 63355 h 126705"/>
                  <a:gd name="csX5" fmla="*/ 107436 w 126578"/>
                  <a:gd name="csY5" fmla="*/ 63355 h 126705"/>
                  <a:gd name="csX6" fmla="*/ 63225 w 126578"/>
                  <a:gd name="csY6" fmla="*/ 107563 h 126705"/>
                  <a:gd name="csX7" fmla="*/ 19144 w 126578"/>
                  <a:gd name="csY7" fmla="*/ 63355 h 126705"/>
                  <a:gd name="csX8" fmla="*/ 63225 w 126578"/>
                  <a:gd name="csY8" fmla="*/ 19144 h 126705"/>
                  <a:gd name="csX9" fmla="*/ 107436 w 126578"/>
                  <a:gd name="csY9" fmla="*/ 63355 h 126705"/>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Lst>
                <a:rect l="l" t="t" r="r" b="b"/>
                <a:pathLst>
                  <a:path w="126578" h="126705">
                    <a:moveTo>
                      <a:pt x="0" y="63355"/>
                    </a:moveTo>
                    <a:cubicBezTo>
                      <a:pt x="0" y="98285"/>
                      <a:pt x="28364" y="126705"/>
                      <a:pt x="63224" y="126705"/>
                    </a:cubicBezTo>
                    <a:cubicBezTo>
                      <a:pt x="98159" y="126705"/>
                      <a:pt x="126579" y="98285"/>
                      <a:pt x="126579" y="63355"/>
                    </a:cubicBezTo>
                    <a:cubicBezTo>
                      <a:pt x="126579" y="28420"/>
                      <a:pt x="98159" y="0"/>
                      <a:pt x="63224" y="0"/>
                    </a:cubicBezTo>
                    <a:cubicBezTo>
                      <a:pt x="28364" y="0"/>
                      <a:pt x="0" y="28420"/>
                      <a:pt x="0" y="63355"/>
                    </a:cubicBezTo>
                    <a:close/>
                    <a:moveTo>
                      <a:pt x="107436" y="63355"/>
                    </a:moveTo>
                    <a:cubicBezTo>
                      <a:pt x="107436" y="87732"/>
                      <a:pt x="87602" y="107563"/>
                      <a:pt x="63225" y="107563"/>
                    </a:cubicBezTo>
                    <a:cubicBezTo>
                      <a:pt x="38918" y="107563"/>
                      <a:pt x="19144" y="87733"/>
                      <a:pt x="19144" y="63355"/>
                    </a:cubicBezTo>
                    <a:cubicBezTo>
                      <a:pt x="19144" y="38977"/>
                      <a:pt x="38918" y="19144"/>
                      <a:pt x="63225" y="19144"/>
                    </a:cubicBezTo>
                    <a:cubicBezTo>
                      <a:pt x="87601" y="19143"/>
                      <a:pt x="107436" y="38977"/>
                      <a:pt x="107436" y="63355"/>
                    </a:cubicBezTo>
                    <a:close/>
                  </a:path>
                </a:pathLst>
              </a:custGeom>
              <a:grpFill/>
              <a:ln w="1191" cap="flat">
                <a:noFill/>
                <a:prstDash val="solid"/>
                <a:miter/>
              </a:ln>
            </p:spPr>
            <p:txBody>
              <a:bodyPr/>
              <a:lstStyle/>
              <a:p>
                <a:endParaRPr lang="en-IN"/>
              </a:p>
            </p:txBody>
          </p:sp>
          <p:sp>
            <p:nvSpPr>
              <p:cNvPr id="197" name="Freeform: Shape 196">
                <a:extLst>
                  <a:ext uri="{FF2B5EF4-FFF2-40B4-BE49-F238E27FC236}">
                    <a16:creationId xmlns:a16="http://schemas.microsoft.com/office/drawing/2014/main" id="{E39E4A7C-8966-1674-FD77-C97446ABBD34}"/>
                  </a:ext>
                </a:extLst>
              </p:cNvPr>
              <p:cNvSpPr/>
              <p:nvPr/>
            </p:nvSpPr>
            <p:spPr>
              <a:xfrm>
                <a:off x="3455792" y="4733958"/>
                <a:ext cx="33302" cy="25595"/>
              </a:xfrm>
              <a:custGeom>
                <a:avLst/>
                <a:gdLst>
                  <a:gd name="csX0" fmla="*/ 27695 w 33302"/>
                  <a:gd name="csY0" fmla="*/ 7306 h 25595"/>
                  <a:gd name="csX1" fmla="*/ 13544 w 33302"/>
                  <a:gd name="csY1" fmla="*/ 857 h 25595"/>
                  <a:gd name="csX2" fmla="*/ 864 w 33302"/>
                  <a:gd name="csY2" fmla="*/ 5601 h 25595"/>
                  <a:gd name="csX3" fmla="*/ 5608 w 33302"/>
                  <a:gd name="csY3" fmla="*/ 18280 h 25595"/>
                  <a:gd name="csX4" fmla="*/ 19759 w 33302"/>
                  <a:gd name="csY4" fmla="*/ 24730 h 25595"/>
                  <a:gd name="csX5" fmla="*/ 32439 w 33302"/>
                  <a:gd name="csY5" fmla="*/ 19986 h 25595"/>
                  <a:gd name="csX6" fmla="*/ 27695 w 33302"/>
                  <a:gd name="csY6" fmla="*/ 7306 h 25595"/>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3302" h="25595">
                    <a:moveTo>
                      <a:pt x="27695" y="7306"/>
                    </a:moveTo>
                    <a:lnTo>
                      <a:pt x="13544" y="857"/>
                    </a:lnTo>
                    <a:cubicBezTo>
                      <a:pt x="8744" y="-1320"/>
                      <a:pt x="3066" y="792"/>
                      <a:pt x="864" y="5601"/>
                    </a:cubicBezTo>
                    <a:cubicBezTo>
                      <a:pt x="-1328" y="10409"/>
                      <a:pt x="794" y="16089"/>
                      <a:pt x="5608" y="18280"/>
                    </a:cubicBezTo>
                    <a:lnTo>
                      <a:pt x="19759" y="24730"/>
                    </a:lnTo>
                    <a:cubicBezTo>
                      <a:pt x="24641" y="26949"/>
                      <a:pt x="30272" y="24733"/>
                      <a:pt x="32439" y="19986"/>
                    </a:cubicBezTo>
                    <a:cubicBezTo>
                      <a:pt x="34631" y="15177"/>
                      <a:pt x="32508" y="9498"/>
                      <a:pt x="27695" y="7306"/>
                    </a:cubicBezTo>
                    <a:close/>
                  </a:path>
                </a:pathLst>
              </a:custGeom>
              <a:grpFill/>
              <a:ln w="1191" cap="flat">
                <a:noFill/>
                <a:prstDash val="solid"/>
                <a:miter/>
              </a:ln>
            </p:spPr>
            <p:txBody>
              <a:bodyPr/>
              <a:lstStyle/>
              <a:p>
                <a:endParaRPr lang="en-IN"/>
              </a:p>
            </p:txBody>
          </p:sp>
          <p:sp>
            <p:nvSpPr>
              <p:cNvPr id="198" name="Freeform: Shape 197">
                <a:extLst>
                  <a:ext uri="{FF2B5EF4-FFF2-40B4-BE49-F238E27FC236}">
                    <a16:creationId xmlns:a16="http://schemas.microsoft.com/office/drawing/2014/main" id="{9AE1B216-4420-66FB-C8F6-40AC30676E18}"/>
                  </a:ext>
                </a:extLst>
              </p:cNvPr>
              <p:cNvSpPr/>
              <p:nvPr/>
            </p:nvSpPr>
            <p:spPr>
              <a:xfrm>
                <a:off x="3428296" y="4759585"/>
                <a:ext cx="24594" cy="33718"/>
              </a:xfrm>
              <a:custGeom>
                <a:avLst/>
                <a:gdLst>
                  <a:gd name="csX0" fmla="*/ 6217 w 24594"/>
                  <a:gd name="csY0" fmla="*/ 611 h 33718"/>
                  <a:gd name="csX1" fmla="*/ 609 w 24594"/>
                  <a:gd name="csY1" fmla="*/ 12930 h 33718"/>
                  <a:gd name="csX2" fmla="*/ 6058 w 24594"/>
                  <a:gd name="csY2" fmla="*/ 27498 h 33718"/>
                  <a:gd name="csX3" fmla="*/ 18377 w 24594"/>
                  <a:gd name="csY3" fmla="*/ 33106 h 33718"/>
                  <a:gd name="csX4" fmla="*/ 23986 w 24594"/>
                  <a:gd name="csY4" fmla="*/ 20787 h 33718"/>
                  <a:gd name="csX5" fmla="*/ 18536 w 24594"/>
                  <a:gd name="csY5" fmla="*/ 6220 h 33718"/>
                  <a:gd name="csX6" fmla="*/ 6217 w 24594"/>
                  <a:gd name="csY6" fmla="*/ 611 h 33718"/>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24594" h="33718">
                    <a:moveTo>
                      <a:pt x="6217" y="611"/>
                    </a:moveTo>
                    <a:cubicBezTo>
                      <a:pt x="1268" y="2461"/>
                      <a:pt x="-1242" y="7976"/>
                      <a:pt x="609" y="12930"/>
                    </a:cubicBezTo>
                    <a:lnTo>
                      <a:pt x="6058" y="27498"/>
                    </a:lnTo>
                    <a:cubicBezTo>
                      <a:pt x="7915" y="32459"/>
                      <a:pt x="13437" y="34961"/>
                      <a:pt x="18377" y="33106"/>
                    </a:cubicBezTo>
                    <a:cubicBezTo>
                      <a:pt x="23327" y="31256"/>
                      <a:pt x="25836" y="25741"/>
                      <a:pt x="23986" y="20787"/>
                    </a:cubicBezTo>
                    <a:lnTo>
                      <a:pt x="18536" y="6220"/>
                    </a:lnTo>
                    <a:cubicBezTo>
                      <a:pt x="16686" y="1266"/>
                      <a:pt x="11171" y="-1244"/>
                      <a:pt x="6217" y="611"/>
                    </a:cubicBezTo>
                    <a:close/>
                  </a:path>
                </a:pathLst>
              </a:custGeom>
              <a:grpFill/>
              <a:ln w="1191" cap="flat">
                <a:noFill/>
                <a:prstDash val="solid"/>
                <a:miter/>
              </a:ln>
            </p:spPr>
            <p:txBody>
              <a:bodyPr/>
              <a:lstStyle/>
              <a:p>
                <a:endParaRPr lang="en-IN"/>
              </a:p>
            </p:txBody>
          </p:sp>
          <p:sp>
            <p:nvSpPr>
              <p:cNvPr id="199" name="Freeform: Shape 198">
                <a:extLst>
                  <a:ext uri="{FF2B5EF4-FFF2-40B4-BE49-F238E27FC236}">
                    <a16:creationId xmlns:a16="http://schemas.microsoft.com/office/drawing/2014/main" id="{EA29FF65-E573-B6BC-25F9-137BD8D4F455}"/>
                  </a:ext>
                </a:extLst>
              </p:cNvPr>
              <p:cNvSpPr/>
              <p:nvPr/>
            </p:nvSpPr>
            <p:spPr>
              <a:xfrm>
                <a:off x="3457109" y="4690933"/>
                <a:ext cx="33712" cy="24598"/>
              </a:xfrm>
              <a:custGeom>
                <a:avLst/>
                <a:gdLst>
                  <a:gd name="csX0" fmla="*/ 33104 w 33712"/>
                  <a:gd name="csY0" fmla="*/ 6218 h 24598"/>
                  <a:gd name="csX1" fmla="*/ 20785 w 33712"/>
                  <a:gd name="csY1" fmla="*/ 609 h 24598"/>
                  <a:gd name="csX2" fmla="*/ 6217 w 33712"/>
                  <a:gd name="csY2" fmla="*/ 6059 h 24598"/>
                  <a:gd name="csX3" fmla="*/ 609 w 33712"/>
                  <a:gd name="csY3" fmla="*/ 18378 h 24598"/>
                  <a:gd name="csX4" fmla="*/ 12928 w 33712"/>
                  <a:gd name="csY4" fmla="*/ 23986 h 24598"/>
                  <a:gd name="csX5" fmla="*/ 27495 w 33712"/>
                  <a:gd name="csY5" fmla="*/ 18537 h 24598"/>
                  <a:gd name="csX6" fmla="*/ 33104 w 33712"/>
                  <a:gd name="csY6" fmla="*/ 6218 h 24598"/>
                </a:gdLst>
                <a:ahLst/>
                <a:cxnLst>
                  <a:cxn ang="0">
                    <a:pos x="csX0" y="csY0"/>
                  </a:cxn>
                  <a:cxn ang="0">
                    <a:pos x="csX1" y="csY1"/>
                  </a:cxn>
                  <a:cxn ang="0">
                    <a:pos x="csX2" y="csY2"/>
                  </a:cxn>
                  <a:cxn ang="0">
                    <a:pos x="csX3" y="csY3"/>
                  </a:cxn>
                  <a:cxn ang="0">
                    <a:pos x="csX4" y="csY4"/>
                  </a:cxn>
                  <a:cxn ang="0">
                    <a:pos x="csX5" y="csY5"/>
                  </a:cxn>
                  <a:cxn ang="0">
                    <a:pos x="csX6" y="csY6"/>
                  </a:cxn>
                </a:cxnLst>
                <a:rect l="l" t="t" r="r" b="b"/>
                <a:pathLst>
                  <a:path w="33712" h="24598">
                    <a:moveTo>
                      <a:pt x="33104" y="6218"/>
                    </a:moveTo>
                    <a:cubicBezTo>
                      <a:pt x="31249" y="1264"/>
                      <a:pt x="25752" y="-1241"/>
                      <a:pt x="20785" y="609"/>
                    </a:cubicBezTo>
                    <a:lnTo>
                      <a:pt x="6217" y="6059"/>
                    </a:lnTo>
                    <a:cubicBezTo>
                      <a:pt x="1268" y="7909"/>
                      <a:pt x="-1242" y="13424"/>
                      <a:pt x="609" y="18378"/>
                    </a:cubicBezTo>
                    <a:cubicBezTo>
                      <a:pt x="2465" y="23339"/>
                      <a:pt x="7987" y="25842"/>
                      <a:pt x="12928" y="23986"/>
                    </a:cubicBezTo>
                    <a:lnTo>
                      <a:pt x="27495" y="18537"/>
                    </a:lnTo>
                    <a:cubicBezTo>
                      <a:pt x="32446" y="16687"/>
                      <a:pt x="34955" y="11172"/>
                      <a:pt x="33104" y="6218"/>
                    </a:cubicBezTo>
                    <a:close/>
                  </a:path>
                </a:pathLst>
              </a:custGeom>
              <a:grpFill/>
              <a:ln w="1191" cap="flat">
                <a:noFill/>
                <a:prstDash val="solid"/>
                <a:miter/>
              </a:ln>
            </p:spPr>
            <p:txBody>
              <a:bodyPr/>
              <a:lstStyle/>
              <a:p>
                <a:endParaRPr lang="en-IN"/>
              </a:p>
            </p:txBody>
          </p:sp>
          <p:sp>
            <p:nvSpPr>
              <p:cNvPr id="200" name="Freeform: Shape 199">
                <a:extLst>
                  <a:ext uri="{FF2B5EF4-FFF2-40B4-BE49-F238E27FC236}">
                    <a16:creationId xmlns:a16="http://schemas.microsoft.com/office/drawing/2014/main" id="{87E16896-DF62-16C4-7CA0-DC8DD6958877}"/>
                  </a:ext>
                </a:extLst>
              </p:cNvPr>
              <p:cNvSpPr/>
              <p:nvPr/>
            </p:nvSpPr>
            <p:spPr>
              <a:xfrm>
                <a:off x="3055960" y="4484798"/>
                <a:ext cx="507954" cy="612552"/>
              </a:xfrm>
              <a:custGeom>
                <a:avLst/>
                <a:gdLst>
                  <a:gd name="csX0" fmla="*/ 9571 w 507954"/>
                  <a:gd name="csY0" fmla="*/ 612553 h 612552"/>
                  <a:gd name="csX1" fmla="*/ 498383 w 507954"/>
                  <a:gd name="csY1" fmla="*/ 612553 h 612552"/>
                  <a:gd name="csX2" fmla="*/ 507954 w 507954"/>
                  <a:gd name="csY2" fmla="*/ 602981 h 612552"/>
                  <a:gd name="csX3" fmla="*/ 498383 w 507954"/>
                  <a:gd name="csY3" fmla="*/ 593410 h 612552"/>
                  <a:gd name="csX4" fmla="*/ 313997 w 507954"/>
                  <a:gd name="csY4" fmla="*/ 593410 h 612552"/>
                  <a:gd name="csX5" fmla="*/ 313997 w 507954"/>
                  <a:gd name="csY5" fmla="*/ 267056 h 612552"/>
                  <a:gd name="csX6" fmla="*/ 320452 w 507954"/>
                  <a:gd name="csY6" fmla="*/ 267056 h 612552"/>
                  <a:gd name="csX7" fmla="*/ 354278 w 507954"/>
                  <a:gd name="csY7" fmla="*/ 233230 h 612552"/>
                  <a:gd name="csX8" fmla="*/ 320452 w 507954"/>
                  <a:gd name="csY8" fmla="*/ 199403 h 612552"/>
                  <a:gd name="csX9" fmla="*/ 313997 w 507954"/>
                  <a:gd name="csY9" fmla="*/ 199403 h 612552"/>
                  <a:gd name="csX10" fmla="*/ 313997 w 507954"/>
                  <a:gd name="csY10" fmla="*/ 126057 h 612552"/>
                  <a:gd name="csX11" fmla="*/ 384330 w 507954"/>
                  <a:gd name="csY11" fmla="*/ 126057 h 612552"/>
                  <a:gd name="csX12" fmla="*/ 384330 w 507954"/>
                  <a:gd name="csY12" fmla="*/ 153094 h 612552"/>
                  <a:gd name="csX13" fmla="*/ 393901 w 507954"/>
                  <a:gd name="csY13" fmla="*/ 162665 h 612552"/>
                  <a:gd name="csX14" fmla="*/ 483409 w 507954"/>
                  <a:gd name="csY14" fmla="*/ 162665 h 612552"/>
                  <a:gd name="csX15" fmla="*/ 491713 w 507954"/>
                  <a:gd name="csY15" fmla="*/ 157852 h 612552"/>
                  <a:gd name="csX16" fmla="*/ 491662 w 507954"/>
                  <a:gd name="csY16" fmla="*/ 148248 h 612552"/>
                  <a:gd name="csX17" fmla="*/ 468434 w 507954"/>
                  <a:gd name="csY17" fmla="*/ 108667 h 612552"/>
                  <a:gd name="csX18" fmla="*/ 491662 w 507954"/>
                  <a:gd name="csY18" fmla="*/ 69091 h 612552"/>
                  <a:gd name="csX19" fmla="*/ 491713 w 507954"/>
                  <a:gd name="csY19" fmla="*/ 59487 h 612552"/>
                  <a:gd name="csX20" fmla="*/ 483409 w 507954"/>
                  <a:gd name="csY20" fmla="*/ 54674 h 612552"/>
                  <a:gd name="csX21" fmla="*/ 403473 w 507954"/>
                  <a:gd name="csY21" fmla="*/ 54674 h 612552"/>
                  <a:gd name="csX22" fmla="*/ 403473 w 507954"/>
                  <a:gd name="csY22" fmla="*/ 27635 h 612552"/>
                  <a:gd name="csX23" fmla="*/ 393901 w 507954"/>
                  <a:gd name="csY23" fmla="*/ 18063 h 612552"/>
                  <a:gd name="csX24" fmla="*/ 313997 w 507954"/>
                  <a:gd name="csY24" fmla="*/ 18063 h 612552"/>
                  <a:gd name="csX25" fmla="*/ 313997 w 507954"/>
                  <a:gd name="csY25" fmla="*/ 9571 h 612552"/>
                  <a:gd name="csX26" fmla="*/ 304426 w 507954"/>
                  <a:gd name="csY26" fmla="*/ 0 h 612552"/>
                  <a:gd name="csX27" fmla="*/ 294855 w 507954"/>
                  <a:gd name="csY27" fmla="*/ 9571 h 612552"/>
                  <a:gd name="csX28" fmla="*/ 294855 w 507954"/>
                  <a:gd name="csY28" fmla="*/ 199402 h 612552"/>
                  <a:gd name="csX29" fmla="*/ 88489 w 507954"/>
                  <a:gd name="csY29" fmla="*/ 199402 h 612552"/>
                  <a:gd name="csX30" fmla="*/ 14974 w 507954"/>
                  <a:gd name="csY30" fmla="*/ 272916 h 612552"/>
                  <a:gd name="csX31" fmla="*/ 14974 w 507954"/>
                  <a:gd name="csY31" fmla="*/ 385479 h 612552"/>
                  <a:gd name="csX32" fmla="*/ 63368 w 507954"/>
                  <a:gd name="csY32" fmla="*/ 442660 h 612552"/>
                  <a:gd name="csX33" fmla="*/ 63368 w 507954"/>
                  <a:gd name="csY33" fmla="*/ 593410 h 612552"/>
                  <a:gd name="csX34" fmla="*/ 9571 w 507954"/>
                  <a:gd name="csY34" fmla="*/ 593410 h 612552"/>
                  <a:gd name="csX35" fmla="*/ 0 w 507954"/>
                  <a:gd name="csY35" fmla="*/ 602981 h 612552"/>
                  <a:gd name="csX36" fmla="*/ 9571 w 507954"/>
                  <a:gd name="csY36" fmla="*/ 612553 h 612552"/>
                  <a:gd name="csX37" fmla="*/ 466692 w 507954"/>
                  <a:gd name="csY37" fmla="*/ 73814 h 612552"/>
                  <a:gd name="csX38" fmla="*/ 449082 w 507954"/>
                  <a:gd name="csY38" fmla="*/ 103819 h 612552"/>
                  <a:gd name="csX39" fmla="*/ 449082 w 507954"/>
                  <a:gd name="csY39" fmla="*/ 113512 h 612552"/>
                  <a:gd name="csX40" fmla="*/ 466692 w 507954"/>
                  <a:gd name="csY40" fmla="*/ 143520 h 612552"/>
                  <a:gd name="csX41" fmla="*/ 403473 w 507954"/>
                  <a:gd name="csY41" fmla="*/ 143520 h 612552"/>
                  <a:gd name="csX42" fmla="*/ 403473 w 507954"/>
                  <a:gd name="csY42" fmla="*/ 73814 h 612552"/>
                  <a:gd name="csX43" fmla="*/ 384330 w 507954"/>
                  <a:gd name="csY43" fmla="*/ 37206 h 612552"/>
                  <a:gd name="csX44" fmla="*/ 384330 w 507954"/>
                  <a:gd name="csY44" fmla="*/ 106912 h 612552"/>
                  <a:gd name="csX45" fmla="*/ 313997 w 507954"/>
                  <a:gd name="csY45" fmla="*/ 106912 h 612552"/>
                  <a:gd name="csX46" fmla="*/ 313997 w 507954"/>
                  <a:gd name="csY46" fmla="*/ 37206 h 612552"/>
                  <a:gd name="csX47" fmla="*/ 294855 w 507954"/>
                  <a:gd name="csY47" fmla="*/ 593410 h 612552"/>
                  <a:gd name="csX48" fmla="*/ 208927 w 507954"/>
                  <a:gd name="csY48" fmla="*/ 593410 h 612552"/>
                  <a:gd name="csX49" fmla="*/ 208927 w 507954"/>
                  <a:gd name="csY49" fmla="*/ 267056 h 612552"/>
                  <a:gd name="csX50" fmla="*/ 294855 w 507954"/>
                  <a:gd name="csY50" fmla="*/ 267056 h 612552"/>
                  <a:gd name="csX51" fmla="*/ 34117 w 507954"/>
                  <a:gd name="csY51" fmla="*/ 385479 h 612552"/>
                  <a:gd name="csX52" fmla="*/ 34117 w 507954"/>
                  <a:gd name="csY52" fmla="*/ 272916 h 612552"/>
                  <a:gd name="csX53" fmla="*/ 88489 w 507954"/>
                  <a:gd name="csY53" fmla="*/ 218544 h 612552"/>
                  <a:gd name="csX54" fmla="*/ 320452 w 507954"/>
                  <a:gd name="csY54" fmla="*/ 218544 h 612552"/>
                  <a:gd name="csX55" fmla="*/ 335136 w 507954"/>
                  <a:gd name="csY55" fmla="*/ 233229 h 612552"/>
                  <a:gd name="csX56" fmla="*/ 320452 w 507954"/>
                  <a:gd name="csY56" fmla="*/ 247913 h 612552"/>
                  <a:gd name="csX57" fmla="*/ 199355 w 507954"/>
                  <a:gd name="csY57" fmla="*/ 247913 h 612552"/>
                  <a:gd name="csX58" fmla="*/ 189784 w 507954"/>
                  <a:gd name="csY58" fmla="*/ 257484 h 612552"/>
                  <a:gd name="csX59" fmla="*/ 189784 w 507954"/>
                  <a:gd name="csY59" fmla="*/ 592858 h 612552"/>
                  <a:gd name="csX60" fmla="*/ 145764 w 507954"/>
                  <a:gd name="csY60" fmla="*/ 592858 h 612552"/>
                  <a:gd name="csX61" fmla="*/ 145764 w 507954"/>
                  <a:gd name="csY61" fmla="*/ 442754 h 612552"/>
                  <a:gd name="csX62" fmla="*/ 136192 w 507954"/>
                  <a:gd name="csY62" fmla="*/ 433183 h 612552"/>
                  <a:gd name="csX63" fmla="*/ 126621 w 507954"/>
                  <a:gd name="csY63" fmla="*/ 442754 h 612552"/>
                  <a:gd name="csX64" fmla="*/ 126621 w 507954"/>
                  <a:gd name="csY64" fmla="*/ 592859 h 612552"/>
                  <a:gd name="csX65" fmla="*/ 82512 w 507954"/>
                  <a:gd name="csY65" fmla="*/ 592859 h 612552"/>
                  <a:gd name="csX66" fmla="*/ 82512 w 507954"/>
                  <a:gd name="csY66" fmla="*/ 295519 h 612552"/>
                  <a:gd name="csX67" fmla="*/ 72941 w 507954"/>
                  <a:gd name="csY67" fmla="*/ 285948 h 612552"/>
                  <a:gd name="csX68" fmla="*/ 63369 w 507954"/>
                  <a:gd name="csY68" fmla="*/ 295519 h 612552"/>
                  <a:gd name="csX69" fmla="*/ 63369 w 507954"/>
                  <a:gd name="csY69" fmla="*/ 423117 h 612552"/>
                  <a:gd name="csX70" fmla="*/ 34117 w 507954"/>
                  <a:gd name="csY70" fmla="*/ 385479 h 61255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Lst>
                <a:rect l="l" t="t" r="r" b="b"/>
                <a:pathLst>
                  <a:path w="507954" h="612552">
                    <a:moveTo>
                      <a:pt x="9571" y="612553"/>
                    </a:moveTo>
                    <a:lnTo>
                      <a:pt x="498383" y="612553"/>
                    </a:lnTo>
                    <a:cubicBezTo>
                      <a:pt x="503669" y="612553"/>
                      <a:pt x="507954" y="608267"/>
                      <a:pt x="507954" y="602981"/>
                    </a:cubicBezTo>
                    <a:cubicBezTo>
                      <a:pt x="507954" y="597695"/>
                      <a:pt x="503669" y="593410"/>
                      <a:pt x="498383" y="593410"/>
                    </a:cubicBezTo>
                    <a:lnTo>
                      <a:pt x="313997" y="593410"/>
                    </a:lnTo>
                    <a:lnTo>
                      <a:pt x="313997" y="267056"/>
                    </a:lnTo>
                    <a:lnTo>
                      <a:pt x="320452" y="267056"/>
                    </a:lnTo>
                    <a:cubicBezTo>
                      <a:pt x="339103" y="267056"/>
                      <a:pt x="354278" y="251881"/>
                      <a:pt x="354278" y="233230"/>
                    </a:cubicBezTo>
                    <a:cubicBezTo>
                      <a:pt x="354278" y="214578"/>
                      <a:pt x="339103" y="199403"/>
                      <a:pt x="320452" y="199403"/>
                    </a:cubicBezTo>
                    <a:lnTo>
                      <a:pt x="313997" y="199403"/>
                    </a:lnTo>
                    <a:lnTo>
                      <a:pt x="313997" y="126057"/>
                    </a:lnTo>
                    <a:lnTo>
                      <a:pt x="384330" y="126057"/>
                    </a:lnTo>
                    <a:lnTo>
                      <a:pt x="384330" y="153094"/>
                    </a:lnTo>
                    <a:cubicBezTo>
                      <a:pt x="384330" y="158380"/>
                      <a:pt x="388615" y="162665"/>
                      <a:pt x="393901" y="162665"/>
                    </a:cubicBezTo>
                    <a:lnTo>
                      <a:pt x="483409" y="162665"/>
                    </a:lnTo>
                    <a:cubicBezTo>
                      <a:pt x="486839" y="162665"/>
                      <a:pt x="490007" y="160828"/>
                      <a:pt x="491713" y="157852"/>
                    </a:cubicBezTo>
                    <a:cubicBezTo>
                      <a:pt x="493419" y="154869"/>
                      <a:pt x="493400" y="151211"/>
                      <a:pt x="491662" y="148248"/>
                    </a:cubicBezTo>
                    <a:lnTo>
                      <a:pt x="468434" y="108667"/>
                    </a:lnTo>
                    <a:lnTo>
                      <a:pt x="491662" y="69091"/>
                    </a:lnTo>
                    <a:cubicBezTo>
                      <a:pt x="493400" y="66128"/>
                      <a:pt x="493419" y="62468"/>
                      <a:pt x="491713" y="59487"/>
                    </a:cubicBezTo>
                    <a:cubicBezTo>
                      <a:pt x="490007" y="56510"/>
                      <a:pt x="486839" y="54674"/>
                      <a:pt x="483409" y="54674"/>
                    </a:cubicBezTo>
                    <a:lnTo>
                      <a:pt x="403473" y="54674"/>
                    </a:lnTo>
                    <a:lnTo>
                      <a:pt x="403473" y="27635"/>
                    </a:lnTo>
                    <a:cubicBezTo>
                      <a:pt x="403473" y="22349"/>
                      <a:pt x="399187" y="18063"/>
                      <a:pt x="393901" y="18063"/>
                    </a:cubicBezTo>
                    <a:lnTo>
                      <a:pt x="313997" y="18063"/>
                    </a:lnTo>
                    <a:lnTo>
                      <a:pt x="313997" y="9571"/>
                    </a:lnTo>
                    <a:cubicBezTo>
                      <a:pt x="313997" y="4285"/>
                      <a:pt x="309712" y="0"/>
                      <a:pt x="304426" y="0"/>
                    </a:cubicBezTo>
                    <a:cubicBezTo>
                      <a:pt x="299140" y="0"/>
                      <a:pt x="294855" y="4285"/>
                      <a:pt x="294855" y="9571"/>
                    </a:cubicBezTo>
                    <a:cubicBezTo>
                      <a:pt x="294837" y="70108"/>
                      <a:pt x="294852" y="138853"/>
                      <a:pt x="294855" y="199402"/>
                    </a:cubicBezTo>
                    <a:lnTo>
                      <a:pt x="88489" y="199402"/>
                    </a:lnTo>
                    <a:cubicBezTo>
                      <a:pt x="47950" y="199402"/>
                      <a:pt x="14974" y="232378"/>
                      <a:pt x="14974" y="272916"/>
                    </a:cubicBezTo>
                    <a:lnTo>
                      <a:pt x="14974" y="385479"/>
                    </a:lnTo>
                    <a:cubicBezTo>
                      <a:pt x="14974" y="414184"/>
                      <a:pt x="35944" y="438085"/>
                      <a:pt x="63368" y="442660"/>
                    </a:cubicBezTo>
                    <a:lnTo>
                      <a:pt x="63368" y="593410"/>
                    </a:lnTo>
                    <a:lnTo>
                      <a:pt x="9571" y="593410"/>
                    </a:lnTo>
                    <a:cubicBezTo>
                      <a:pt x="4285" y="593410"/>
                      <a:pt x="0" y="597695"/>
                      <a:pt x="0" y="602981"/>
                    </a:cubicBezTo>
                    <a:cubicBezTo>
                      <a:pt x="0" y="608267"/>
                      <a:pt x="4285" y="612553"/>
                      <a:pt x="9571" y="612553"/>
                    </a:cubicBezTo>
                    <a:close/>
                    <a:moveTo>
                      <a:pt x="466692" y="73814"/>
                    </a:moveTo>
                    <a:lnTo>
                      <a:pt x="449082" y="103819"/>
                    </a:lnTo>
                    <a:cubicBezTo>
                      <a:pt x="447324" y="106810"/>
                      <a:pt x="447324" y="110521"/>
                      <a:pt x="449082" y="113512"/>
                    </a:cubicBezTo>
                    <a:lnTo>
                      <a:pt x="466692" y="143520"/>
                    </a:lnTo>
                    <a:lnTo>
                      <a:pt x="403473" y="143520"/>
                    </a:lnTo>
                    <a:cubicBezTo>
                      <a:pt x="403473" y="141967"/>
                      <a:pt x="403473" y="70841"/>
                      <a:pt x="403473" y="73814"/>
                    </a:cubicBezTo>
                    <a:close/>
                    <a:moveTo>
                      <a:pt x="384330" y="37206"/>
                    </a:moveTo>
                    <a:cubicBezTo>
                      <a:pt x="384330" y="38759"/>
                      <a:pt x="384330" y="109885"/>
                      <a:pt x="384330" y="106912"/>
                    </a:cubicBezTo>
                    <a:lnTo>
                      <a:pt x="313997" y="106912"/>
                    </a:lnTo>
                    <a:lnTo>
                      <a:pt x="313997" y="37206"/>
                    </a:lnTo>
                    <a:close/>
                    <a:moveTo>
                      <a:pt x="294855" y="593410"/>
                    </a:moveTo>
                    <a:lnTo>
                      <a:pt x="208927" y="593410"/>
                    </a:lnTo>
                    <a:lnTo>
                      <a:pt x="208927" y="267056"/>
                    </a:lnTo>
                    <a:lnTo>
                      <a:pt x="294855" y="267056"/>
                    </a:lnTo>
                    <a:close/>
                    <a:moveTo>
                      <a:pt x="34117" y="385479"/>
                    </a:moveTo>
                    <a:lnTo>
                      <a:pt x="34117" y="272916"/>
                    </a:lnTo>
                    <a:cubicBezTo>
                      <a:pt x="34117" y="242936"/>
                      <a:pt x="58508" y="218544"/>
                      <a:pt x="88489" y="218544"/>
                    </a:cubicBezTo>
                    <a:lnTo>
                      <a:pt x="320452" y="218544"/>
                    </a:lnTo>
                    <a:cubicBezTo>
                      <a:pt x="328550" y="218544"/>
                      <a:pt x="335136" y="225130"/>
                      <a:pt x="335136" y="233229"/>
                    </a:cubicBezTo>
                    <a:cubicBezTo>
                      <a:pt x="335136" y="241327"/>
                      <a:pt x="328550" y="247913"/>
                      <a:pt x="320452" y="247913"/>
                    </a:cubicBezTo>
                    <a:cubicBezTo>
                      <a:pt x="289991" y="247913"/>
                      <a:pt x="229961" y="247913"/>
                      <a:pt x="199355" y="247913"/>
                    </a:cubicBezTo>
                    <a:cubicBezTo>
                      <a:pt x="194069" y="247913"/>
                      <a:pt x="189784" y="252198"/>
                      <a:pt x="189784" y="257484"/>
                    </a:cubicBezTo>
                    <a:lnTo>
                      <a:pt x="189784" y="592858"/>
                    </a:lnTo>
                    <a:lnTo>
                      <a:pt x="145764" y="592858"/>
                    </a:lnTo>
                    <a:lnTo>
                      <a:pt x="145764" y="442754"/>
                    </a:lnTo>
                    <a:cubicBezTo>
                      <a:pt x="145764" y="437468"/>
                      <a:pt x="141478" y="433183"/>
                      <a:pt x="136192" y="433183"/>
                    </a:cubicBezTo>
                    <a:cubicBezTo>
                      <a:pt x="130906" y="433183"/>
                      <a:pt x="126621" y="437468"/>
                      <a:pt x="126621" y="442754"/>
                    </a:cubicBezTo>
                    <a:lnTo>
                      <a:pt x="126621" y="592859"/>
                    </a:lnTo>
                    <a:lnTo>
                      <a:pt x="82512" y="592859"/>
                    </a:lnTo>
                    <a:lnTo>
                      <a:pt x="82512" y="295519"/>
                    </a:lnTo>
                    <a:cubicBezTo>
                      <a:pt x="82512" y="290233"/>
                      <a:pt x="78227" y="285948"/>
                      <a:pt x="72941" y="285948"/>
                    </a:cubicBezTo>
                    <a:cubicBezTo>
                      <a:pt x="67655" y="285948"/>
                      <a:pt x="63369" y="290233"/>
                      <a:pt x="63369" y="295519"/>
                    </a:cubicBezTo>
                    <a:lnTo>
                      <a:pt x="63369" y="423117"/>
                    </a:lnTo>
                    <a:cubicBezTo>
                      <a:pt x="46576" y="418839"/>
                      <a:pt x="34117" y="403584"/>
                      <a:pt x="34117" y="385479"/>
                    </a:cubicBezTo>
                    <a:close/>
                  </a:path>
                </a:pathLst>
              </a:custGeom>
              <a:grpFill/>
              <a:ln w="1191" cap="flat">
                <a:noFill/>
                <a:prstDash val="solid"/>
                <a:miter/>
              </a:ln>
            </p:spPr>
            <p:txBody>
              <a:bodyPr/>
              <a:lstStyle/>
              <a:p>
                <a:endParaRPr lang="en-IN"/>
              </a:p>
            </p:txBody>
          </p:sp>
        </p:grpSp>
      </p:grpSp>
      <p:sp>
        <p:nvSpPr>
          <p:cNvPr id="25" name="Oval 24">
            <a:extLst>
              <a:ext uri="{FF2B5EF4-FFF2-40B4-BE49-F238E27FC236}">
                <a16:creationId xmlns:a16="http://schemas.microsoft.com/office/drawing/2014/main" id="{F466F475-334A-BABE-EE01-85E8AEEFBD3F}"/>
              </a:ext>
            </a:extLst>
          </p:cNvPr>
          <p:cNvSpPr/>
          <p:nvPr/>
        </p:nvSpPr>
        <p:spPr>
          <a:xfrm>
            <a:off x="2597944" y="4442029"/>
            <a:ext cx="598071" cy="59807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28" name="Group 27">
            <a:extLst>
              <a:ext uri="{FF2B5EF4-FFF2-40B4-BE49-F238E27FC236}">
                <a16:creationId xmlns:a16="http://schemas.microsoft.com/office/drawing/2014/main" id="{CDC32180-2936-54C0-E97A-4091353CB70E}"/>
              </a:ext>
            </a:extLst>
          </p:cNvPr>
          <p:cNvGrpSpPr/>
          <p:nvPr/>
        </p:nvGrpSpPr>
        <p:grpSpPr>
          <a:xfrm>
            <a:off x="2696570" y="4568374"/>
            <a:ext cx="400820" cy="359493"/>
            <a:chOff x="2688235" y="4518634"/>
            <a:chExt cx="400820" cy="440794"/>
          </a:xfrm>
        </p:grpSpPr>
        <p:sp>
          <p:nvSpPr>
            <p:cNvPr id="26" name="Arrow: Curved Down 25">
              <a:extLst>
                <a:ext uri="{FF2B5EF4-FFF2-40B4-BE49-F238E27FC236}">
                  <a16:creationId xmlns:a16="http://schemas.microsoft.com/office/drawing/2014/main" id="{C7D881E9-D1A6-E33F-F6B4-8B724960E4C6}"/>
                </a:ext>
              </a:extLst>
            </p:cNvPr>
            <p:cNvSpPr/>
            <p:nvPr/>
          </p:nvSpPr>
          <p:spPr>
            <a:xfrm>
              <a:off x="2704902" y="4518634"/>
              <a:ext cx="384153" cy="189139"/>
            </a:xfrm>
            <a:prstGeom prst="curvedDownArrow">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27" name="Arrow: Curved Down 26">
              <a:extLst>
                <a:ext uri="{FF2B5EF4-FFF2-40B4-BE49-F238E27FC236}">
                  <a16:creationId xmlns:a16="http://schemas.microsoft.com/office/drawing/2014/main" id="{1FC9F8A9-0A03-4FD9-66B2-F28B96240EBB}"/>
                </a:ext>
              </a:extLst>
            </p:cNvPr>
            <p:cNvSpPr/>
            <p:nvPr/>
          </p:nvSpPr>
          <p:spPr>
            <a:xfrm flipH="1" flipV="1">
              <a:off x="2688235" y="4770289"/>
              <a:ext cx="384153" cy="189139"/>
            </a:xfrm>
            <a:prstGeom prst="curvedDownArrow">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grpSp>
    </p:spTree>
    <p:extLst>
      <p:ext uri="{BB962C8B-B14F-4D97-AF65-F5344CB8AC3E}">
        <p14:creationId xmlns:p14="http://schemas.microsoft.com/office/powerpoint/2010/main" val="22424825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5FCBA71-635C-605B-7697-425E7C2342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think-cell data - do not delete" hidden="1">
                        <a:extLst>
                          <a:ext uri="{FF2B5EF4-FFF2-40B4-BE49-F238E27FC236}">
                            <a16:creationId xmlns:a16="http://schemas.microsoft.com/office/drawing/2014/main" id="{A5FCBA71-635C-605B-7697-425E7C2342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5791D46-46B2-851F-C88B-3C8B469E9926}"/>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latin typeface="Moderat" pitchFamily="2" charset="77"/>
              </a:rPr>
              <a:t>Navigating the Matrix</a:t>
            </a:r>
          </a:p>
        </p:txBody>
      </p:sp>
      <p:sp>
        <p:nvSpPr>
          <p:cNvPr id="41" name="Text 1">
            <a:extLst>
              <a:ext uri="{FF2B5EF4-FFF2-40B4-BE49-F238E27FC236}">
                <a16:creationId xmlns:a16="http://schemas.microsoft.com/office/drawing/2014/main" id="{BC3B09E7-98D5-66F9-D47C-78F78D67DD7B}"/>
              </a:ext>
            </a:extLst>
          </p:cNvPr>
          <p:cNvSpPr/>
          <p:nvPr/>
        </p:nvSpPr>
        <p:spPr>
          <a:xfrm>
            <a:off x="515938" y="1222623"/>
            <a:ext cx="11141074" cy="205184"/>
          </a:xfrm>
          <a:prstGeom prst="rect">
            <a:avLst/>
          </a:prstGeom>
          <a:noFill/>
          <a:ln/>
        </p:spPr>
        <p:txBody>
          <a:bodyPr wrap="square" lIns="0" tIns="0" rIns="0" bIns="0" rtlCol="0" anchor="t">
            <a:spAutoFit/>
          </a:bodyPr>
          <a:lstStyle/>
          <a:p>
            <a:pPr defTabSz="571500">
              <a:lnSpc>
                <a:spcPts val="1563"/>
              </a:lnSpc>
            </a:pPr>
            <a:r>
              <a:rPr lang="en-US" sz="1400">
                <a:solidFill>
                  <a:srgbClr val="504C49"/>
                </a:solidFill>
                <a:latin typeface="Moderat" pitchFamily="2" charset="77"/>
                <a:ea typeface="Source Serif 4" pitchFamily="34" charset="-122"/>
                <a:cs typeface="Source Serif 4" pitchFamily="34" charset="-120"/>
              </a:rPr>
              <a:t>Accelerating Decision-Making in a Global Matrix</a:t>
            </a:r>
          </a:p>
        </p:txBody>
      </p:sp>
      <p:sp>
        <p:nvSpPr>
          <p:cNvPr id="6" name="Shape 2">
            <a:extLst>
              <a:ext uri="{FF2B5EF4-FFF2-40B4-BE49-F238E27FC236}">
                <a16:creationId xmlns:a16="http://schemas.microsoft.com/office/drawing/2014/main" id="{3740FFB7-73D7-6FD8-BB59-68FF04378DE0}"/>
              </a:ext>
            </a:extLst>
          </p:cNvPr>
          <p:cNvSpPr/>
          <p:nvPr/>
        </p:nvSpPr>
        <p:spPr>
          <a:xfrm>
            <a:off x="515939" y="1514851"/>
            <a:ext cx="3522537" cy="1707320"/>
          </a:xfrm>
          <a:prstGeom prst="roundRect">
            <a:avLst>
              <a:gd name="adj" fmla="val 2865"/>
            </a:avLst>
          </a:prstGeom>
          <a:solidFill>
            <a:schemeClr val="bg1">
              <a:lumMod val="95000"/>
            </a:schemeClr>
          </a:solidFill>
          <a:ln w="7620">
            <a:noFill/>
            <a:prstDash val="solid"/>
          </a:ln>
        </p:spPr>
        <p:txBody>
          <a:bodyPr/>
          <a:lstStyle/>
          <a:p>
            <a:endParaRPr lang="en-IN" sz="1600">
              <a:latin typeface="Moderat" pitchFamily="2" charset="77"/>
            </a:endParaRPr>
          </a:p>
        </p:txBody>
      </p:sp>
      <p:sp>
        <p:nvSpPr>
          <p:cNvPr id="14" name="Text 4">
            <a:extLst>
              <a:ext uri="{FF2B5EF4-FFF2-40B4-BE49-F238E27FC236}">
                <a16:creationId xmlns:a16="http://schemas.microsoft.com/office/drawing/2014/main" id="{D1529EA6-DA2F-EB00-C635-A0F52E732E13}"/>
              </a:ext>
            </a:extLst>
          </p:cNvPr>
          <p:cNvSpPr/>
          <p:nvPr/>
        </p:nvSpPr>
        <p:spPr>
          <a:xfrm>
            <a:off x="711156" y="1665719"/>
            <a:ext cx="3164158" cy="492443"/>
          </a:xfrm>
          <a:prstGeom prst="rect">
            <a:avLst/>
          </a:prstGeom>
          <a:noFill/>
          <a:ln/>
        </p:spPr>
        <p:txBody>
          <a:bodyPr wrap="square" lIns="0" tIns="0" rIns="0" bIns="0" rtlCol="0" anchor="t">
            <a:spAutoFit/>
          </a:bodyPr>
          <a:lstStyle/>
          <a:p>
            <a:r>
              <a:rPr lang="en-US" sz="1600" b="1">
                <a:solidFill>
                  <a:schemeClr val="accent6"/>
                </a:solidFill>
                <a:latin typeface="Moderat" pitchFamily="2" charset="77"/>
                <a:ea typeface="Raleway" pitchFamily="34" charset="-122"/>
                <a:cs typeface="Raleway" pitchFamily="34" charset="-120"/>
              </a:rPr>
              <a:t>GCCs require cross-functional collaboration</a:t>
            </a:r>
          </a:p>
        </p:txBody>
      </p:sp>
      <p:sp>
        <p:nvSpPr>
          <p:cNvPr id="15" name="Text 5">
            <a:extLst>
              <a:ext uri="{FF2B5EF4-FFF2-40B4-BE49-F238E27FC236}">
                <a16:creationId xmlns:a16="http://schemas.microsoft.com/office/drawing/2014/main" id="{12C23ED7-D120-0473-1402-0B67B6F92F89}"/>
              </a:ext>
            </a:extLst>
          </p:cNvPr>
          <p:cNvSpPr/>
          <p:nvPr/>
        </p:nvSpPr>
        <p:spPr>
          <a:xfrm>
            <a:off x="711156" y="2190246"/>
            <a:ext cx="3033530" cy="770330"/>
          </a:xfrm>
          <a:prstGeom prst="rect">
            <a:avLst/>
          </a:prstGeom>
          <a:noFill/>
          <a:ln/>
        </p:spPr>
        <p:txBody>
          <a:bodyPr wrap="square" lIns="0" tIns="36000" rIns="0" bIns="36000" rtlCol="0" anchor="t">
            <a:spAutoFit/>
          </a:bodyPr>
          <a:lstStyle/>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Clarity on decision making</a:t>
            </a:r>
          </a:p>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Prioritization </a:t>
            </a:r>
          </a:p>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Alignment</a:t>
            </a:r>
          </a:p>
        </p:txBody>
      </p:sp>
      <p:sp>
        <p:nvSpPr>
          <p:cNvPr id="35" name="Shape 2">
            <a:extLst>
              <a:ext uri="{FF2B5EF4-FFF2-40B4-BE49-F238E27FC236}">
                <a16:creationId xmlns:a16="http://schemas.microsoft.com/office/drawing/2014/main" id="{9BD4C2CC-EDF1-DA7B-1700-E20EE100197E}"/>
              </a:ext>
            </a:extLst>
          </p:cNvPr>
          <p:cNvSpPr/>
          <p:nvPr/>
        </p:nvSpPr>
        <p:spPr>
          <a:xfrm>
            <a:off x="4325207" y="1514851"/>
            <a:ext cx="3522537" cy="1707320"/>
          </a:xfrm>
          <a:prstGeom prst="roundRect">
            <a:avLst>
              <a:gd name="adj" fmla="val 2865"/>
            </a:avLst>
          </a:prstGeom>
          <a:solidFill>
            <a:schemeClr val="bg1">
              <a:lumMod val="95000"/>
            </a:schemeClr>
          </a:solidFill>
          <a:ln w="7620">
            <a:noFill/>
            <a:prstDash val="solid"/>
          </a:ln>
        </p:spPr>
        <p:txBody>
          <a:bodyPr/>
          <a:lstStyle/>
          <a:p>
            <a:endParaRPr lang="en-IN" sz="1600">
              <a:latin typeface="Moderat" pitchFamily="2" charset="77"/>
            </a:endParaRPr>
          </a:p>
        </p:txBody>
      </p:sp>
      <p:sp>
        <p:nvSpPr>
          <p:cNvPr id="36" name="Text 4">
            <a:extLst>
              <a:ext uri="{FF2B5EF4-FFF2-40B4-BE49-F238E27FC236}">
                <a16:creationId xmlns:a16="http://schemas.microsoft.com/office/drawing/2014/main" id="{ACA4B4A0-21A5-A4D3-8A7D-5DFF5DE7F137}"/>
              </a:ext>
            </a:extLst>
          </p:cNvPr>
          <p:cNvSpPr/>
          <p:nvPr/>
        </p:nvSpPr>
        <p:spPr>
          <a:xfrm>
            <a:off x="4520424" y="1665719"/>
            <a:ext cx="3164158" cy="246221"/>
          </a:xfrm>
          <a:prstGeom prst="rect">
            <a:avLst/>
          </a:prstGeom>
          <a:noFill/>
          <a:ln/>
        </p:spPr>
        <p:txBody>
          <a:bodyPr wrap="square" lIns="0" tIns="0" rIns="0" bIns="0" rtlCol="0" anchor="t">
            <a:spAutoFit/>
          </a:bodyPr>
          <a:lstStyle/>
          <a:p>
            <a:r>
              <a:rPr lang="en-US" sz="1600" b="1">
                <a:solidFill>
                  <a:schemeClr val="accent6"/>
                </a:solidFill>
                <a:latin typeface="Moderat" pitchFamily="2" charset="77"/>
                <a:ea typeface="Raleway" pitchFamily="34" charset="-122"/>
                <a:cs typeface="Raleway" pitchFamily="34" charset="-120"/>
              </a:rPr>
              <a:t>Practical skills for success</a:t>
            </a:r>
          </a:p>
        </p:txBody>
      </p:sp>
      <p:sp>
        <p:nvSpPr>
          <p:cNvPr id="37" name="Text 5">
            <a:extLst>
              <a:ext uri="{FF2B5EF4-FFF2-40B4-BE49-F238E27FC236}">
                <a16:creationId xmlns:a16="http://schemas.microsoft.com/office/drawing/2014/main" id="{1025A2F1-5539-9EC0-5B80-C21264380CD7}"/>
              </a:ext>
            </a:extLst>
          </p:cNvPr>
          <p:cNvSpPr/>
          <p:nvPr/>
        </p:nvSpPr>
        <p:spPr>
          <a:xfrm>
            <a:off x="4520424" y="1944024"/>
            <a:ext cx="3033530" cy="1011422"/>
          </a:xfrm>
          <a:prstGeom prst="rect">
            <a:avLst/>
          </a:prstGeom>
          <a:noFill/>
          <a:ln/>
        </p:spPr>
        <p:txBody>
          <a:bodyPr wrap="square" lIns="0" tIns="36000" rIns="0" bIns="36000" rtlCol="0" anchor="t">
            <a:spAutoFit/>
          </a:bodyPr>
          <a:lstStyle/>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Decode decision pathways</a:t>
            </a:r>
          </a:p>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Build stakeholder alignment</a:t>
            </a:r>
          </a:p>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Escalate intelligently </a:t>
            </a:r>
          </a:p>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Navigate trade offs confidently</a:t>
            </a:r>
          </a:p>
        </p:txBody>
      </p:sp>
      <p:sp>
        <p:nvSpPr>
          <p:cNvPr id="39" name="Shape 2">
            <a:extLst>
              <a:ext uri="{FF2B5EF4-FFF2-40B4-BE49-F238E27FC236}">
                <a16:creationId xmlns:a16="http://schemas.microsoft.com/office/drawing/2014/main" id="{25C378D6-60A7-0C44-E497-7AEF90381558}"/>
              </a:ext>
            </a:extLst>
          </p:cNvPr>
          <p:cNvSpPr/>
          <p:nvPr/>
        </p:nvSpPr>
        <p:spPr>
          <a:xfrm>
            <a:off x="8134475" y="1514851"/>
            <a:ext cx="3522537" cy="1707320"/>
          </a:xfrm>
          <a:prstGeom prst="roundRect">
            <a:avLst>
              <a:gd name="adj" fmla="val 2865"/>
            </a:avLst>
          </a:prstGeom>
          <a:solidFill>
            <a:schemeClr val="bg1">
              <a:lumMod val="95000"/>
            </a:schemeClr>
          </a:solidFill>
          <a:ln w="7620">
            <a:noFill/>
            <a:prstDash val="solid"/>
          </a:ln>
        </p:spPr>
        <p:txBody>
          <a:bodyPr/>
          <a:lstStyle/>
          <a:p>
            <a:endParaRPr lang="en-IN" sz="1600">
              <a:latin typeface="Moderat" pitchFamily="2" charset="77"/>
            </a:endParaRPr>
          </a:p>
        </p:txBody>
      </p:sp>
      <p:sp>
        <p:nvSpPr>
          <p:cNvPr id="40" name="Text 4">
            <a:extLst>
              <a:ext uri="{FF2B5EF4-FFF2-40B4-BE49-F238E27FC236}">
                <a16:creationId xmlns:a16="http://schemas.microsoft.com/office/drawing/2014/main" id="{7DB675BE-0C8A-B2AC-DA5E-E774EBE1B19F}"/>
              </a:ext>
            </a:extLst>
          </p:cNvPr>
          <p:cNvSpPr/>
          <p:nvPr/>
        </p:nvSpPr>
        <p:spPr>
          <a:xfrm>
            <a:off x="8329692" y="1665719"/>
            <a:ext cx="3164158" cy="246221"/>
          </a:xfrm>
          <a:prstGeom prst="rect">
            <a:avLst/>
          </a:prstGeom>
          <a:noFill/>
          <a:ln/>
        </p:spPr>
        <p:txBody>
          <a:bodyPr wrap="square" lIns="0" tIns="0" rIns="0" bIns="0" rtlCol="0" anchor="t">
            <a:spAutoFit/>
          </a:bodyPr>
          <a:lstStyle/>
          <a:p>
            <a:r>
              <a:rPr lang="en-US" sz="1600" b="1">
                <a:solidFill>
                  <a:schemeClr val="accent6"/>
                </a:solidFill>
                <a:latin typeface="Moderat" pitchFamily="2" charset="77"/>
                <a:ea typeface="Raleway" pitchFamily="34" charset="-122"/>
                <a:cs typeface="Raleway" pitchFamily="34" charset="-120"/>
              </a:rPr>
              <a:t>Designed for your reality</a:t>
            </a:r>
          </a:p>
        </p:txBody>
      </p:sp>
      <p:sp>
        <p:nvSpPr>
          <p:cNvPr id="42" name="Text 5">
            <a:extLst>
              <a:ext uri="{FF2B5EF4-FFF2-40B4-BE49-F238E27FC236}">
                <a16:creationId xmlns:a16="http://schemas.microsoft.com/office/drawing/2014/main" id="{6BC0533D-D48C-E7EF-5ED3-EBE0DF4B60D5}"/>
              </a:ext>
            </a:extLst>
          </p:cNvPr>
          <p:cNvSpPr/>
          <p:nvPr/>
        </p:nvSpPr>
        <p:spPr>
          <a:xfrm>
            <a:off x="8329692" y="1944024"/>
            <a:ext cx="3033530" cy="1011422"/>
          </a:xfrm>
          <a:prstGeom prst="rect">
            <a:avLst/>
          </a:prstGeom>
          <a:noFill/>
          <a:ln/>
        </p:spPr>
        <p:txBody>
          <a:bodyPr wrap="square" lIns="0" tIns="36000" rIns="0" bIns="36000" rtlCol="0" anchor="t">
            <a:spAutoFit/>
          </a:bodyPr>
          <a:lstStyle/>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GCC specific scenarios</a:t>
            </a:r>
          </a:p>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Actionable frameworks</a:t>
            </a:r>
          </a:p>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Global workflows aligned</a:t>
            </a:r>
          </a:p>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Immediate application</a:t>
            </a:r>
          </a:p>
        </p:txBody>
      </p:sp>
      <p:sp>
        <p:nvSpPr>
          <p:cNvPr id="43" name="Text 7">
            <a:extLst>
              <a:ext uri="{FF2B5EF4-FFF2-40B4-BE49-F238E27FC236}">
                <a16:creationId xmlns:a16="http://schemas.microsoft.com/office/drawing/2014/main" id="{CBAC8667-85AD-4BD3-76D7-389A149E091F}"/>
              </a:ext>
            </a:extLst>
          </p:cNvPr>
          <p:cNvSpPr/>
          <p:nvPr/>
        </p:nvSpPr>
        <p:spPr>
          <a:xfrm>
            <a:off x="515938" y="3503722"/>
            <a:ext cx="4360097" cy="250453"/>
          </a:xfrm>
          <a:prstGeom prst="rect">
            <a:avLst/>
          </a:prstGeom>
          <a:noFill/>
          <a:ln/>
        </p:spPr>
        <p:txBody>
          <a:bodyPr wrap="square" lIns="0" tIns="0" rIns="0" bIns="0" rtlCol="0" anchor="t">
            <a:spAutoFit/>
          </a:bodyPr>
          <a:lstStyle/>
          <a:p>
            <a:pPr>
              <a:lnSpc>
                <a:spcPts val="1916"/>
              </a:lnSpc>
            </a:pPr>
            <a:r>
              <a:rPr lang="en-US" sz="2000" b="1">
                <a:solidFill>
                  <a:schemeClr val="accent6"/>
                </a:solidFill>
                <a:latin typeface="Moderat" pitchFamily="2" charset="77"/>
                <a:ea typeface="Lato Bold" pitchFamily="34" charset="-122"/>
                <a:cs typeface="Lato Bold" pitchFamily="34" charset="-120"/>
              </a:rPr>
              <a:t>Your Learning Journey</a:t>
            </a:r>
          </a:p>
        </p:txBody>
      </p:sp>
      <p:sp>
        <p:nvSpPr>
          <p:cNvPr id="44" name="Shape 20">
            <a:extLst>
              <a:ext uri="{FF2B5EF4-FFF2-40B4-BE49-F238E27FC236}">
                <a16:creationId xmlns:a16="http://schemas.microsoft.com/office/drawing/2014/main" id="{97AE7DE0-F874-15F4-89BD-FB9DA98A3CEF}"/>
              </a:ext>
            </a:extLst>
          </p:cNvPr>
          <p:cNvSpPr/>
          <p:nvPr/>
        </p:nvSpPr>
        <p:spPr>
          <a:xfrm rot="5400000">
            <a:off x="5242726" y="3404393"/>
            <a:ext cx="1628776" cy="3532189"/>
          </a:xfrm>
          <a:prstGeom prst="roundRect">
            <a:avLst>
              <a:gd name="adj" fmla="val 0"/>
            </a:avLst>
          </a:prstGeom>
          <a:solidFill>
            <a:schemeClr val="bg1">
              <a:lumMod val="95000"/>
            </a:schemeClr>
          </a:solidFill>
          <a:ln w="22860">
            <a:noFill/>
            <a:prstDash val="solid"/>
          </a:ln>
        </p:spPr>
        <p:txBody>
          <a:bodyPr/>
          <a:lstStyle/>
          <a:p>
            <a:endParaRPr lang="en-IN" sz="1500">
              <a:solidFill>
                <a:schemeClr val="bg1"/>
              </a:solidFill>
              <a:latin typeface="Moderat" pitchFamily="2" charset="77"/>
            </a:endParaRPr>
          </a:p>
        </p:txBody>
      </p:sp>
      <p:sp>
        <p:nvSpPr>
          <p:cNvPr id="45" name="Text 7">
            <a:extLst>
              <a:ext uri="{FF2B5EF4-FFF2-40B4-BE49-F238E27FC236}">
                <a16:creationId xmlns:a16="http://schemas.microsoft.com/office/drawing/2014/main" id="{1FAA83EF-8F17-1A59-9348-32EC3ED6965A}"/>
              </a:ext>
            </a:extLst>
          </p:cNvPr>
          <p:cNvSpPr/>
          <p:nvPr/>
        </p:nvSpPr>
        <p:spPr>
          <a:xfrm>
            <a:off x="4520424" y="4446729"/>
            <a:ext cx="2335085" cy="250453"/>
          </a:xfrm>
          <a:prstGeom prst="rect">
            <a:avLst/>
          </a:prstGeom>
          <a:noFill/>
          <a:ln/>
        </p:spPr>
        <p:txBody>
          <a:bodyPr wrap="square" lIns="0" tIns="0" rIns="0" bIns="0" rtlCol="0" anchor="t">
            <a:spAutoFit/>
          </a:bodyPr>
          <a:lstStyle/>
          <a:p>
            <a:pPr>
              <a:lnSpc>
                <a:spcPts val="1916"/>
              </a:lnSpc>
            </a:pPr>
            <a:r>
              <a:rPr lang="en-US" sz="1600" b="1">
                <a:solidFill>
                  <a:schemeClr val="accent6"/>
                </a:solidFill>
                <a:latin typeface="Moderat" pitchFamily="2" charset="77"/>
                <a:ea typeface="Lato Bold" pitchFamily="34" charset="-122"/>
                <a:cs typeface="Lato Bold" pitchFamily="34" charset="-120"/>
              </a:rPr>
              <a:t>Influence and Alignment</a:t>
            </a:r>
          </a:p>
        </p:txBody>
      </p:sp>
      <p:sp>
        <p:nvSpPr>
          <p:cNvPr id="48" name="Shape 20">
            <a:extLst>
              <a:ext uri="{FF2B5EF4-FFF2-40B4-BE49-F238E27FC236}">
                <a16:creationId xmlns:a16="http://schemas.microsoft.com/office/drawing/2014/main" id="{1C4CC6DF-DFC7-7C37-9BD8-F374807528A1}"/>
              </a:ext>
            </a:extLst>
          </p:cNvPr>
          <p:cNvSpPr/>
          <p:nvPr/>
        </p:nvSpPr>
        <p:spPr>
          <a:xfrm rot="5400000">
            <a:off x="9011299" y="3404394"/>
            <a:ext cx="1628777" cy="3532189"/>
          </a:xfrm>
          <a:prstGeom prst="roundRect">
            <a:avLst>
              <a:gd name="adj" fmla="val 0"/>
            </a:avLst>
          </a:prstGeom>
          <a:solidFill>
            <a:schemeClr val="bg1">
              <a:lumMod val="95000"/>
            </a:schemeClr>
          </a:solidFill>
          <a:ln w="22860">
            <a:noFill/>
            <a:prstDash val="solid"/>
          </a:ln>
        </p:spPr>
        <p:txBody>
          <a:bodyPr/>
          <a:lstStyle/>
          <a:p>
            <a:endParaRPr lang="en-IN" sz="1500">
              <a:solidFill>
                <a:schemeClr val="bg1"/>
              </a:solidFill>
              <a:latin typeface="Moderat" pitchFamily="2" charset="77"/>
            </a:endParaRPr>
          </a:p>
        </p:txBody>
      </p:sp>
      <p:sp>
        <p:nvSpPr>
          <p:cNvPr id="49" name="Text 7">
            <a:extLst>
              <a:ext uri="{FF2B5EF4-FFF2-40B4-BE49-F238E27FC236}">
                <a16:creationId xmlns:a16="http://schemas.microsoft.com/office/drawing/2014/main" id="{938972B0-CA00-55F3-299B-805253EC1BA6}"/>
              </a:ext>
            </a:extLst>
          </p:cNvPr>
          <p:cNvSpPr/>
          <p:nvPr/>
        </p:nvSpPr>
        <p:spPr>
          <a:xfrm>
            <a:off x="8286150" y="4446729"/>
            <a:ext cx="2335085" cy="250453"/>
          </a:xfrm>
          <a:prstGeom prst="rect">
            <a:avLst/>
          </a:prstGeom>
          <a:noFill/>
          <a:ln/>
        </p:spPr>
        <p:txBody>
          <a:bodyPr wrap="square" lIns="0" tIns="0" rIns="0" bIns="0" rtlCol="0" anchor="t">
            <a:spAutoFit/>
          </a:bodyPr>
          <a:lstStyle/>
          <a:p>
            <a:pPr>
              <a:lnSpc>
                <a:spcPts val="1916"/>
              </a:lnSpc>
            </a:pPr>
            <a:r>
              <a:rPr lang="en-US" sz="1600" b="1">
                <a:solidFill>
                  <a:schemeClr val="accent6"/>
                </a:solidFill>
                <a:latin typeface="Moderat" pitchFamily="2" charset="77"/>
                <a:ea typeface="Lato Bold" pitchFamily="34" charset="-122"/>
                <a:cs typeface="Lato Bold" pitchFamily="34" charset="-120"/>
              </a:rPr>
              <a:t>High Stakes Scenarios</a:t>
            </a:r>
          </a:p>
        </p:txBody>
      </p:sp>
      <p:sp>
        <p:nvSpPr>
          <p:cNvPr id="52" name="Shape 20">
            <a:extLst>
              <a:ext uri="{FF2B5EF4-FFF2-40B4-BE49-F238E27FC236}">
                <a16:creationId xmlns:a16="http://schemas.microsoft.com/office/drawing/2014/main" id="{51C50C1E-2E54-CD04-8469-D8211A85729C}"/>
              </a:ext>
            </a:extLst>
          </p:cNvPr>
          <p:cNvSpPr/>
          <p:nvPr/>
        </p:nvSpPr>
        <p:spPr>
          <a:xfrm rot="5400000">
            <a:off x="1474148" y="3404397"/>
            <a:ext cx="1628774" cy="3532187"/>
          </a:xfrm>
          <a:prstGeom prst="roundRect">
            <a:avLst>
              <a:gd name="adj" fmla="val 0"/>
            </a:avLst>
          </a:prstGeom>
          <a:solidFill>
            <a:schemeClr val="bg1">
              <a:lumMod val="95000"/>
            </a:schemeClr>
          </a:solidFill>
          <a:ln w="22860">
            <a:noFill/>
            <a:prstDash val="solid"/>
          </a:ln>
        </p:spPr>
        <p:txBody>
          <a:bodyPr/>
          <a:lstStyle/>
          <a:p>
            <a:endParaRPr lang="en-IN" sz="1500">
              <a:solidFill>
                <a:schemeClr val="bg1"/>
              </a:solidFill>
              <a:latin typeface="Moderat" pitchFamily="2" charset="77"/>
            </a:endParaRPr>
          </a:p>
        </p:txBody>
      </p:sp>
      <p:sp>
        <p:nvSpPr>
          <p:cNvPr id="53" name="Text 7">
            <a:extLst>
              <a:ext uri="{FF2B5EF4-FFF2-40B4-BE49-F238E27FC236}">
                <a16:creationId xmlns:a16="http://schemas.microsoft.com/office/drawing/2014/main" id="{0B0E895D-1B15-3527-3074-A192CDE1019F}"/>
              </a:ext>
            </a:extLst>
          </p:cNvPr>
          <p:cNvSpPr/>
          <p:nvPr/>
        </p:nvSpPr>
        <p:spPr>
          <a:xfrm>
            <a:off x="715589" y="4446729"/>
            <a:ext cx="2335085" cy="243656"/>
          </a:xfrm>
          <a:prstGeom prst="rect">
            <a:avLst/>
          </a:prstGeom>
          <a:noFill/>
          <a:ln/>
        </p:spPr>
        <p:txBody>
          <a:bodyPr wrap="square" lIns="0" tIns="0" rIns="0" bIns="0" rtlCol="0" anchor="t">
            <a:spAutoFit/>
          </a:bodyPr>
          <a:lstStyle/>
          <a:p>
            <a:pPr>
              <a:lnSpc>
                <a:spcPts val="1916"/>
              </a:lnSpc>
            </a:pPr>
            <a:r>
              <a:rPr lang="en-US" sz="1600" b="1">
                <a:solidFill>
                  <a:schemeClr val="accent6"/>
                </a:solidFill>
                <a:latin typeface="Moderat" pitchFamily="2" charset="77"/>
                <a:ea typeface="Lato Bold" pitchFamily="34" charset="-122"/>
                <a:cs typeface="Lato Bold" pitchFamily="34" charset="-120"/>
              </a:rPr>
              <a:t>Understand the Matrix</a:t>
            </a:r>
          </a:p>
        </p:txBody>
      </p:sp>
      <p:sp>
        <p:nvSpPr>
          <p:cNvPr id="56" name="Chevron 21">
            <a:extLst>
              <a:ext uri="{FF2B5EF4-FFF2-40B4-BE49-F238E27FC236}">
                <a16:creationId xmlns:a16="http://schemas.microsoft.com/office/drawing/2014/main" id="{652FA7C4-08D8-CB5D-5368-C0627930CEB0}"/>
              </a:ext>
            </a:extLst>
          </p:cNvPr>
          <p:cNvSpPr/>
          <p:nvPr/>
        </p:nvSpPr>
        <p:spPr>
          <a:xfrm>
            <a:off x="522442" y="3887801"/>
            <a:ext cx="3622972" cy="468299"/>
          </a:xfrm>
          <a:prstGeom prst="homePlate">
            <a:avLst>
              <a:gd name="adj" fmla="val 18325"/>
            </a:avLst>
          </a:prstGeom>
          <a:solidFill>
            <a:schemeClr val="accent3"/>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vert="horz" lIns="114300" tIns="0" bIns="57150" rtlCol="0" anchor="ctr" anchorCtr="0"/>
          <a:lst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a:lstStyle>
          <a:p>
            <a:pPr algn="ctr" defTabSz="845753">
              <a:spcAft>
                <a:spcPts val="500"/>
              </a:spcAft>
            </a:pPr>
            <a:r>
              <a:rPr lang="en-US" sz="1600" b="1">
                <a:solidFill>
                  <a:schemeClr val="bg1"/>
                </a:solidFill>
                <a:latin typeface="Moderat" pitchFamily="2" charset="77"/>
              </a:rPr>
              <a:t>Week 1</a:t>
            </a:r>
          </a:p>
        </p:txBody>
      </p:sp>
      <p:sp>
        <p:nvSpPr>
          <p:cNvPr id="57" name="Chevron 21">
            <a:extLst>
              <a:ext uri="{FF2B5EF4-FFF2-40B4-BE49-F238E27FC236}">
                <a16:creationId xmlns:a16="http://schemas.microsoft.com/office/drawing/2014/main" id="{9E9EF832-338F-0F5B-9DA0-6231E2858AB9}"/>
              </a:ext>
            </a:extLst>
          </p:cNvPr>
          <p:cNvSpPr/>
          <p:nvPr/>
        </p:nvSpPr>
        <p:spPr>
          <a:xfrm>
            <a:off x="4291019" y="3887801"/>
            <a:ext cx="3622972" cy="468299"/>
          </a:xfrm>
          <a:prstGeom prst="chevron">
            <a:avLst>
              <a:gd name="adj" fmla="val 18325"/>
            </a:avLst>
          </a:prstGeom>
          <a:solidFill>
            <a:schemeClr val="accent3"/>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vert="horz" lIns="114300" tIns="0" bIns="57150" rtlCol="0" anchor="ctr" anchorCtr="0"/>
          <a:lst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a:lstStyle>
          <a:p>
            <a:pPr algn="ctr" defTabSz="845753">
              <a:spcAft>
                <a:spcPts val="500"/>
              </a:spcAft>
            </a:pPr>
            <a:r>
              <a:rPr lang="en-US" sz="1600" b="1">
                <a:solidFill>
                  <a:schemeClr val="bg1"/>
                </a:solidFill>
                <a:latin typeface="Moderat" pitchFamily="2" charset="77"/>
              </a:rPr>
              <a:t>Week 3</a:t>
            </a:r>
          </a:p>
        </p:txBody>
      </p:sp>
      <p:sp>
        <p:nvSpPr>
          <p:cNvPr id="58" name="Chevron 21">
            <a:extLst>
              <a:ext uri="{FF2B5EF4-FFF2-40B4-BE49-F238E27FC236}">
                <a16:creationId xmlns:a16="http://schemas.microsoft.com/office/drawing/2014/main" id="{89BE11D0-47CF-04B2-0ACD-9C9F5885D946}"/>
              </a:ext>
            </a:extLst>
          </p:cNvPr>
          <p:cNvSpPr/>
          <p:nvPr/>
        </p:nvSpPr>
        <p:spPr>
          <a:xfrm>
            <a:off x="8059595" y="3887801"/>
            <a:ext cx="3622972" cy="468299"/>
          </a:xfrm>
          <a:prstGeom prst="chevron">
            <a:avLst>
              <a:gd name="adj" fmla="val 18325"/>
            </a:avLst>
          </a:prstGeom>
          <a:solidFill>
            <a:schemeClr val="accent3"/>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vert="horz" lIns="114300" tIns="0" bIns="57150" rtlCol="0" anchor="ctr" anchorCtr="0"/>
          <a:lst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a:lstStyle>
          <a:p>
            <a:pPr algn="ctr" defTabSz="845753">
              <a:spcAft>
                <a:spcPts val="500"/>
              </a:spcAft>
            </a:pPr>
            <a:r>
              <a:rPr lang="en-US" sz="1600" b="1">
                <a:solidFill>
                  <a:schemeClr val="bg1"/>
                </a:solidFill>
                <a:latin typeface="Moderat" pitchFamily="2" charset="77"/>
              </a:rPr>
              <a:t>Week 5</a:t>
            </a:r>
          </a:p>
        </p:txBody>
      </p:sp>
      <p:sp>
        <p:nvSpPr>
          <p:cNvPr id="60" name="Text 5">
            <a:extLst>
              <a:ext uri="{FF2B5EF4-FFF2-40B4-BE49-F238E27FC236}">
                <a16:creationId xmlns:a16="http://schemas.microsoft.com/office/drawing/2014/main" id="{51EB6301-8F90-8D40-9B9F-43A2D7942F23}"/>
              </a:ext>
            </a:extLst>
          </p:cNvPr>
          <p:cNvSpPr/>
          <p:nvPr/>
        </p:nvSpPr>
        <p:spPr>
          <a:xfrm>
            <a:off x="711156" y="4699925"/>
            <a:ext cx="2980195" cy="1226865"/>
          </a:xfrm>
          <a:prstGeom prst="rect">
            <a:avLst/>
          </a:prstGeom>
          <a:noFill/>
          <a:ln/>
        </p:spPr>
        <p:txBody>
          <a:bodyPr wrap="square" lIns="0" tIns="36000" rIns="0" bIns="36000" rtlCol="0" anchor="t">
            <a:spAutoFit/>
          </a:bodyPr>
          <a:lstStyle/>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Map stakeholders</a:t>
            </a:r>
          </a:p>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Decode structures</a:t>
            </a:r>
          </a:p>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Identify decision-blockers</a:t>
            </a:r>
          </a:p>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Navigate ambiguity with confidence and structure</a:t>
            </a:r>
          </a:p>
        </p:txBody>
      </p:sp>
      <p:sp>
        <p:nvSpPr>
          <p:cNvPr id="61" name="Text 5">
            <a:extLst>
              <a:ext uri="{FF2B5EF4-FFF2-40B4-BE49-F238E27FC236}">
                <a16:creationId xmlns:a16="http://schemas.microsoft.com/office/drawing/2014/main" id="{0129A2EF-1318-6B76-C6AB-4791792449A0}"/>
              </a:ext>
            </a:extLst>
          </p:cNvPr>
          <p:cNvSpPr/>
          <p:nvPr/>
        </p:nvSpPr>
        <p:spPr>
          <a:xfrm>
            <a:off x="4520424" y="4699925"/>
            <a:ext cx="3164158" cy="1226865"/>
          </a:xfrm>
          <a:prstGeom prst="rect">
            <a:avLst/>
          </a:prstGeom>
          <a:noFill/>
          <a:ln/>
        </p:spPr>
        <p:txBody>
          <a:bodyPr wrap="square" lIns="0" tIns="36000" rIns="0" bIns="36000" rtlCol="0" anchor="t">
            <a:spAutoFit/>
          </a:bodyPr>
          <a:lstStyle/>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Build credibility</a:t>
            </a:r>
          </a:p>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Manage conflicts</a:t>
            </a:r>
          </a:p>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Align without authority</a:t>
            </a:r>
          </a:p>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Earn trust, build alignment, drive outcomes</a:t>
            </a:r>
          </a:p>
        </p:txBody>
      </p:sp>
      <p:sp>
        <p:nvSpPr>
          <p:cNvPr id="62" name="Text 5">
            <a:extLst>
              <a:ext uri="{FF2B5EF4-FFF2-40B4-BE49-F238E27FC236}">
                <a16:creationId xmlns:a16="http://schemas.microsoft.com/office/drawing/2014/main" id="{029FC10A-8AA2-9EE8-A8ED-4BA576364E9F}"/>
              </a:ext>
            </a:extLst>
          </p:cNvPr>
          <p:cNvSpPr/>
          <p:nvPr/>
        </p:nvSpPr>
        <p:spPr>
          <a:xfrm>
            <a:off x="8286150" y="4699925"/>
            <a:ext cx="3164158" cy="1226865"/>
          </a:xfrm>
          <a:prstGeom prst="rect">
            <a:avLst/>
          </a:prstGeom>
          <a:noFill/>
          <a:ln/>
        </p:spPr>
        <p:txBody>
          <a:bodyPr wrap="square" lIns="0" tIns="36000" rIns="0" bIns="36000" rtlCol="0" anchor="t">
            <a:spAutoFit/>
          </a:bodyPr>
          <a:lstStyle/>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Smart escalation</a:t>
            </a:r>
          </a:p>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Negotiate timelines</a:t>
            </a:r>
          </a:p>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Drive decisions</a:t>
            </a:r>
          </a:p>
          <a:p>
            <a:pPr marL="171450" indent="-17145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See the whole picture, manage dependencies</a:t>
            </a:r>
          </a:p>
        </p:txBody>
      </p:sp>
    </p:spTree>
    <p:extLst>
      <p:ext uri="{BB962C8B-B14F-4D97-AF65-F5344CB8AC3E}">
        <p14:creationId xmlns:p14="http://schemas.microsoft.com/office/powerpoint/2010/main" val="2321896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5FCBA71-635C-605B-7697-425E7C2342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think-cell data - do not delete" hidden="1">
                        <a:extLst>
                          <a:ext uri="{FF2B5EF4-FFF2-40B4-BE49-F238E27FC236}">
                            <a16:creationId xmlns:a16="http://schemas.microsoft.com/office/drawing/2014/main" id="{A5FCBA71-635C-605B-7697-425E7C2342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5791D46-46B2-851F-C88B-3C8B469E9926}"/>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latin typeface="Moderat" pitchFamily="2" charset="77"/>
              </a:rPr>
              <a:t>Decoding the Business: A Practical Guide for GCC Talent</a:t>
            </a:r>
          </a:p>
        </p:txBody>
      </p:sp>
      <p:sp>
        <p:nvSpPr>
          <p:cNvPr id="43" name="Text 7">
            <a:extLst>
              <a:ext uri="{FF2B5EF4-FFF2-40B4-BE49-F238E27FC236}">
                <a16:creationId xmlns:a16="http://schemas.microsoft.com/office/drawing/2014/main" id="{CBAC8667-85AD-4BD3-76D7-389A149E091F}"/>
              </a:ext>
            </a:extLst>
          </p:cNvPr>
          <p:cNvSpPr/>
          <p:nvPr/>
        </p:nvSpPr>
        <p:spPr>
          <a:xfrm>
            <a:off x="515938" y="1405425"/>
            <a:ext cx="4360097" cy="250453"/>
          </a:xfrm>
          <a:prstGeom prst="rect">
            <a:avLst/>
          </a:prstGeom>
          <a:noFill/>
          <a:ln/>
        </p:spPr>
        <p:txBody>
          <a:bodyPr wrap="square" lIns="0" tIns="0" rIns="0" bIns="0" rtlCol="0" anchor="t">
            <a:spAutoFit/>
          </a:bodyPr>
          <a:lstStyle/>
          <a:p>
            <a:pPr>
              <a:lnSpc>
                <a:spcPts val="1916"/>
              </a:lnSpc>
            </a:pPr>
            <a:r>
              <a:rPr lang="en-US" b="1">
                <a:solidFill>
                  <a:schemeClr val="accent6"/>
                </a:solidFill>
                <a:latin typeface="Moderat" pitchFamily="2" charset="77"/>
                <a:ea typeface="Lato Bold" pitchFamily="34" charset="-122"/>
                <a:cs typeface="Lato Bold" pitchFamily="34" charset="-120"/>
              </a:rPr>
              <a:t>Hybrid Learning Format</a:t>
            </a:r>
          </a:p>
        </p:txBody>
      </p:sp>
      <p:sp>
        <p:nvSpPr>
          <p:cNvPr id="3" name="Text 8">
            <a:extLst>
              <a:ext uri="{FF2B5EF4-FFF2-40B4-BE49-F238E27FC236}">
                <a16:creationId xmlns:a16="http://schemas.microsoft.com/office/drawing/2014/main" id="{59129900-E094-65EA-E5D4-51B3F7DD911A}"/>
              </a:ext>
            </a:extLst>
          </p:cNvPr>
          <p:cNvSpPr/>
          <p:nvPr/>
        </p:nvSpPr>
        <p:spPr>
          <a:xfrm>
            <a:off x="515938" y="1692362"/>
            <a:ext cx="5355473" cy="1154162"/>
          </a:xfrm>
          <a:prstGeom prst="rect">
            <a:avLst/>
          </a:prstGeom>
          <a:noFill/>
          <a:ln/>
        </p:spPr>
        <p:txBody>
          <a:bodyPr wrap="square" lIns="0" tIns="0" rIns="0" bIns="0" rtlCol="0" anchor="t">
            <a:spAutoFit/>
          </a:bodyPr>
          <a:lstStyle/>
          <a:p>
            <a:pPr>
              <a:spcBef>
                <a:spcPts val="200"/>
              </a:spcBef>
            </a:pPr>
            <a:r>
              <a:rPr lang="en-US" sz="1400">
                <a:solidFill>
                  <a:schemeClr val="bg2">
                    <a:lumMod val="25000"/>
                  </a:schemeClr>
                </a:solidFill>
                <a:latin typeface="Moderat" pitchFamily="2" charset="77"/>
                <a:ea typeface="Lato" pitchFamily="34" charset="-122"/>
                <a:cs typeface="Lato" pitchFamily="34" charset="-120"/>
              </a:rPr>
              <a:t>Flexible program designed for GCC-based professionals seeking stronger business acumen</a:t>
            </a:r>
          </a:p>
          <a:p>
            <a:pPr marL="171450" indent="-171450" defTabSz="571500">
              <a:spcBef>
                <a:spcPts val="200"/>
              </a:spcBef>
              <a:buClr>
                <a:schemeClr val="accent5"/>
              </a:buClr>
              <a:buSzPct val="100000"/>
              <a:buFont typeface="Arial" panose="020B0604020202020204" pitchFamily="34" charset="0"/>
              <a:buChar char="•"/>
            </a:pPr>
            <a:r>
              <a:rPr lang="en-US" sz="1400">
                <a:solidFill>
                  <a:schemeClr val="bg2">
                    <a:lumMod val="25000"/>
                  </a:schemeClr>
                </a:solidFill>
                <a:latin typeface="Moderat" pitchFamily="2" charset="77"/>
              </a:rPr>
              <a:t>Interactive sessions with real-world application</a:t>
            </a:r>
          </a:p>
          <a:p>
            <a:pPr marL="171450" indent="-171450" defTabSz="571500">
              <a:spcBef>
                <a:spcPts val="200"/>
              </a:spcBef>
              <a:buClr>
                <a:schemeClr val="accent5"/>
              </a:buClr>
              <a:buSzPct val="100000"/>
              <a:buFont typeface="Arial" panose="020B0604020202020204" pitchFamily="34" charset="0"/>
              <a:buChar char="•"/>
            </a:pPr>
            <a:r>
              <a:rPr lang="en-US" sz="1400">
                <a:solidFill>
                  <a:schemeClr val="bg2">
                    <a:lumMod val="25000"/>
                  </a:schemeClr>
                </a:solidFill>
                <a:latin typeface="Moderat" pitchFamily="2" charset="77"/>
              </a:rPr>
              <a:t>Case studies from shared services environments</a:t>
            </a:r>
          </a:p>
          <a:p>
            <a:pPr marL="171450" indent="-171450" defTabSz="571500">
              <a:spcBef>
                <a:spcPts val="200"/>
              </a:spcBef>
              <a:buClr>
                <a:schemeClr val="accent5"/>
              </a:buClr>
              <a:buSzPct val="100000"/>
              <a:buFont typeface="Arial" panose="020B0604020202020204" pitchFamily="34" charset="0"/>
              <a:buChar char="•"/>
            </a:pPr>
            <a:r>
              <a:rPr lang="en-US" sz="1400">
                <a:solidFill>
                  <a:schemeClr val="bg2">
                    <a:lumMod val="25000"/>
                  </a:schemeClr>
                </a:solidFill>
                <a:latin typeface="Moderat" pitchFamily="2" charset="77"/>
              </a:rPr>
              <a:t>Practical tools for immediate use</a:t>
            </a:r>
          </a:p>
        </p:txBody>
      </p:sp>
      <p:sp>
        <p:nvSpPr>
          <p:cNvPr id="4" name="Text 7">
            <a:extLst>
              <a:ext uri="{FF2B5EF4-FFF2-40B4-BE49-F238E27FC236}">
                <a16:creationId xmlns:a16="http://schemas.microsoft.com/office/drawing/2014/main" id="{97C6BF64-DE10-87E1-662A-4EBAB83E4D23}"/>
              </a:ext>
            </a:extLst>
          </p:cNvPr>
          <p:cNvSpPr/>
          <p:nvPr/>
        </p:nvSpPr>
        <p:spPr>
          <a:xfrm>
            <a:off x="6320589" y="1405425"/>
            <a:ext cx="4683528" cy="250453"/>
          </a:xfrm>
          <a:prstGeom prst="rect">
            <a:avLst/>
          </a:prstGeom>
          <a:noFill/>
          <a:ln/>
        </p:spPr>
        <p:txBody>
          <a:bodyPr wrap="square" lIns="0" tIns="0" rIns="0" bIns="0" rtlCol="0" anchor="t">
            <a:spAutoFit/>
          </a:bodyPr>
          <a:lstStyle/>
          <a:p>
            <a:pPr>
              <a:lnSpc>
                <a:spcPts val="1916"/>
              </a:lnSpc>
            </a:pPr>
            <a:r>
              <a:rPr lang="en-US" b="1">
                <a:solidFill>
                  <a:schemeClr val="accent6"/>
                </a:solidFill>
                <a:latin typeface="Moderat" pitchFamily="2" charset="77"/>
                <a:ea typeface="Lato Bold" pitchFamily="34" charset="-122"/>
                <a:cs typeface="Lato Bold" pitchFamily="34" charset="-120"/>
              </a:rPr>
              <a:t>Optional Enhancement</a:t>
            </a:r>
          </a:p>
        </p:txBody>
      </p:sp>
      <p:grpSp>
        <p:nvGrpSpPr>
          <p:cNvPr id="8" name="Group 7">
            <a:extLst>
              <a:ext uri="{FF2B5EF4-FFF2-40B4-BE49-F238E27FC236}">
                <a16:creationId xmlns:a16="http://schemas.microsoft.com/office/drawing/2014/main" id="{6952B3D1-7B95-5B71-4302-CA07D5E97E80}"/>
              </a:ext>
            </a:extLst>
          </p:cNvPr>
          <p:cNvGrpSpPr/>
          <p:nvPr/>
        </p:nvGrpSpPr>
        <p:grpSpPr>
          <a:xfrm>
            <a:off x="6320591" y="1709058"/>
            <a:ext cx="5355471" cy="1196516"/>
            <a:chOff x="4545633" y="1788118"/>
            <a:chExt cx="12192000" cy="1174994"/>
          </a:xfrm>
        </p:grpSpPr>
        <p:sp>
          <p:nvSpPr>
            <p:cNvPr id="5" name="Shape 22">
              <a:extLst>
                <a:ext uri="{FF2B5EF4-FFF2-40B4-BE49-F238E27FC236}">
                  <a16:creationId xmlns:a16="http://schemas.microsoft.com/office/drawing/2014/main" id="{68E38A47-615A-8A97-72F9-706B4C812958}"/>
                </a:ext>
              </a:extLst>
            </p:cNvPr>
            <p:cNvSpPr/>
            <p:nvPr/>
          </p:nvSpPr>
          <p:spPr>
            <a:xfrm>
              <a:off x="4545633" y="1788118"/>
              <a:ext cx="12192000" cy="1174994"/>
            </a:xfrm>
            <a:prstGeom prst="roundRect">
              <a:avLst>
                <a:gd name="adj" fmla="val 7847"/>
              </a:avLst>
            </a:prstGeom>
            <a:solidFill>
              <a:schemeClr val="accent1"/>
            </a:solidFill>
            <a:ln/>
          </p:spPr>
          <p:txBody>
            <a:bodyPr/>
            <a:lstStyle/>
            <a:p>
              <a:pPr defTabSz="571500"/>
              <a:endParaRPr lang="en-IN" sz="1400">
                <a:solidFill>
                  <a:prstClr val="black"/>
                </a:solidFill>
                <a:latin typeface="Moderat" pitchFamily="2" charset="77"/>
              </a:endParaRPr>
            </a:p>
          </p:txBody>
        </p:sp>
        <p:sp>
          <p:nvSpPr>
            <p:cNvPr id="7" name="Text 18">
              <a:extLst>
                <a:ext uri="{FF2B5EF4-FFF2-40B4-BE49-F238E27FC236}">
                  <a16:creationId xmlns:a16="http://schemas.microsoft.com/office/drawing/2014/main" id="{2F5FF79D-0C91-A5A2-9C16-1EAA09E08B55}"/>
                </a:ext>
              </a:extLst>
            </p:cNvPr>
            <p:cNvSpPr/>
            <p:nvPr/>
          </p:nvSpPr>
          <p:spPr>
            <a:xfrm>
              <a:off x="5061572" y="2001045"/>
              <a:ext cx="10281762" cy="211569"/>
            </a:xfrm>
            <a:prstGeom prst="rect">
              <a:avLst/>
            </a:prstGeom>
            <a:noFill/>
            <a:ln/>
          </p:spPr>
          <p:txBody>
            <a:bodyPr wrap="square" lIns="0" tIns="0" rIns="0" bIns="0" rtlCol="0" anchor="t">
              <a:spAutoFit/>
            </a:bodyPr>
            <a:lstStyle/>
            <a:p>
              <a:r>
                <a:rPr lang="en-US" sz="1400" b="1">
                  <a:solidFill>
                    <a:schemeClr val="bg1"/>
                  </a:solidFill>
                  <a:latin typeface="Moderat" pitchFamily="2" charset="77"/>
                  <a:ea typeface="Raleway" pitchFamily="34" charset="-122"/>
                  <a:cs typeface="Raleway" pitchFamily="34" charset="-120"/>
                </a:rPr>
                <a:t>Business Acumen Simulation</a:t>
              </a:r>
            </a:p>
          </p:txBody>
        </p:sp>
        <p:sp>
          <p:nvSpPr>
            <p:cNvPr id="9" name="Text 18">
              <a:extLst>
                <a:ext uri="{FF2B5EF4-FFF2-40B4-BE49-F238E27FC236}">
                  <a16:creationId xmlns:a16="http://schemas.microsoft.com/office/drawing/2014/main" id="{752B6D80-D464-D5FA-A079-943982523A47}"/>
                </a:ext>
              </a:extLst>
            </p:cNvPr>
            <p:cNvSpPr/>
            <p:nvPr/>
          </p:nvSpPr>
          <p:spPr>
            <a:xfrm>
              <a:off x="5061572" y="2299479"/>
              <a:ext cx="10281762" cy="423137"/>
            </a:xfrm>
            <a:prstGeom prst="rect">
              <a:avLst/>
            </a:prstGeom>
            <a:noFill/>
            <a:ln/>
          </p:spPr>
          <p:txBody>
            <a:bodyPr wrap="square" lIns="0" tIns="0" rIns="0" bIns="0" rtlCol="0" anchor="t">
              <a:spAutoFit/>
            </a:bodyPr>
            <a:lstStyle/>
            <a:p>
              <a:r>
                <a:rPr lang="en-US" sz="1400">
                  <a:solidFill>
                    <a:schemeClr val="bg1"/>
                  </a:solidFill>
                  <a:latin typeface="Moderat" pitchFamily="2" charset="77"/>
                  <a:ea typeface="Raleway" pitchFamily="34" charset="-122"/>
                  <a:cs typeface="Raleway" pitchFamily="34" charset="-120"/>
                </a:rPr>
                <a:t>Run a virtual company, make strategic choices, watch financial outcomes unfold</a:t>
              </a:r>
            </a:p>
          </p:txBody>
        </p:sp>
      </p:grpSp>
      <p:sp>
        <p:nvSpPr>
          <p:cNvPr id="10" name="Shape 22">
            <a:extLst>
              <a:ext uri="{FF2B5EF4-FFF2-40B4-BE49-F238E27FC236}">
                <a16:creationId xmlns:a16="http://schemas.microsoft.com/office/drawing/2014/main" id="{18841D0B-B95F-F3EA-1A7B-171A5C04318E}"/>
              </a:ext>
            </a:extLst>
          </p:cNvPr>
          <p:cNvSpPr/>
          <p:nvPr/>
        </p:nvSpPr>
        <p:spPr>
          <a:xfrm>
            <a:off x="0" y="6075501"/>
            <a:ext cx="12192000" cy="782499"/>
          </a:xfrm>
          <a:prstGeom prst="roundRect">
            <a:avLst>
              <a:gd name="adj" fmla="val 1453"/>
            </a:avLst>
          </a:prstGeom>
          <a:solidFill>
            <a:schemeClr val="accent1"/>
          </a:solidFill>
          <a:ln/>
        </p:spPr>
        <p:txBody>
          <a:bodyPr/>
          <a:lstStyle/>
          <a:p>
            <a:pPr defTabSz="571500"/>
            <a:endParaRPr lang="en-IN" sz="1125">
              <a:solidFill>
                <a:prstClr val="black"/>
              </a:solidFill>
              <a:latin typeface="Moderat" pitchFamily="2" charset="77"/>
            </a:endParaRPr>
          </a:p>
        </p:txBody>
      </p:sp>
      <p:sp>
        <p:nvSpPr>
          <p:cNvPr id="12" name="Text 18">
            <a:extLst>
              <a:ext uri="{FF2B5EF4-FFF2-40B4-BE49-F238E27FC236}">
                <a16:creationId xmlns:a16="http://schemas.microsoft.com/office/drawing/2014/main" id="{00AEFB9C-68EC-CF7F-8877-F99A0A9334A4}"/>
              </a:ext>
            </a:extLst>
          </p:cNvPr>
          <p:cNvSpPr/>
          <p:nvPr/>
        </p:nvSpPr>
        <p:spPr>
          <a:xfrm>
            <a:off x="515939" y="6343640"/>
            <a:ext cx="10281763" cy="246221"/>
          </a:xfrm>
          <a:prstGeom prst="rect">
            <a:avLst/>
          </a:prstGeom>
          <a:noFill/>
          <a:ln/>
        </p:spPr>
        <p:txBody>
          <a:bodyPr wrap="square" lIns="0" tIns="0" rIns="0" bIns="0" rtlCol="0" anchor="t">
            <a:spAutoFit/>
          </a:bodyPr>
          <a:lstStyle/>
          <a:p>
            <a:r>
              <a:rPr lang="en-US" sz="1600" b="1">
                <a:solidFill>
                  <a:schemeClr val="bg1"/>
                </a:solidFill>
                <a:latin typeface="Moderat" pitchFamily="2" charset="77"/>
                <a:ea typeface="Raleway" pitchFamily="34" charset="-122"/>
                <a:cs typeface="Raleway" pitchFamily="34" charset="-120"/>
              </a:rPr>
              <a:t>Understand how the business makes money. Connect your work to what matters. Make decisions that drive value</a:t>
            </a:r>
          </a:p>
        </p:txBody>
      </p:sp>
      <p:sp>
        <p:nvSpPr>
          <p:cNvPr id="47" name="Shape 3">
            <a:extLst>
              <a:ext uri="{FF2B5EF4-FFF2-40B4-BE49-F238E27FC236}">
                <a16:creationId xmlns:a16="http://schemas.microsoft.com/office/drawing/2014/main" id="{CD6D9C11-419F-9D19-051E-597573750542}"/>
              </a:ext>
            </a:extLst>
          </p:cNvPr>
          <p:cNvSpPr/>
          <p:nvPr/>
        </p:nvSpPr>
        <p:spPr>
          <a:xfrm>
            <a:off x="515938" y="4371923"/>
            <a:ext cx="3633241" cy="1616008"/>
          </a:xfrm>
          <a:prstGeom prst="roundRect">
            <a:avLst>
              <a:gd name="adj" fmla="val 0"/>
            </a:avLst>
          </a:prstGeom>
          <a:solidFill>
            <a:schemeClr val="bg1">
              <a:lumMod val="95000"/>
            </a:schemeClr>
          </a:solidFill>
          <a:ln w="22860">
            <a:noFill/>
            <a:prstDash val="solid"/>
          </a:ln>
        </p:spPr>
        <p:txBody>
          <a:bodyPr/>
          <a:lstStyle/>
          <a:p>
            <a:endParaRPr lang="en-IN" sz="1500">
              <a:solidFill>
                <a:schemeClr val="bg1"/>
              </a:solidFill>
              <a:latin typeface="Moderat" pitchFamily="2" charset="77"/>
            </a:endParaRPr>
          </a:p>
        </p:txBody>
      </p:sp>
      <p:sp>
        <p:nvSpPr>
          <p:cNvPr id="50" name="Shape 5">
            <a:extLst>
              <a:ext uri="{FF2B5EF4-FFF2-40B4-BE49-F238E27FC236}">
                <a16:creationId xmlns:a16="http://schemas.microsoft.com/office/drawing/2014/main" id="{5D59436B-941B-29C3-DC52-E12FC6139A85}"/>
              </a:ext>
            </a:extLst>
          </p:cNvPr>
          <p:cNvSpPr/>
          <p:nvPr/>
        </p:nvSpPr>
        <p:spPr>
          <a:xfrm>
            <a:off x="589330" y="4511717"/>
            <a:ext cx="396000" cy="394714"/>
          </a:xfrm>
          <a:prstGeom prst="roundRect">
            <a:avLst>
              <a:gd name="adj" fmla="val 8589"/>
            </a:avLst>
          </a:prstGeom>
          <a:solidFill>
            <a:schemeClr val="accent1"/>
          </a:solidFill>
          <a:ln/>
        </p:spPr>
        <p:txBody>
          <a:bodyPr anchor="ctr"/>
          <a:lstStyle/>
          <a:p>
            <a:pPr algn="ctr"/>
            <a:r>
              <a:rPr lang="en-IN">
                <a:solidFill>
                  <a:schemeClr val="bg1"/>
                </a:solidFill>
                <a:latin typeface="Moderat" pitchFamily="2" charset="77"/>
              </a:rPr>
              <a:t>1</a:t>
            </a:r>
          </a:p>
        </p:txBody>
      </p:sp>
      <p:sp>
        <p:nvSpPr>
          <p:cNvPr id="51" name="Text 7">
            <a:extLst>
              <a:ext uri="{FF2B5EF4-FFF2-40B4-BE49-F238E27FC236}">
                <a16:creationId xmlns:a16="http://schemas.microsoft.com/office/drawing/2014/main" id="{D6659C8F-8916-D73C-FF22-AA1EA128B448}"/>
              </a:ext>
            </a:extLst>
          </p:cNvPr>
          <p:cNvSpPr/>
          <p:nvPr/>
        </p:nvSpPr>
        <p:spPr>
          <a:xfrm>
            <a:off x="1089366" y="4601352"/>
            <a:ext cx="2848973" cy="215444"/>
          </a:xfrm>
          <a:prstGeom prst="rect">
            <a:avLst/>
          </a:prstGeom>
          <a:noFill/>
          <a:ln/>
        </p:spPr>
        <p:txBody>
          <a:bodyPr wrap="square" lIns="0" tIns="0" rIns="0" bIns="0" rtlCol="0" anchor="ctr">
            <a:spAutoFit/>
          </a:bodyPr>
          <a:lstStyle/>
          <a:p>
            <a:r>
              <a:rPr lang="en-US" sz="1400" b="1">
                <a:solidFill>
                  <a:schemeClr val="accent6"/>
                </a:solidFill>
                <a:latin typeface="Moderat" pitchFamily="2" charset="77"/>
                <a:ea typeface="Lato Bold" pitchFamily="34" charset="-122"/>
                <a:cs typeface="Lato Bold" pitchFamily="34" charset="-120"/>
              </a:rPr>
              <a:t>How the Business Works</a:t>
            </a:r>
          </a:p>
        </p:txBody>
      </p:sp>
      <p:sp>
        <p:nvSpPr>
          <p:cNvPr id="54" name="Text 8">
            <a:extLst>
              <a:ext uri="{FF2B5EF4-FFF2-40B4-BE49-F238E27FC236}">
                <a16:creationId xmlns:a16="http://schemas.microsoft.com/office/drawing/2014/main" id="{E5ED535E-FD90-71D9-939B-9911E6DC8ABD}"/>
              </a:ext>
            </a:extLst>
          </p:cNvPr>
          <p:cNvSpPr/>
          <p:nvPr/>
        </p:nvSpPr>
        <p:spPr>
          <a:xfrm>
            <a:off x="1089366" y="4980359"/>
            <a:ext cx="2845922" cy="697627"/>
          </a:xfrm>
          <a:prstGeom prst="rect">
            <a:avLst/>
          </a:prstGeom>
          <a:noFill/>
          <a:ln/>
        </p:spPr>
        <p:txBody>
          <a:bodyPr wrap="square" lIns="0" tIns="0" rIns="0" bIns="0" rtlCol="0" anchor="t">
            <a:spAutoFit/>
          </a:bodyPr>
          <a:lstStyle/>
          <a:p>
            <a:pPr marL="144000" indent="-14400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Value chain fundamentals</a:t>
            </a:r>
          </a:p>
          <a:p>
            <a:pPr marL="144000" indent="-144000" defTabSz="571500">
              <a:spcAft>
                <a:spcPts val="200"/>
              </a:spcAft>
              <a:buClr>
                <a:schemeClr val="accent5"/>
              </a:buClr>
              <a:buSzPct val="100000"/>
              <a:buFont typeface="Arial" panose="020B0604020202020204" pitchFamily="34" charset="0"/>
              <a:buChar char="•"/>
            </a:pPr>
            <a:r>
              <a:rPr lang="en-US" sz="1400" err="1">
                <a:solidFill>
                  <a:srgbClr val="4A4A45"/>
                </a:solidFill>
                <a:latin typeface="Moderat" pitchFamily="2" charset="77"/>
              </a:rPr>
              <a:t>Buasiness</a:t>
            </a:r>
            <a:r>
              <a:rPr lang="en-US" sz="1400">
                <a:solidFill>
                  <a:srgbClr val="4A4A45"/>
                </a:solidFill>
                <a:latin typeface="Moderat" pitchFamily="2" charset="77"/>
              </a:rPr>
              <a:t> models</a:t>
            </a:r>
          </a:p>
          <a:p>
            <a:pPr marL="144000" indent="-14400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Customer &amp; stakeholder ecosystems</a:t>
            </a:r>
          </a:p>
        </p:txBody>
      </p:sp>
      <p:sp>
        <p:nvSpPr>
          <p:cNvPr id="73" name="Shape 3">
            <a:extLst>
              <a:ext uri="{FF2B5EF4-FFF2-40B4-BE49-F238E27FC236}">
                <a16:creationId xmlns:a16="http://schemas.microsoft.com/office/drawing/2014/main" id="{E975E7D6-FE16-9B85-2542-DF99C250F541}"/>
              </a:ext>
            </a:extLst>
          </p:cNvPr>
          <p:cNvSpPr/>
          <p:nvPr/>
        </p:nvSpPr>
        <p:spPr>
          <a:xfrm>
            <a:off x="4279380" y="4371923"/>
            <a:ext cx="3633241" cy="1616008"/>
          </a:xfrm>
          <a:prstGeom prst="roundRect">
            <a:avLst>
              <a:gd name="adj" fmla="val 0"/>
            </a:avLst>
          </a:prstGeom>
          <a:solidFill>
            <a:schemeClr val="bg1">
              <a:lumMod val="95000"/>
            </a:schemeClr>
          </a:solidFill>
          <a:ln w="22860">
            <a:noFill/>
            <a:prstDash val="solid"/>
          </a:ln>
        </p:spPr>
        <p:txBody>
          <a:bodyPr/>
          <a:lstStyle/>
          <a:p>
            <a:endParaRPr lang="en-IN" sz="1500">
              <a:solidFill>
                <a:schemeClr val="bg1"/>
              </a:solidFill>
              <a:latin typeface="Moderat" pitchFamily="2" charset="77"/>
            </a:endParaRPr>
          </a:p>
        </p:txBody>
      </p:sp>
      <p:sp>
        <p:nvSpPr>
          <p:cNvPr id="74" name="Shape 5">
            <a:extLst>
              <a:ext uri="{FF2B5EF4-FFF2-40B4-BE49-F238E27FC236}">
                <a16:creationId xmlns:a16="http://schemas.microsoft.com/office/drawing/2014/main" id="{8ED672B2-423A-C25C-4EE7-5102FF37763B}"/>
              </a:ext>
            </a:extLst>
          </p:cNvPr>
          <p:cNvSpPr/>
          <p:nvPr/>
        </p:nvSpPr>
        <p:spPr>
          <a:xfrm>
            <a:off x="4352772" y="4511717"/>
            <a:ext cx="396000" cy="394714"/>
          </a:xfrm>
          <a:prstGeom prst="roundRect">
            <a:avLst>
              <a:gd name="adj" fmla="val 8589"/>
            </a:avLst>
          </a:prstGeom>
          <a:solidFill>
            <a:schemeClr val="accent1"/>
          </a:solidFill>
          <a:ln/>
        </p:spPr>
        <p:txBody>
          <a:bodyPr anchor="ctr"/>
          <a:lstStyle/>
          <a:p>
            <a:pPr algn="ctr"/>
            <a:r>
              <a:rPr lang="en-IN">
                <a:solidFill>
                  <a:schemeClr val="bg1"/>
                </a:solidFill>
                <a:latin typeface="Moderat" pitchFamily="2" charset="77"/>
              </a:rPr>
              <a:t>2</a:t>
            </a:r>
          </a:p>
        </p:txBody>
      </p:sp>
      <p:sp>
        <p:nvSpPr>
          <p:cNvPr id="75" name="Text 7">
            <a:extLst>
              <a:ext uri="{FF2B5EF4-FFF2-40B4-BE49-F238E27FC236}">
                <a16:creationId xmlns:a16="http://schemas.microsoft.com/office/drawing/2014/main" id="{1451829D-71D3-3A7E-D909-4D17794D7659}"/>
              </a:ext>
            </a:extLst>
          </p:cNvPr>
          <p:cNvSpPr/>
          <p:nvPr/>
        </p:nvSpPr>
        <p:spPr>
          <a:xfrm>
            <a:off x="4852808" y="4601352"/>
            <a:ext cx="2848973" cy="215444"/>
          </a:xfrm>
          <a:prstGeom prst="rect">
            <a:avLst/>
          </a:prstGeom>
          <a:noFill/>
          <a:ln/>
        </p:spPr>
        <p:txBody>
          <a:bodyPr wrap="square" lIns="0" tIns="0" rIns="0" bIns="0" rtlCol="0" anchor="ctr">
            <a:spAutoFit/>
          </a:bodyPr>
          <a:lstStyle/>
          <a:p>
            <a:r>
              <a:rPr lang="en-US" sz="1400" b="1">
                <a:solidFill>
                  <a:schemeClr val="accent6"/>
                </a:solidFill>
                <a:latin typeface="Moderat" pitchFamily="2" charset="77"/>
                <a:ea typeface="Lato Bold" pitchFamily="34" charset="-122"/>
                <a:cs typeface="Lato Bold" pitchFamily="34" charset="-120"/>
              </a:rPr>
              <a:t>Finance for Non-Finance Roles</a:t>
            </a:r>
          </a:p>
        </p:txBody>
      </p:sp>
      <p:sp>
        <p:nvSpPr>
          <p:cNvPr id="76" name="Text 8">
            <a:extLst>
              <a:ext uri="{FF2B5EF4-FFF2-40B4-BE49-F238E27FC236}">
                <a16:creationId xmlns:a16="http://schemas.microsoft.com/office/drawing/2014/main" id="{214557F4-A42D-130A-01BA-2BC087CA9585}"/>
              </a:ext>
            </a:extLst>
          </p:cNvPr>
          <p:cNvSpPr/>
          <p:nvPr/>
        </p:nvSpPr>
        <p:spPr>
          <a:xfrm>
            <a:off x="4852808" y="4980359"/>
            <a:ext cx="2845922" cy="697627"/>
          </a:xfrm>
          <a:prstGeom prst="rect">
            <a:avLst/>
          </a:prstGeom>
          <a:noFill/>
          <a:ln/>
        </p:spPr>
        <p:txBody>
          <a:bodyPr wrap="square" lIns="0" tIns="0" rIns="0" bIns="0" rtlCol="0" anchor="t">
            <a:spAutoFit/>
          </a:bodyPr>
          <a:lstStyle/>
          <a:p>
            <a:pPr marL="144000" indent="-14400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Revenue, cost, and margin </a:t>
            </a:r>
          </a:p>
          <a:p>
            <a:pPr marL="144000" indent="-14400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Financial KPIs that drive decisions</a:t>
            </a:r>
          </a:p>
          <a:p>
            <a:pPr marL="144000" indent="-14400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Value creation vs. value destruction</a:t>
            </a:r>
          </a:p>
        </p:txBody>
      </p:sp>
      <p:sp>
        <p:nvSpPr>
          <p:cNvPr id="78" name="Shape 3">
            <a:extLst>
              <a:ext uri="{FF2B5EF4-FFF2-40B4-BE49-F238E27FC236}">
                <a16:creationId xmlns:a16="http://schemas.microsoft.com/office/drawing/2014/main" id="{BA5AA0F6-D3BF-2D99-062F-7C7E79FE15EC}"/>
              </a:ext>
            </a:extLst>
          </p:cNvPr>
          <p:cNvSpPr/>
          <p:nvPr/>
        </p:nvSpPr>
        <p:spPr>
          <a:xfrm>
            <a:off x="8042821" y="4371923"/>
            <a:ext cx="3633241" cy="1616008"/>
          </a:xfrm>
          <a:prstGeom prst="roundRect">
            <a:avLst>
              <a:gd name="adj" fmla="val 0"/>
            </a:avLst>
          </a:prstGeom>
          <a:solidFill>
            <a:schemeClr val="bg1">
              <a:lumMod val="95000"/>
            </a:schemeClr>
          </a:solidFill>
          <a:ln w="22860">
            <a:noFill/>
            <a:prstDash val="solid"/>
          </a:ln>
        </p:spPr>
        <p:txBody>
          <a:bodyPr/>
          <a:lstStyle/>
          <a:p>
            <a:endParaRPr lang="en-IN" sz="1500">
              <a:solidFill>
                <a:schemeClr val="bg1"/>
              </a:solidFill>
              <a:latin typeface="Moderat" pitchFamily="2" charset="77"/>
            </a:endParaRPr>
          </a:p>
        </p:txBody>
      </p:sp>
      <p:sp>
        <p:nvSpPr>
          <p:cNvPr id="79" name="Shape 5">
            <a:extLst>
              <a:ext uri="{FF2B5EF4-FFF2-40B4-BE49-F238E27FC236}">
                <a16:creationId xmlns:a16="http://schemas.microsoft.com/office/drawing/2014/main" id="{3734A96A-6423-DEA1-9587-CE3786A9052F}"/>
              </a:ext>
            </a:extLst>
          </p:cNvPr>
          <p:cNvSpPr/>
          <p:nvPr/>
        </p:nvSpPr>
        <p:spPr>
          <a:xfrm>
            <a:off x="8100973" y="4511717"/>
            <a:ext cx="396000" cy="394714"/>
          </a:xfrm>
          <a:prstGeom prst="roundRect">
            <a:avLst>
              <a:gd name="adj" fmla="val 8589"/>
            </a:avLst>
          </a:prstGeom>
          <a:solidFill>
            <a:schemeClr val="accent1"/>
          </a:solidFill>
          <a:ln/>
        </p:spPr>
        <p:txBody>
          <a:bodyPr anchor="ctr"/>
          <a:lstStyle/>
          <a:p>
            <a:pPr algn="ctr"/>
            <a:r>
              <a:rPr lang="en-IN">
                <a:solidFill>
                  <a:schemeClr val="bg1"/>
                </a:solidFill>
                <a:latin typeface="Moderat" pitchFamily="2" charset="77"/>
              </a:rPr>
              <a:t>3</a:t>
            </a:r>
          </a:p>
        </p:txBody>
      </p:sp>
      <p:sp>
        <p:nvSpPr>
          <p:cNvPr id="80" name="Text 7">
            <a:extLst>
              <a:ext uri="{FF2B5EF4-FFF2-40B4-BE49-F238E27FC236}">
                <a16:creationId xmlns:a16="http://schemas.microsoft.com/office/drawing/2014/main" id="{D71545F1-2FDB-E30B-1EF6-F16B60B45253}"/>
              </a:ext>
            </a:extLst>
          </p:cNvPr>
          <p:cNvSpPr/>
          <p:nvPr/>
        </p:nvSpPr>
        <p:spPr>
          <a:xfrm>
            <a:off x="8604250" y="4493629"/>
            <a:ext cx="2975560" cy="430887"/>
          </a:xfrm>
          <a:prstGeom prst="rect">
            <a:avLst/>
          </a:prstGeom>
          <a:noFill/>
          <a:ln/>
        </p:spPr>
        <p:txBody>
          <a:bodyPr wrap="square" lIns="0" tIns="0" rIns="0" bIns="0" rtlCol="0" anchor="ctr">
            <a:spAutoFit/>
          </a:bodyPr>
          <a:lstStyle/>
          <a:p>
            <a:r>
              <a:rPr lang="en-US" sz="1400" b="1">
                <a:solidFill>
                  <a:schemeClr val="accent6"/>
                </a:solidFill>
                <a:latin typeface="Moderat" pitchFamily="2" charset="77"/>
                <a:ea typeface="Lato Bold" pitchFamily="34" charset="-122"/>
                <a:cs typeface="Lato Bold" pitchFamily="34" charset="-120"/>
              </a:rPr>
              <a:t>Market Awareness + Marketing Essentials</a:t>
            </a:r>
          </a:p>
        </p:txBody>
      </p:sp>
      <p:sp>
        <p:nvSpPr>
          <p:cNvPr id="81" name="Text 8">
            <a:extLst>
              <a:ext uri="{FF2B5EF4-FFF2-40B4-BE49-F238E27FC236}">
                <a16:creationId xmlns:a16="http://schemas.microsoft.com/office/drawing/2014/main" id="{5EB1BC85-757A-EF25-255B-F033AC7EF3DD}"/>
              </a:ext>
            </a:extLst>
          </p:cNvPr>
          <p:cNvSpPr/>
          <p:nvPr/>
        </p:nvSpPr>
        <p:spPr>
          <a:xfrm>
            <a:off x="8604250" y="4980359"/>
            <a:ext cx="2997292" cy="913070"/>
          </a:xfrm>
          <a:prstGeom prst="rect">
            <a:avLst/>
          </a:prstGeom>
          <a:noFill/>
          <a:ln/>
        </p:spPr>
        <p:txBody>
          <a:bodyPr wrap="square" lIns="0" tIns="0" rIns="0" bIns="0" rtlCol="0" anchor="t">
            <a:spAutoFit/>
          </a:bodyPr>
          <a:lstStyle/>
          <a:p>
            <a:pPr marL="144000" indent="-14400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Industry trends and disruption patterns</a:t>
            </a:r>
          </a:p>
          <a:p>
            <a:pPr marL="144000" indent="-14400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Competitor and market analysis</a:t>
            </a:r>
          </a:p>
          <a:p>
            <a:pPr marL="144000" indent="-144000" defTabSz="571500">
              <a:spcAft>
                <a:spcPts val="200"/>
              </a:spcAft>
              <a:buClr>
                <a:schemeClr val="accent5"/>
              </a:buClr>
              <a:buSzPct val="100000"/>
              <a:buFont typeface="Arial" panose="020B0604020202020204" pitchFamily="34" charset="0"/>
              <a:buChar char="•"/>
            </a:pPr>
            <a:r>
              <a:rPr lang="en-US" sz="1400">
                <a:solidFill>
                  <a:srgbClr val="4A4A45"/>
                </a:solidFill>
                <a:latin typeface="Moderat" pitchFamily="2" charset="77"/>
              </a:rPr>
              <a:t>Translating insights into smarter execution</a:t>
            </a:r>
          </a:p>
        </p:txBody>
      </p:sp>
      <p:sp>
        <p:nvSpPr>
          <p:cNvPr id="82" name="Text 7">
            <a:extLst>
              <a:ext uri="{FF2B5EF4-FFF2-40B4-BE49-F238E27FC236}">
                <a16:creationId xmlns:a16="http://schemas.microsoft.com/office/drawing/2014/main" id="{1FEC85EC-ED3B-54AB-04B6-0E51713431D1}"/>
              </a:ext>
            </a:extLst>
          </p:cNvPr>
          <p:cNvSpPr/>
          <p:nvPr/>
        </p:nvSpPr>
        <p:spPr>
          <a:xfrm>
            <a:off x="515938" y="4066141"/>
            <a:ext cx="4360097" cy="250453"/>
          </a:xfrm>
          <a:prstGeom prst="rect">
            <a:avLst/>
          </a:prstGeom>
          <a:noFill/>
          <a:ln/>
        </p:spPr>
        <p:txBody>
          <a:bodyPr wrap="square" lIns="0" tIns="0" rIns="0" bIns="0" rtlCol="0" anchor="t">
            <a:spAutoFit/>
          </a:bodyPr>
          <a:lstStyle/>
          <a:p>
            <a:pPr>
              <a:lnSpc>
                <a:spcPts val="1916"/>
              </a:lnSpc>
            </a:pPr>
            <a:r>
              <a:rPr lang="en-US" b="1">
                <a:solidFill>
                  <a:schemeClr val="accent6"/>
                </a:solidFill>
                <a:latin typeface="Moderat" pitchFamily="2" charset="77"/>
                <a:ea typeface="Lato Bold" pitchFamily="34" charset="-122"/>
                <a:cs typeface="Lato Bold" pitchFamily="34" charset="-120"/>
              </a:rPr>
              <a:t>Core Program Modules</a:t>
            </a:r>
          </a:p>
        </p:txBody>
      </p:sp>
      <p:sp>
        <p:nvSpPr>
          <p:cNvPr id="90" name="Shape 2">
            <a:extLst>
              <a:ext uri="{FF2B5EF4-FFF2-40B4-BE49-F238E27FC236}">
                <a16:creationId xmlns:a16="http://schemas.microsoft.com/office/drawing/2014/main" id="{56D38BAC-F982-E471-EF72-200E033FED90}"/>
              </a:ext>
            </a:extLst>
          </p:cNvPr>
          <p:cNvSpPr/>
          <p:nvPr/>
        </p:nvSpPr>
        <p:spPr>
          <a:xfrm>
            <a:off x="8042821" y="2986689"/>
            <a:ext cx="3633241" cy="928061"/>
          </a:xfrm>
          <a:prstGeom prst="roundRect">
            <a:avLst>
              <a:gd name="adj" fmla="val 8030"/>
            </a:avLst>
          </a:prstGeom>
          <a:solidFill>
            <a:schemeClr val="bg1"/>
          </a:solidFill>
          <a:ln w="6350">
            <a:solidFill>
              <a:schemeClr val="bg1">
                <a:lumMod val="85000"/>
              </a:schemeClr>
            </a:solidFill>
            <a:prstDash val="solid"/>
          </a:ln>
        </p:spPr>
        <p:txBody>
          <a:bodyPr anchor="ctr"/>
          <a:lstStyle/>
          <a:p>
            <a:pPr algn="ctr" defTabSz="304770">
              <a:spcAft>
                <a:spcPts val="600"/>
              </a:spcAft>
            </a:pPr>
            <a:r>
              <a:rPr lang="en-IN" sz="2000" b="1">
                <a:solidFill>
                  <a:schemeClr val="accent3"/>
                </a:solidFill>
                <a:latin typeface="Moderat" pitchFamily="2" charset="77"/>
              </a:rPr>
              <a:t>1</a:t>
            </a:r>
          </a:p>
          <a:p>
            <a:pPr algn="ctr" defTabSz="304770">
              <a:spcAft>
                <a:spcPts val="600"/>
              </a:spcAft>
            </a:pPr>
            <a:r>
              <a:rPr lang="en-IN" sz="2000" b="1">
                <a:solidFill>
                  <a:schemeClr val="accent1"/>
                </a:solidFill>
                <a:latin typeface="Moderat" pitchFamily="2" charset="77"/>
              </a:rPr>
              <a:t>Optional Simulation</a:t>
            </a:r>
          </a:p>
        </p:txBody>
      </p:sp>
      <p:sp>
        <p:nvSpPr>
          <p:cNvPr id="91" name="Shape 2">
            <a:extLst>
              <a:ext uri="{FF2B5EF4-FFF2-40B4-BE49-F238E27FC236}">
                <a16:creationId xmlns:a16="http://schemas.microsoft.com/office/drawing/2014/main" id="{F4C6B0A9-437E-9F2C-D0CD-FFC7AEE8D0F1}"/>
              </a:ext>
            </a:extLst>
          </p:cNvPr>
          <p:cNvSpPr/>
          <p:nvPr/>
        </p:nvSpPr>
        <p:spPr>
          <a:xfrm>
            <a:off x="4279380" y="2986689"/>
            <a:ext cx="3633241" cy="928061"/>
          </a:xfrm>
          <a:prstGeom prst="roundRect">
            <a:avLst>
              <a:gd name="adj" fmla="val 8030"/>
            </a:avLst>
          </a:prstGeom>
          <a:solidFill>
            <a:schemeClr val="bg1"/>
          </a:solidFill>
          <a:ln w="6350">
            <a:solidFill>
              <a:schemeClr val="bg1">
                <a:lumMod val="85000"/>
              </a:schemeClr>
            </a:solidFill>
            <a:prstDash val="solid"/>
          </a:ln>
        </p:spPr>
        <p:txBody>
          <a:bodyPr anchor="ctr"/>
          <a:lstStyle/>
          <a:p>
            <a:pPr algn="ctr" defTabSz="304770">
              <a:spcAft>
                <a:spcPts val="600"/>
              </a:spcAft>
            </a:pPr>
            <a:r>
              <a:rPr lang="en-IN" sz="2000" b="1">
                <a:solidFill>
                  <a:schemeClr val="accent3"/>
                </a:solidFill>
                <a:latin typeface="Moderat" pitchFamily="2" charset="77"/>
              </a:rPr>
              <a:t>100%</a:t>
            </a:r>
          </a:p>
          <a:p>
            <a:pPr algn="ctr" defTabSz="304770">
              <a:spcAft>
                <a:spcPts val="600"/>
              </a:spcAft>
            </a:pPr>
            <a:r>
              <a:rPr lang="en-IN" sz="2000" b="1">
                <a:solidFill>
                  <a:schemeClr val="accent1"/>
                </a:solidFill>
                <a:latin typeface="Moderat" pitchFamily="2" charset="77"/>
              </a:rPr>
              <a:t>Practical Application</a:t>
            </a:r>
          </a:p>
        </p:txBody>
      </p:sp>
      <p:sp>
        <p:nvSpPr>
          <p:cNvPr id="92" name="Shape 2">
            <a:extLst>
              <a:ext uri="{FF2B5EF4-FFF2-40B4-BE49-F238E27FC236}">
                <a16:creationId xmlns:a16="http://schemas.microsoft.com/office/drawing/2014/main" id="{0EEA2708-AD89-4854-D88A-F8985D514216}"/>
              </a:ext>
            </a:extLst>
          </p:cNvPr>
          <p:cNvSpPr/>
          <p:nvPr/>
        </p:nvSpPr>
        <p:spPr>
          <a:xfrm>
            <a:off x="515938" y="2986689"/>
            <a:ext cx="3633241" cy="928061"/>
          </a:xfrm>
          <a:prstGeom prst="roundRect">
            <a:avLst>
              <a:gd name="adj" fmla="val 8030"/>
            </a:avLst>
          </a:prstGeom>
          <a:solidFill>
            <a:schemeClr val="bg1"/>
          </a:solidFill>
          <a:ln w="6350">
            <a:solidFill>
              <a:schemeClr val="bg1">
                <a:lumMod val="85000"/>
              </a:schemeClr>
            </a:solidFill>
            <a:prstDash val="solid"/>
          </a:ln>
        </p:spPr>
        <p:txBody>
          <a:bodyPr anchor="ctr"/>
          <a:lstStyle/>
          <a:p>
            <a:pPr algn="ctr" defTabSz="304770">
              <a:spcAft>
                <a:spcPts val="600"/>
              </a:spcAft>
            </a:pPr>
            <a:r>
              <a:rPr lang="en-IN" sz="2000" b="1">
                <a:solidFill>
                  <a:schemeClr val="accent3"/>
                </a:solidFill>
                <a:latin typeface="Moderat" pitchFamily="2" charset="77"/>
              </a:rPr>
              <a:t>3</a:t>
            </a:r>
          </a:p>
          <a:p>
            <a:pPr algn="ctr" defTabSz="304770">
              <a:spcAft>
                <a:spcPts val="600"/>
              </a:spcAft>
            </a:pPr>
            <a:r>
              <a:rPr lang="en-IN" sz="2000" b="1">
                <a:solidFill>
                  <a:schemeClr val="accent1"/>
                </a:solidFill>
                <a:latin typeface="Moderat" pitchFamily="2" charset="77"/>
              </a:rPr>
              <a:t>Comprehensive Modules</a:t>
            </a:r>
          </a:p>
        </p:txBody>
      </p:sp>
    </p:spTree>
    <p:extLst>
      <p:ext uri="{BB962C8B-B14F-4D97-AF65-F5344CB8AC3E}">
        <p14:creationId xmlns:p14="http://schemas.microsoft.com/office/powerpoint/2010/main" val="23982966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B54D6D4-331C-42DE-6F20-F0463625EDDC}"/>
              </a:ext>
            </a:extLst>
          </p:cNvPr>
          <p:cNvSpPr txBox="1"/>
          <p:nvPr/>
        </p:nvSpPr>
        <p:spPr>
          <a:xfrm>
            <a:off x="887831" y="3573601"/>
            <a:ext cx="3186863" cy="523220"/>
          </a:xfrm>
          <a:prstGeom prst="rect">
            <a:avLst/>
          </a:prstGeom>
          <a:noFill/>
        </p:spPr>
        <p:txBody>
          <a:bodyPr wrap="square" rtlCol="0" anchor="ctr">
            <a:spAutoFit/>
          </a:bodyPr>
          <a:lstStyle/>
          <a:p>
            <a:r>
              <a:rPr lang="en-US" sz="2800">
                <a:solidFill>
                  <a:schemeClr val="bg1"/>
                </a:solidFill>
                <a:latin typeface="Moderat" pitchFamily="2" charset="77"/>
                <a:ea typeface="Roboto" pitchFamily="34" charset="-122"/>
              </a:rPr>
              <a:t>Manager Courses</a:t>
            </a:r>
          </a:p>
        </p:txBody>
      </p:sp>
    </p:spTree>
    <p:extLst>
      <p:ext uri="{BB962C8B-B14F-4D97-AF65-F5344CB8AC3E}">
        <p14:creationId xmlns:p14="http://schemas.microsoft.com/office/powerpoint/2010/main" val="2107367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5FCBA71-635C-605B-7697-425E7C2342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think-cell data - do not delete" hidden="1">
                        <a:extLst>
                          <a:ext uri="{FF2B5EF4-FFF2-40B4-BE49-F238E27FC236}">
                            <a16:creationId xmlns:a16="http://schemas.microsoft.com/office/drawing/2014/main" id="{A5FCBA71-635C-605B-7697-425E7C2342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5791D46-46B2-851F-C88B-3C8B469E9926}"/>
              </a:ext>
            </a:extLst>
          </p:cNvPr>
          <p:cNvSpPr/>
          <p:nvPr/>
        </p:nvSpPr>
        <p:spPr>
          <a:xfrm>
            <a:off x="515938" y="412736"/>
            <a:ext cx="7494206" cy="6488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US" b="1">
                <a:latin typeface="Moderat" pitchFamily="2" charset="77"/>
              </a:rPr>
              <a:t>ASCEND: Leadership Alignment Program</a:t>
            </a:r>
          </a:p>
        </p:txBody>
      </p:sp>
      <p:sp>
        <p:nvSpPr>
          <p:cNvPr id="41" name="Text 1">
            <a:extLst>
              <a:ext uri="{FF2B5EF4-FFF2-40B4-BE49-F238E27FC236}">
                <a16:creationId xmlns:a16="http://schemas.microsoft.com/office/drawing/2014/main" id="{BC3B09E7-98D5-66F9-D47C-78F78D67DD7B}"/>
              </a:ext>
            </a:extLst>
          </p:cNvPr>
          <p:cNvSpPr/>
          <p:nvPr/>
        </p:nvSpPr>
        <p:spPr>
          <a:xfrm>
            <a:off x="515938" y="1222623"/>
            <a:ext cx="11141074" cy="205184"/>
          </a:xfrm>
          <a:prstGeom prst="rect">
            <a:avLst/>
          </a:prstGeom>
          <a:noFill/>
          <a:ln/>
        </p:spPr>
        <p:txBody>
          <a:bodyPr wrap="square" lIns="0" tIns="0" rIns="0" bIns="0" rtlCol="0" anchor="t">
            <a:spAutoFit/>
          </a:bodyPr>
          <a:lstStyle/>
          <a:p>
            <a:pPr defTabSz="571500">
              <a:lnSpc>
                <a:spcPts val="1563"/>
              </a:lnSpc>
            </a:pPr>
            <a:r>
              <a:rPr lang="en-US" sz="1400">
                <a:solidFill>
                  <a:srgbClr val="504C49"/>
                </a:solidFill>
                <a:latin typeface="Moderat" pitchFamily="2" charset="77"/>
                <a:ea typeface="Source Serif 4" pitchFamily="34" charset="-122"/>
                <a:cs typeface="Source Serif 4" pitchFamily="34" charset="-120"/>
              </a:rPr>
              <a:t>A Half-Day Framework for New Managers</a:t>
            </a:r>
          </a:p>
        </p:txBody>
      </p:sp>
      <p:sp>
        <p:nvSpPr>
          <p:cNvPr id="3" name="Shape 2">
            <a:extLst>
              <a:ext uri="{FF2B5EF4-FFF2-40B4-BE49-F238E27FC236}">
                <a16:creationId xmlns:a16="http://schemas.microsoft.com/office/drawing/2014/main" id="{5211996D-437A-1E29-32CA-679ABD7A7B18}"/>
              </a:ext>
            </a:extLst>
          </p:cNvPr>
          <p:cNvSpPr/>
          <p:nvPr/>
        </p:nvSpPr>
        <p:spPr>
          <a:xfrm>
            <a:off x="827669" y="2147237"/>
            <a:ext cx="5067731" cy="1003691"/>
          </a:xfrm>
          <a:prstGeom prst="roundRect">
            <a:avLst>
              <a:gd name="adj" fmla="val 2503"/>
            </a:avLst>
          </a:prstGeom>
          <a:solidFill>
            <a:schemeClr val="bg1">
              <a:lumMod val="95000"/>
            </a:schemeClr>
          </a:solidFill>
          <a:ln w="22860">
            <a:noFill/>
            <a:prstDash val="solid"/>
          </a:ln>
        </p:spPr>
        <p:txBody>
          <a:bodyPr/>
          <a:lstStyle/>
          <a:p>
            <a:pPr defTabSz="304770"/>
            <a:endParaRPr lang="en-IN" sz="1500">
              <a:solidFill>
                <a:srgbClr val="000000"/>
              </a:solidFill>
              <a:latin typeface="Moderat" pitchFamily="2" charset="77"/>
            </a:endParaRPr>
          </a:p>
        </p:txBody>
      </p:sp>
      <p:grpSp>
        <p:nvGrpSpPr>
          <p:cNvPr id="29" name="Group 28">
            <a:extLst>
              <a:ext uri="{FF2B5EF4-FFF2-40B4-BE49-F238E27FC236}">
                <a16:creationId xmlns:a16="http://schemas.microsoft.com/office/drawing/2014/main" id="{A3774BBA-BA68-DC09-8F2F-D4EED0886472}"/>
              </a:ext>
            </a:extLst>
          </p:cNvPr>
          <p:cNvGrpSpPr/>
          <p:nvPr/>
        </p:nvGrpSpPr>
        <p:grpSpPr>
          <a:xfrm>
            <a:off x="1185863" y="2241513"/>
            <a:ext cx="4507439" cy="815138"/>
            <a:chOff x="1245659" y="2555037"/>
            <a:chExt cx="4507439" cy="815138"/>
          </a:xfrm>
        </p:grpSpPr>
        <p:sp>
          <p:nvSpPr>
            <p:cNvPr id="4" name="Text 7">
              <a:extLst>
                <a:ext uri="{FF2B5EF4-FFF2-40B4-BE49-F238E27FC236}">
                  <a16:creationId xmlns:a16="http://schemas.microsoft.com/office/drawing/2014/main" id="{F8F06048-0160-CBBE-EB6E-BC57BE3F5518}"/>
                </a:ext>
              </a:extLst>
            </p:cNvPr>
            <p:cNvSpPr/>
            <p:nvPr/>
          </p:nvSpPr>
          <p:spPr>
            <a:xfrm>
              <a:off x="1245659" y="2555037"/>
              <a:ext cx="4507438" cy="234936"/>
            </a:xfrm>
            <a:prstGeom prst="rect">
              <a:avLst/>
            </a:prstGeom>
            <a:noFill/>
            <a:ln/>
          </p:spPr>
          <p:txBody>
            <a:bodyPr wrap="square" lIns="0" tIns="0" rIns="0" bIns="0" rtlCol="0" anchor="t">
              <a:spAutoFit/>
            </a:bodyPr>
            <a:lstStyle/>
            <a:p>
              <a:pPr>
                <a:lnSpc>
                  <a:spcPts val="1916"/>
                </a:lnSpc>
              </a:pPr>
              <a:r>
                <a:rPr lang="en-US" sz="1400" b="1">
                  <a:solidFill>
                    <a:schemeClr val="accent6"/>
                  </a:solidFill>
                  <a:latin typeface="Moderat" pitchFamily="2" charset="77"/>
                  <a:ea typeface="Lato Bold" pitchFamily="34" charset="-122"/>
                  <a:cs typeface="Lato Bold" pitchFamily="34" charset="-120"/>
                </a:rPr>
                <a:t>Align</a:t>
              </a:r>
            </a:p>
          </p:txBody>
        </p:sp>
        <p:sp>
          <p:nvSpPr>
            <p:cNvPr id="5" name="Text 8">
              <a:extLst>
                <a:ext uri="{FF2B5EF4-FFF2-40B4-BE49-F238E27FC236}">
                  <a16:creationId xmlns:a16="http://schemas.microsoft.com/office/drawing/2014/main" id="{981D9040-4805-86DC-5049-0F7A12333B30}"/>
                </a:ext>
              </a:extLst>
            </p:cNvPr>
            <p:cNvSpPr/>
            <p:nvPr/>
          </p:nvSpPr>
          <p:spPr>
            <a:xfrm>
              <a:off x="1245660" y="2816177"/>
              <a:ext cx="4507438" cy="553998"/>
            </a:xfrm>
            <a:prstGeom prst="rect">
              <a:avLst/>
            </a:prstGeom>
            <a:noFill/>
            <a:ln/>
          </p:spPr>
          <p:txBody>
            <a:bodyPr wrap="square" lIns="0" tIns="0" rIns="0" bIns="0" rtlCol="0" anchor="t">
              <a:spAutoFit/>
            </a:bodyPr>
            <a:lstStyle/>
            <a:p>
              <a:pPr>
                <a:spcBef>
                  <a:spcPts val="400"/>
                </a:spcBef>
                <a:spcAft>
                  <a:spcPts val="400"/>
                </a:spcAft>
              </a:pPr>
              <a:r>
                <a:rPr lang="en-US" sz="1200">
                  <a:solidFill>
                    <a:schemeClr val="bg2">
                      <a:lumMod val="25000"/>
                    </a:schemeClr>
                  </a:solidFill>
                  <a:latin typeface="Moderat" pitchFamily="2" charset="77"/>
                  <a:ea typeface="Lato" pitchFamily="34" charset="-122"/>
                  <a:cs typeface="Lato" pitchFamily="34" charset="-120"/>
                </a:rPr>
                <a:t>Understand enterprise goals and GCC charter. Clarify team roles and success metrics. Guide your team through </a:t>
              </a:r>
              <a:r>
                <a:rPr lang="en-US" sz="1200" b="1">
                  <a:solidFill>
                    <a:schemeClr val="bg2">
                      <a:lumMod val="25000"/>
                    </a:schemeClr>
                  </a:solidFill>
                  <a:latin typeface="Moderat" pitchFamily="2" charset="77"/>
                  <a:ea typeface="Lato" pitchFamily="34" charset="-122"/>
                  <a:cs typeface="Lato" pitchFamily="34" charset="-120"/>
                </a:rPr>
                <a:t>Forming</a:t>
              </a:r>
              <a:r>
                <a:rPr lang="en-US" sz="1200">
                  <a:solidFill>
                    <a:schemeClr val="bg2">
                      <a:lumMod val="25000"/>
                    </a:schemeClr>
                  </a:solidFill>
                  <a:latin typeface="Moderat" pitchFamily="2" charset="77"/>
                  <a:ea typeface="Lato" pitchFamily="34" charset="-122"/>
                  <a:cs typeface="Lato" pitchFamily="34" charset="-120"/>
                </a:rPr>
                <a:t>: establish purpose and ways of working</a:t>
              </a:r>
            </a:p>
          </p:txBody>
        </p:sp>
      </p:grpSp>
      <p:sp>
        <p:nvSpPr>
          <p:cNvPr id="7" name="Shape 7">
            <a:extLst>
              <a:ext uri="{FF2B5EF4-FFF2-40B4-BE49-F238E27FC236}">
                <a16:creationId xmlns:a16="http://schemas.microsoft.com/office/drawing/2014/main" id="{2557E9E5-303A-E003-3E2E-456DB9885825}"/>
              </a:ext>
            </a:extLst>
          </p:cNvPr>
          <p:cNvSpPr/>
          <p:nvPr/>
        </p:nvSpPr>
        <p:spPr>
          <a:xfrm>
            <a:off x="773669" y="2147238"/>
            <a:ext cx="54000" cy="1003691"/>
          </a:xfrm>
          <a:prstGeom prst="roundRect">
            <a:avLst>
              <a:gd name="adj" fmla="val 0"/>
            </a:avLst>
          </a:prstGeom>
          <a:solidFill>
            <a:schemeClr val="accent5"/>
          </a:solidFill>
          <a:ln>
            <a:noFill/>
          </a:ln>
        </p:spPr>
        <p:txBody>
          <a:bodyPr/>
          <a:lstStyle/>
          <a:p>
            <a:endParaRPr lang="en-IN" sz="1500">
              <a:latin typeface="Moderat" pitchFamily="2" charset="77"/>
            </a:endParaRPr>
          </a:p>
        </p:txBody>
      </p:sp>
      <p:sp>
        <p:nvSpPr>
          <p:cNvPr id="28" name="Text 8">
            <a:extLst>
              <a:ext uri="{FF2B5EF4-FFF2-40B4-BE49-F238E27FC236}">
                <a16:creationId xmlns:a16="http://schemas.microsoft.com/office/drawing/2014/main" id="{3E16D97B-317D-42EE-26D1-F8B4B38BE912}"/>
              </a:ext>
            </a:extLst>
          </p:cNvPr>
          <p:cNvSpPr/>
          <p:nvPr/>
        </p:nvSpPr>
        <p:spPr>
          <a:xfrm>
            <a:off x="515936" y="1653414"/>
            <a:ext cx="11160127" cy="369332"/>
          </a:xfrm>
          <a:prstGeom prst="rect">
            <a:avLst/>
          </a:prstGeom>
          <a:noFill/>
          <a:ln/>
        </p:spPr>
        <p:txBody>
          <a:bodyPr wrap="square" lIns="0" tIns="0" rIns="0" bIns="0" rtlCol="0" anchor="t">
            <a:spAutoFit/>
          </a:bodyPr>
          <a:lstStyle/>
          <a:p>
            <a:pPr>
              <a:spcBef>
                <a:spcPts val="400"/>
              </a:spcBef>
              <a:spcAft>
                <a:spcPts val="400"/>
              </a:spcAft>
            </a:pPr>
            <a:r>
              <a:rPr lang="en-US" sz="1200">
                <a:solidFill>
                  <a:schemeClr val="bg2">
                    <a:lumMod val="25000"/>
                  </a:schemeClr>
                </a:solidFill>
                <a:latin typeface="Moderat" pitchFamily="2" charset="77"/>
                <a:ea typeface="Lato" pitchFamily="34" charset="-122"/>
                <a:cs typeface="Lato" pitchFamily="34" charset="-120"/>
              </a:rPr>
              <a:t>ASCEND is a structured leadership alignment program designed to help new managers stabilize teams, integrate global operations, and accelerate performance. This framework guides leaders through six critical phases Align, Strategize, Cultivate, Engage, Nurture, and Drive with each supporting your team's journey from formation to high performance</a:t>
            </a:r>
          </a:p>
        </p:txBody>
      </p:sp>
      <p:sp>
        <p:nvSpPr>
          <p:cNvPr id="32" name="Shape 2">
            <a:extLst>
              <a:ext uri="{FF2B5EF4-FFF2-40B4-BE49-F238E27FC236}">
                <a16:creationId xmlns:a16="http://schemas.microsoft.com/office/drawing/2014/main" id="{1EBD12DC-C636-5D00-7442-28A9D045314F}"/>
              </a:ext>
            </a:extLst>
          </p:cNvPr>
          <p:cNvSpPr/>
          <p:nvPr/>
        </p:nvSpPr>
        <p:spPr>
          <a:xfrm>
            <a:off x="827669" y="3264837"/>
            <a:ext cx="5067731" cy="1003691"/>
          </a:xfrm>
          <a:prstGeom prst="roundRect">
            <a:avLst>
              <a:gd name="adj" fmla="val 2503"/>
            </a:avLst>
          </a:prstGeom>
          <a:solidFill>
            <a:schemeClr val="bg1">
              <a:lumMod val="95000"/>
            </a:schemeClr>
          </a:solidFill>
          <a:ln w="22860">
            <a:noFill/>
            <a:prstDash val="solid"/>
          </a:ln>
        </p:spPr>
        <p:txBody>
          <a:bodyPr/>
          <a:lstStyle/>
          <a:p>
            <a:pPr defTabSz="304770"/>
            <a:endParaRPr lang="en-IN" sz="1500">
              <a:solidFill>
                <a:srgbClr val="000000"/>
              </a:solidFill>
              <a:latin typeface="Moderat" pitchFamily="2" charset="77"/>
            </a:endParaRPr>
          </a:p>
        </p:txBody>
      </p:sp>
      <p:grpSp>
        <p:nvGrpSpPr>
          <p:cNvPr id="33" name="Group 32">
            <a:extLst>
              <a:ext uri="{FF2B5EF4-FFF2-40B4-BE49-F238E27FC236}">
                <a16:creationId xmlns:a16="http://schemas.microsoft.com/office/drawing/2014/main" id="{8F056076-87E4-3DC1-61D8-03DE98815BC4}"/>
              </a:ext>
            </a:extLst>
          </p:cNvPr>
          <p:cNvGrpSpPr/>
          <p:nvPr/>
        </p:nvGrpSpPr>
        <p:grpSpPr>
          <a:xfrm>
            <a:off x="1185863" y="3359113"/>
            <a:ext cx="4507439" cy="815138"/>
            <a:chOff x="1245659" y="2555037"/>
            <a:chExt cx="4507439" cy="815138"/>
          </a:xfrm>
        </p:grpSpPr>
        <p:sp>
          <p:nvSpPr>
            <p:cNvPr id="46" name="Text 7">
              <a:extLst>
                <a:ext uri="{FF2B5EF4-FFF2-40B4-BE49-F238E27FC236}">
                  <a16:creationId xmlns:a16="http://schemas.microsoft.com/office/drawing/2014/main" id="{84E0B3B0-D0F0-E374-EBE4-4D25142AEE81}"/>
                </a:ext>
              </a:extLst>
            </p:cNvPr>
            <p:cNvSpPr/>
            <p:nvPr/>
          </p:nvSpPr>
          <p:spPr>
            <a:xfrm>
              <a:off x="1245659" y="2555037"/>
              <a:ext cx="4507438" cy="234936"/>
            </a:xfrm>
            <a:prstGeom prst="rect">
              <a:avLst/>
            </a:prstGeom>
            <a:noFill/>
            <a:ln/>
          </p:spPr>
          <p:txBody>
            <a:bodyPr wrap="square" lIns="0" tIns="0" rIns="0" bIns="0" rtlCol="0" anchor="t">
              <a:spAutoFit/>
            </a:bodyPr>
            <a:lstStyle/>
            <a:p>
              <a:pPr>
                <a:lnSpc>
                  <a:spcPts val="1916"/>
                </a:lnSpc>
              </a:pPr>
              <a:r>
                <a:rPr lang="en-US" sz="1400" b="1">
                  <a:solidFill>
                    <a:schemeClr val="accent6"/>
                  </a:solidFill>
                  <a:latin typeface="Moderat" pitchFamily="2" charset="77"/>
                  <a:ea typeface="Lato Bold" pitchFamily="34" charset="-122"/>
                  <a:cs typeface="Lato Bold" pitchFamily="34" charset="-120"/>
                </a:rPr>
                <a:t>Cultivate</a:t>
              </a:r>
            </a:p>
          </p:txBody>
        </p:sp>
        <p:sp>
          <p:nvSpPr>
            <p:cNvPr id="47" name="Text 8">
              <a:extLst>
                <a:ext uri="{FF2B5EF4-FFF2-40B4-BE49-F238E27FC236}">
                  <a16:creationId xmlns:a16="http://schemas.microsoft.com/office/drawing/2014/main" id="{E63FD69E-FF10-DBD3-DC15-7883BB8B52DF}"/>
                </a:ext>
              </a:extLst>
            </p:cNvPr>
            <p:cNvSpPr/>
            <p:nvPr/>
          </p:nvSpPr>
          <p:spPr>
            <a:xfrm>
              <a:off x="1245660" y="2816177"/>
              <a:ext cx="4507438" cy="553998"/>
            </a:xfrm>
            <a:prstGeom prst="rect">
              <a:avLst/>
            </a:prstGeom>
            <a:noFill/>
            <a:ln/>
          </p:spPr>
          <p:txBody>
            <a:bodyPr wrap="square" lIns="0" tIns="0" rIns="0" bIns="0" rtlCol="0" anchor="t">
              <a:spAutoFit/>
            </a:bodyPr>
            <a:lstStyle/>
            <a:p>
              <a:pPr>
                <a:spcBef>
                  <a:spcPts val="400"/>
                </a:spcBef>
                <a:spcAft>
                  <a:spcPts val="400"/>
                </a:spcAft>
              </a:pPr>
              <a:r>
                <a:rPr lang="en-US" sz="1200">
                  <a:solidFill>
                    <a:schemeClr val="bg2">
                      <a:lumMod val="25000"/>
                    </a:schemeClr>
                  </a:solidFill>
                  <a:latin typeface="Moderat" pitchFamily="2" charset="77"/>
                  <a:ea typeface="Lato" pitchFamily="34" charset="-122"/>
                  <a:cs typeface="Lato" pitchFamily="34" charset="-120"/>
                </a:rPr>
                <a:t>Shape a trusting, psychologically safe environment. Model communication norms and accountability. Enable your team to move into </a:t>
              </a:r>
              <a:r>
                <a:rPr lang="en-US" sz="1200" b="1">
                  <a:solidFill>
                    <a:schemeClr val="bg2">
                      <a:lumMod val="25000"/>
                    </a:schemeClr>
                  </a:solidFill>
                  <a:latin typeface="Moderat" pitchFamily="2" charset="77"/>
                  <a:ea typeface="Lato" pitchFamily="34" charset="-122"/>
                  <a:cs typeface="Lato" pitchFamily="34" charset="-120"/>
                </a:rPr>
                <a:t>Norming</a:t>
              </a:r>
              <a:r>
                <a:rPr lang="en-US" sz="1200">
                  <a:solidFill>
                    <a:schemeClr val="bg2">
                      <a:lumMod val="25000"/>
                    </a:schemeClr>
                  </a:solidFill>
                  <a:latin typeface="Moderat" pitchFamily="2" charset="77"/>
                  <a:ea typeface="Lato" pitchFamily="34" charset="-122"/>
                  <a:cs typeface="Lato" pitchFamily="34" charset="-120"/>
                </a:rPr>
                <a:t>: embed rituals and create consistency</a:t>
              </a:r>
            </a:p>
          </p:txBody>
        </p:sp>
      </p:grpSp>
      <p:sp>
        <p:nvSpPr>
          <p:cNvPr id="34" name="Shape 7">
            <a:extLst>
              <a:ext uri="{FF2B5EF4-FFF2-40B4-BE49-F238E27FC236}">
                <a16:creationId xmlns:a16="http://schemas.microsoft.com/office/drawing/2014/main" id="{73536456-98C2-23B4-0B3B-B7A6FB36B927}"/>
              </a:ext>
            </a:extLst>
          </p:cNvPr>
          <p:cNvSpPr/>
          <p:nvPr/>
        </p:nvSpPr>
        <p:spPr>
          <a:xfrm>
            <a:off x="773669" y="3264838"/>
            <a:ext cx="54000" cy="1003691"/>
          </a:xfrm>
          <a:prstGeom prst="roundRect">
            <a:avLst>
              <a:gd name="adj" fmla="val 0"/>
            </a:avLst>
          </a:prstGeom>
          <a:solidFill>
            <a:schemeClr val="accent5"/>
          </a:solidFill>
          <a:ln>
            <a:noFill/>
          </a:ln>
        </p:spPr>
        <p:txBody>
          <a:bodyPr/>
          <a:lstStyle/>
          <a:p>
            <a:endParaRPr lang="en-IN" sz="1500">
              <a:latin typeface="Moderat" pitchFamily="2" charset="77"/>
            </a:endParaRPr>
          </a:p>
        </p:txBody>
      </p:sp>
      <p:sp>
        <p:nvSpPr>
          <p:cNvPr id="51" name="Shape 2">
            <a:extLst>
              <a:ext uri="{FF2B5EF4-FFF2-40B4-BE49-F238E27FC236}">
                <a16:creationId xmlns:a16="http://schemas.microsoft.com/office/drawing/2014/main" id="{4D8684B3-4460-F494-BFE4-006E492C3E34}"/>
              </a:ext>
            </a:extLst>
          </p:cNvPr>
          <p:cNvSpPr/>
          <p:nvPr/>
        </p:nvSpPr>
        <p:spPr>
          <a:xfrm>
            <a:off x="827669" y="4382437"/>
            <a:ext cx="5067731" cy="1003691"/>
          </a:xfrm>
          <a:prstGeom prst="roundRect">
            <a:avLst>
              <a:gd name="adj" fmla="val 2503"/>
            </a:avLst>
          </a:prstGeom>
          <a:solidFill>
            <a:schemeClr val="bg1">
              <a:lumMod val="95000"/>
            </a:schemeClr>
          </a:solidFill>
          <a:ln w="22860">
            <a:noFill/>
            <a:prstDash val="solid"/>
          </a:ln>
        </p:spPr>
        <p:txBody>
          <a:bodyPr/>
          <a:lstStyle/>
          <a:p>
            <a:pPr defTabSz="304770"/>
            <a:endParaRPr lang="en-IN" sz="1500">
              <a:solidFill>
                <a:srgbClr val="000000"/>
              </a:solidFill>
              <a:latin typeface="Moderat" pitchFamily="2" charset="77"/>
            </a:endParaRPr>
          </a:p>
        </p:txBody>
      </p:sp>
      <p:grpSp>
        <p:nvGrpSpPr>
          <p:cNvPr id="54" name="Group 53">
            <a:extLst>
              <a:ext uri="{FF2B5EF4-FFF2-40B4-BE49-F238E27FC236}">
                <a16:creationId xmlns:a16="http://schemas.microsoft.com/office/drawing/2014/main" id="{C8C57167-942C-99DA-2096-0CD52A3094A8}"/>
              </a:ext>
            </a:extLst>
          </p:cNvPr>
          <p:cNvGrpSpPr/>
          <p:nvPr/>
        </p:nvGrpSpPr>
        <p:grpSpPr>
          <a:xfrm>
            <a:off x="1185863" y="4476713"/>
            <a:ext cx="4507439" cy="815138"/>
            <a:chOff x="1245659" y="2555037"/>
            <a:chExt cx="4507439" cy="815138"/>
          </a:xfrm>
        </p:grpSpPr>
        <p:sp>
          <p:nvSpPr>
            <p:cNvPr id="63" name="Text 7">
              <a:extLst>
                <a:ext uri="{FF2B5EF4-FFF2-40B4-BE49-F238E27FC236}">
                  <a16:creationId xmlns:a16="http://schemas.microsoft.com/office/drawing/2014/main" id="{E6C45DCB-1C92-A89A-B3DD-B690B6BB6A89}"/>
                </a:ext>
              </a:extLst>
            </p:cNvPr>
            <p:cNvSpPr/>
            <p:nvPr/>
          </p:nvSpPr>
          <p:spPr>
            <a:xfrm>
              <a:off x="1245659" y="2555037"/>
              <a:ext cx="4507438" cy="234936"/>
            </a:xfrm>
            <a:prstGeom prst="rect">
              <a:avLst/>
            </a:prstGeom>
            <a:noFill/>
            <a:ln/>
          </p:spPr>
          <p:txBody>
            <a:bodyPr wrap="square" lIns="0" tIns="0" rIns="0" bIns="0" rtlCol="0" anchor="t">
              <a:spAutoFit/>
            </a:bodyPr>
            <a:lstStyle/>
            <a:p>
              <a:pPr>
                <a:lnSpc>
                  <a:spcPts val="1916"/>
                </a:lnSpc>
              </a:pPr>
              <a:r>
                <a:rPr lang="en-US" sz="1400" b="1">
                  <a:solidFill>
                    <a:schemeClr val="accent6"/>
                  </a:solidFill>
                  <a:latin typeface="Moderat" pitchFamily="2" charset="77"/>
                  <a:ea typeface="Lato Bold" pitchFamily="34" charset="-122"/>
                  <a:cs typeface="Lato Bold" pitchFamily="34" charset="-120"/>
                </a:rPr>
                <a:t>Nurture</a:t>
              </a:r>
            </a:p>
          </p:txBody>
        </p:sp>
        <p:sp>
          <p:nvSpPr>
            <p:cNvPr id="64" name="Text 8">
              <a:extLst>
                <a:ext uri="{FF2B5EF4-FFF2-40B4-BE49-F238E27FC236}">
                  <a16:creationId xmlns:a16="http://schemas.microsoft.com/office/drawing/2014/main" id="{65134636-6168-AFDC-D55B-49915358E9B1}"/>
                </a:ext>
              </a:extLst>
            </p:cNvPr>
            <p:cNvSpPr/>
            <p:nvPr/>
          </p:nvSpPr>
          <p:spPr>
            <a:xfrm>
              <a:off x="1245660" y="2816177"/>
              <a:ext cx="4507438" cy="553998"/>
            </a:xfrm>
            <a:prstGeom prst="rect">
              <a:avLst/>
            </a:prstGeom>
            <a:noFill/>
            <a:ln/>
          </p:spPr>
          <p:txBody>
            <a:bodyPr wrap="square" lIns="0" tIns="0" rIns="0" bIns="0" rtlCol="0" anchor="t">
              <a:spAutoFit/>
            </a:bodyPr>
            <a:lstStyle/>
            <a:p>
              <a:pPr>
                <a:spcBef>
                  <a:spcPts val="400"/>
                </a:spcBef>
                <a:spcAft>
                  <a:spcPts val="400"/>
                </a:spcAft>
              </a:pPr>
              <a:r>
                <a:rPr lang="en-US" sz="1200">
                  <a:solidFill>
                    <a:schemeClr val="bg2">
                      <a:lumMod val="25000"/>
                    </a:schemeClr>
                  </a:solidFill>
                  <a:latin typeface="Moderat" pitchFamily="2" charset="77"/>
                  <a:ea typeface="Lato" pitchFamily="34" charset="-122"/>
                  <a:cs typeface="Lato" pitchFamily="34" charset="-120"/>
                </a:rPr>
                <a:t>Develop capability through upskilling and coaching. Give clear performance feedback. Identify early talent and promote peer learning throughout the organization</a:t>
              </a:r>
            </a:p>
          </p:txBody>
        </p:sp>
      </p:grpSp>
      <p:sp>
        <p:nvSpPr>
          <p:cNvPr id="66" name="Shape 2">
            <a:extLst>
              <a:ext uri="{FF2B5EF4-FFF2-40B4-BE49-F238E27FC236}">
                <a16:creationId xmlns:a16="http://schemas.microsoft.com/office/drawing/2014/main" id="{8E228F90-9D43-5CF0-5983-2CBC6652D1D2}"/>
              </a:ext>
            </a:extLst>
          </p:cNvPr>
          <p:cNvSpPr/>
          <p:nvPr/>
        </p:nvSpPr>
        <p:spPr>
          <a:xfrm>
            <a:off x="6608332" y="2147237"/>
            <a:ext cx="5067731" cy="1003691"/>
          </a:xfrm>
          <a:prstGeom prst="roundRect">
            <a:avLst>
              <a:gd name="adj" fmla="val 2503"/>
            </a:avLst>
          </a:prstGeom>
          <a:solidFill>
            <a:schemeClr val="bg1">
              <a:lumMod val="95000"/>
            </a:schemeClr>
          </a:solidFill>
          <a:ln w="22860">
            <a:noFill/>
            <a:prstDash val="solid"/>
          </a:ln>
        </p:spPr>
        <p:txBody>
          <a:bodyPr/>
          <a:lstStyle/>
          <a:p>
            <a:pPr defTabSz="304770"/>
            <a:endParaRPr lang="en-IN" sz="1500">
              <a:solidFill>
                <a:srgbClr val="000000"/>
              </a:solidFill>
              <a:latin typeface="Moderat" pitchFamily="2" charset="77"/>
            </a:endParaRPr>
          </a:p>
        </p:txBody>
      </p:sp>
      <p:grpSp>
        <p:nvGrpSpPr>
          <p:cNvPr id="67" name="Group 66">
            <a:extLst>
              <a:ext uri="{FF2B5EF4-FFF2-40B4-BE49-F238E27FC236}">
                <a16:creationId xmlns:a16="http://schemas.microsoft.com/office/drawing/2014/main" id="{3B06277A-4E2A-04E5-1634-C9E4AB6B8272}"/>
              </a:ext>
            </a:extLst>
          </p:cNvPr>
          <p:cNvGrpSpPr/>
          <p:nvPr/>
        </p:nvGrpSpPr>
        <p:grpSpPr>
          <a:xfrm>
            <a:off x="6966526" y="2241513"/>
            <a:ext cx="4507439" cy="815138"/>
            <a:chOff x="1245659" y="2555037"/>
            <a:chExt cx="4507439" cy="815138"/>
          </a:xfrm>
        </p:grpSpPr>
        <p:sp>
          <p:nvSpPr>
            <p:cNvPr id="70" name="Text 7">
              <a:extLst>
                <a:ext uri="{FF2B5EF4-FFF2-40B4-BE49-F238E27FC236}">
                  <a16:creationId xmlns:a16="http://schemas.microsoft.com/office/drawing/2014/main" id="{CA10A85C-AAA3-51CD-7351-28CFC6B2357F}"/>
                </a:ext>
              </a:extLst>
            </p:cNvPr>
            <p:cNvSpPr/>
            <p:nvPr/>
          </p:nvSpPr>
          <p:spPr>
            <a:xfrm>
              <a:off x="1245659" y="2555037"/>
              <a:ext cx="4507438" cy="234936"/>
            </a:xfrm>
            <a:prstGeom prst="rect">
              <a:avLst/>
            </a:prstGeom>
            <a:noFill/>
            <a:ln/>
          </p:spPr>
          <p:txBody>
            <a:bodyPr wrap="square" lIns="0" tIns="0" rIns="0" bIns="0" rtlCol="0" anchor="t">
              <a:spAutoFit/>
            </a:bodyPr>
            <a:lstStyle/>
            <a:p>
              <a:pPr>
                <a:lnSpc>
                  <a:spcPts val="1916"/>
                </a:lnSpc>
              </a:pPr>
              <a:r>
                <a:rPr lang="en-US" sz="1400" b="1">
                  <a:solidFill>
                    <a:schemeClr val="accent6"/>
                  </a:solidFill>
                  <a:latin typeface="Moderat" pitchFamily="2" charset="77"/>
                  <a:ea typeface="Lato Bold" pitchFamily="34" charset="-122"/>
                  <a:cs typeface="Lato Bold" pitchFamily="34" charset="-120"/>
                </a:rPr>
                <a:t>Strategize</a:t>
              </a:r>
            </a:p>
          </p:txBody>
        </p:sp>
        <p:sp>
          <p:nvSpPr>
            <p:cNvPr id="71" name="Text 8">
              <a:extLst>
                <a:ext uri="{FF2B5EF4-FFF2-40B4-BE49-F238E27FC236}">
                  <a16:creationId xmlns:a16="http://schemas.microsoft.com/office/drawing/2014/main" id="{D9C1A55F-C133-DBB3-7319-B153F5E5B65F}"/>
                </a:ext>
              </a:extLst>
            </p:cNvPr>
            <p:cNvSpPr/>
            <p:nvPr/>
          </p:nvSpPr>
          <p:spPr>
            <a:xfrm>
              <a:off x="1245660" y="2816177"/>
              <a:ext cx="4507438" cy="553998"/>
            </a:xfrm>
            <a:prstGeom prst="rect">
              <a:avLst/>
            </a:prstGeom>
            <a:noFill/>
            <a:ln/>
          </p:spPr>
          <p:txBody>
            <a:bodyPr wrap="square" lIns="0" tIns="0" rIns="0" bIns="0" rtlCol="0" anchor="t">
              <a:spAutoFit/>
            </a:bodyPr>
            <a:lstStyle/>
            <a:p>
              <a:pPr>
                <a:spcBef>
                  <a:spcPts val="400"/>
                </a:spcBef>
                <a:spcAft>
                  <a:spcPts val="400"/>
                </a:spcAft>
              </a:pPr>
              <a:r>
                <a:rPr lang="en-US" sz="1200">
                  <a:solidFill>
                    <a:schemeClr val="bg2">
                      <a:lumMod val="25000"/>
                    </a:schemeClr>
                  </a:solidFill>
                  <a:latin typeface="Moderat" pitchFamily="2" charset="77"/>
                  <a:ea typeface="Lato" pitchFamily="34" charset="-122"/>
                  <a:cs typeface="Lato" pitchFamily="34" charset="-120"/>
                </a:rPr>
                <a:t>Set 30/60/90-day priorities for operational readiness. Build repeatable processes. Support your team in </a:t>
              </a:r>
              <a:r>
                <a:rPr lang="en-US" sz="1200" b="1">
                  <a:solidFill>
                    <a:schemeClr val="bg2">
                      <a:lumMod val="25000"/>
                    </a:schemeClr>
                  </a:solidFill>
                  <a:latin typeface="Moderat" pitchFamily="2" charset="77"/>
                  <a:ea typeface="Lato" pitchFamily="34" charset="-122"/>
                  <a:cs typeface="Lato" pitchFamily="34" charset="-120"/>
                </a:rPr>
                <a:t>Storming</a:t>
              </a:r>
              <a:r>
                <a:rPr lang="en-US" sz="1200">
                  <a:solidFill>
                    <a:schemeClr val="bg2">
                      <a:lumMod val="25000"/>
                    </a:schemeClr>
                  </a:solidFill>
                  <a:latin typeface="Moderat" pitchFamily="2" charset="77"/>
                  <a:ea typeface="Lato" pitchFamily="34" charset="-122"/>
                  <a:cs typeface="Lato" pitchFamily="34" charset="-120"/>
                </a:rPr>
                <a:t>: normalize conflict and address friction early</a:t>
              </a:r>
            </a:p>
          </p:txBody>
        </p:sp>
      </p:grpSp>
      <p:sp>
        <p:nvSpPr>
          <p:cNvPr id="68" name="Shape 7">
            <a:extLst>
              <a:ext uri="{FF2B5EF4-FFF2-40B4-BE49-F238E27FC236}">
                <a16:creationId xmlns:a16="http://schemas.microsoft.com/office/drawing/2014/main" id="{EAA06884-89E3-1BCE-2129-1C41C40153F4}"/>
              </a:ext>
            </a:extLst>
          </p:cNvPr>
          <p:cNvSpPr/>
          <p:nvPr/>
        </p:nvSpPr>
        <p:spPr>
          <a:xfrm>
            <a:off x="6554332" y="2147238"/>
            <a:ext cx="54000" cy="1003691"/>
          </a:xfrm>
          <a:prstGeom prst="roundRect">
            <a:avLst>
              <a:gd name="adj" fmla="val 0"/>
            </a:avLst>
          </a:prstGeom>
          <a:solidFill>
            <a:schemeClr val="accent5"/>
          </a:solidFill>
          <a:ln>
            <a:noFill/>
          </a:ln>
        </p:spPr>
        <p:txBody>
          <a:bodyPr/>
          <a:lstStyle/>
          <a:p>
            <a:endParaRPr lang="en-IN" sz="1500">
              <a:latin typeface="Moderat" pitchFamily="2" charset="77"/>
            </a:endParaRPr>
          </a:p>
        </p:txBody>
      </p:sp>
      <p:sp>
        <p:nvSpPr>
          <p:cNvPr id="73" name="Shape 2">
            <a:extLst>
              <a:ext uri="{FF2B5EF4-FFF2-40B4-BE49-F238E27FC236}">
                <a16:creationId xmlns:a16="http://schemas.microsoft.com/office/drawing/2014/main" id="{58AEBFA7-2A16-1EAC-D28B-5681F1DE5F19}"/>
              </a:ext>
            </a:extLst>
          </p:cNvPr>
          <p:cNvSpPr/>
          <p:nvPr/>
        </p:nvSpPr>
        <p:spPr>
          <a:xfrm>
            <a:off x="6608332" y="3264837"/>
            <a:ext cx="5067731" cy="1003691"/>
          </a:xfrm>
          <a:prstGeom prst="roundRect">
            <a:avLst>
              <a:gd name="adj" fmla="val 2503"/>
            </a:avLst>
          </a:prstGeom>
          <a:solidFill>
            <a:schemeClr val="bg1">
              <a:lumMod val="95000"/>
            </a:schemeClr>
          </a:solidFill>
          <a:ln w="22860">
            <a:noFill/>
            <a:prstDash val="solid"/>
          </a:ln>
        </p:spPr>
        <p:txBody>
          <a:bodyPr/>
          <a:lstStyle/>
          <a:p>
            <a:pPr defTabSz="304770"/>
            <a:endParaRPr lang="en-IN" sz="1500">
              <a:solidFill>
                <a:srgbClr val="000000"/>
              </a:solidFill>
              <a:latin typeface="Moderat" pitchFamily="2" charset="77"/>
            </a:endParaRPr>
          </a:p>
        </p:txBody>
      </p:sp>
      <p:grpSp>
        <p:nvGrpSpPr>
          <p:cNvPr id="74" name="Group 73">
            <a:extLst>
              <a:ext uri="{FF2B5EF4-FFF2-40B4-BE49-F238E27FC236}">
                <a16:creationId xmlns:a16="http://schemas.microsoft.com/office/drawing/2014/main" id="{B712EA64-0685-7999-2888-6C1CA5795B43}"/>
              </a:ext>
            </a:extLst>
          </p:cNvPr>
          <p:cNvGrpSpPr/>
          <p:nvPr/>
        </p:nvGrpSpPr>
        <p:grpSpPr>
          <a:xfrm>
            <a:off x="6966526" y="3359113"/>
            <a:ext cx="4507439" cy="815138"/>
            <a:chOff x="1245659" y="2555037"/>
            <a:chExt cx="4507439" cy="815138"/>
          </a:xfrm>
        </p:grpSpPr>
        <p:sp>
          <p:nvSpPr>
            <p:cNvPr id="77" name="Text 7">
              <a:extLst>
                <a:ext uri="{FF2B5EF4-FFF2-40B4-BE49-F238E27FC236}">
                  <a16:creationId xmlns:a16="http://schemas.microsoft.com/office/drawing/2014/main" id="{206D9C6F-2C06-D49C-4203-399DC0CBD6CA}"/>
                </a:ext>
              </a:extLst>
            </p:cNvPr>
            <p:cNvSpPr/>
            <p:nvPr/>
          </p:nvSpPr>
          <p:spPr>
            <a:xfrm>
              <a:off x="1245659" y="2555037"/>
              <a:ext cx="4507438" cy="234936"/>
            </a:xfrm>
            <a:prstGeom prst="rect">
              <a:avLst/>
            </a:prstGeom>
            <a:noFill/>
            <a:ln/>
          </p:spPr>
          <p:txBody>
            <a:bodyPr wrap="square" lIns="0" tIns="0" rIns="0" bIns="0" rtlCol="0" anchor="t">
              <a:spAutoFit/>
            </a:bodyPr>
            <a:lstStyle/>
            <a:p>
              <a:pPr>
                <a:lnSpc>
                  <a:spcPts val="1916"/>
                </a:lnSpc>
              </a:pPr>
              <a:r>
                <a:rPr lang="en-US" sz="1400" b="1">
                  <a:solidFill>
                    <a:schemeClr val="accent6"/>
                  </a:solidFill>
                  <a:latin typeface="Moderat" pitchFamily="2" charset="77"/>
                  <a:ea typeface="Lato Bold" pitchFamily="34" charset="-122"/>
                  <a:cs typeface="Lato Bold" pitchFamily="34" charset="-120"/>
                </a:rPr>
                <a:t>Engage</a:t>
              </a:r>
            </a:p>
          </p:txBody>
        </p:sp>
        <p:sp>
          <p:nvSpPr>
            <p:cNvPr id="78" name="Text 8">
              <a:extLst>
                <a:ext uri="{FF2B5EF4-FFF2-40B4-BE49-F238E27FC236}">
                  <a16:creationId xmlns:a16="http://schemas.microsoft.com/office/drawing/2014/main" id="{28FCE2F6-72F9-CEF4-CDE8-F662C3642577}"/>
                </a:ext>
              </a:extLst>
            </p:cNvPr>
            <p:cNvSpPr/>
            <p:nvPr/>
          </p:nvSpPr>
          <p:spPr>
            <a:xfrm>
              <a:off x="1245660" y="2816177"/>
              <a:ext cx="4507438" cy="553998"/>
            </a:xfrm>
            <a:prstGeom prst="rect">
              <a:avLst/>
            </a:prstGeom>
            <a:noFill/>
            <a:ln/>
          </p:spPr>
          <p:txBody>
            <a:bodyPr wrap="square" lIns="0" tIns="0" rIns="0" bIns="0" rtlCol="0" anchor="t">
              <a:spAutoFit/>
            </a:bodyPr>
            <a:lstStyle/>
            <a:p>
              <a:pPr>
                <a:spcBef>
                  <a:spcPts val="400"/>
                </a:spcBef>
                <a:spcAft>
                  <a:spcPts val="400"/>
                </a:spcAft>
              </a:pPr>
              <a:r>
                <a:rPr lang="en-US" sz="1200">
                  <a:solidFill>
                    <a:schemeClr val="bg2">
                      <a:lumMod val="25000"/>
                    </a:schemeClr>
                  </a:solidFill>
                  <a:latin typeface="Moderat" pitchFamily="2" charset="77"/>
                  <a:ea typeface="Lato" pitchFamily="34" charset="-122"/>
                  <a:cs typeface="Lato" pitchFamily="34" charset="-120"/>
                </a:rPr>
                <a:t>Build strong relationships with HQ and global partners. Communicate progress effectively. Reinforce cross-functional collaboration and shared ownership across teams</a:t>
              </a:r>
            </a:p>
          </p:txBody>
        </p:sp>
      </p:grpSp>
      <p:sp>
        <p:nvSpPr>
          <p:cNvPr id="75" name="Shape 7">
            <a:extLst>
              <a:ext uri="{FF2B5EF4-FFF2-40B4-BE49-F238E27FC236}">
                <a16:creationId xmlns:a16="http://schemas.microsoft.com/office/drawing/2014/main" id="{E014505D-FF0E-2153-8AA9-CDACE83105F5}"/>
              </a:ext>
            </a:extLst>
          </p:cNvPr>
          <p:cNvSpPr/>
          <p:nvPr/>
        </p:nvSpPr>
        <p:spPr>
          <a:xfrm>
            <a:off x="6554332" y="3264838"/>
            <a:ext cx="54000" cy="1003691"/>
          </a:xfrm>
          <a:prstGeom prst="roundRect">
            <a:avLst>
              <a:gd name="adj" fmla="val 0"/>
            </a:avLst>
          </a:prstGeom>
          <a:solidFill>
            <a:schemeClr val="accent5"/>
          </a:solidFill>
          <a:ln>
            <a:noFill/>
          </a:ln>
        </p:spPr>
        <p:txBody>
          <a:bodyPr/>
          <a:lstStyle/>
          <a:p>
            <a:endParaRPr lang="en-IN" sz="1500">
              <a:latin typeface="Moderat" pitchFamily="2" charset="77"/>
            </a:endParaRPr>
          </a:p>
        </p:txBody>
      </p:sp>
      <p:sp>
        <p:nvSpPr>
          <p:cNvPr id="80" name="Shape 2">
            <a:extLst>
              <a:ext uri="{FF2B5EF4-FFF2-40B4-BE49-F238E27FC236}">
                <a16:creationId xmlns:a16="http://schemas.microsoft.com/office/drawing/2014/main" id="{4018AFAD-003F-42C8-946D-CBA3B76382BF}"/>
              </a:ext>
            </a:extLst>
          </p:cNvPr>
          <p:cNvSpPr/>
          <p:nvPr/>
        </p:nvSpPr>
        <p:spPr>
          <a:xfrm>
            <a:off x="6608332" y="4382437"/>
            <a:ext cx="5067731" cy="1003691"/>
          </a:xfrm>
          <a:prstGeom prst="roundRect">
            <a:avLst>
              <a:gd name="adj" fmla="val 2503"/>
            </a:avLst>
          </a:prstGeom>
          <a:solidFill>
            <a:schemeClr val="bg1">
              <a:lumMod val="95000"/>
            </a:schemeClr>
          </a:solidFill>
          <a:ln w="22860">
            <a:noFill/>
            <a:prstDash val="solid"/>
          </a:ln>
        </p:spPr>
        <p:txBody>
          <a:bodyPr/>
          <a:lstStyle/>
          <a:p>
            <a:pPr defTabSz="304770"/>
            <a:endParaRPr lang="en-IN" sz="1500">
              <a:solidFill>
                <a:srgbClr val="000000"/>
              </a:solidFill>
              <a:latin typeface="Moderat" pitchFamily="2" charset="77"/>
            </a:endParaRPr>
          </a:p>
        </p:txBody>
      </p:sp>
      <p:grpSp>
        <p:nvGrpSpPr>
          <p:cNvPr id="81" name="Group 80">
            <a:extLst>
              <a:ext uri="{FF2B5EF4-FFF2-40B4-BE49-F238E27FC236}">
                <a16:creationId xmlns:a16="http://schemas.microsoft.com/office/drawing/2014/main" id="{5AE6513F-0F5A-DD4C-0C13-C9C86BEA4880}"/>
              </a:ext>
            </a:extLst>
          </p:cNvPr>
          <p:cNvGrpSpPr/>
          <p:nvPr/>
        </p:nvGrpSpPr>
        <p:grpSpPr>
          <a:xfrm>
            <a:off x="6966526" y="4476713"/>
            <a:ext cx="4507439" cy="815138"/>
            <a:chOff x="1245659" y="2555037"/>
            <a:chExt cx="4507439" cy="815138"/>
          </a:xfrm>
        </p:grpSpPr>
        <p:sp>
          <p:nvSpPr>
            <p:cNvPr id="84" name="Text 7">
              <a:extLst>
                <a:ext uri="{FF2B5EF4-FFF2-40B4-BE49-F238E27FC236}">
                  <a16:creationId xmlns:a16="http://schemas.microsoft.com/office/drawing/2014/main" id="{5F555D7F-30B8-5447-F427-9D7D124D08B6}"/>
                </a:ext>
              </a:extLst>
            </p:cNvPr>
            <p:cNvSpPr/>
            <p:nvPr/>
          </p:nvSpPr>
          <p:spPr>
            <a:xfrm>
              <a:off x="1245659" y="2555037"/>
              <a:ext cx="4507438" cy="234936"/>
            </a:xfrm>
            <a:prstGeom prst="rect">
              <a:avLst/>
            </a:prstGeom>
            <a:noFill/>
            <a:ln/>
          </p:spPr>
          <p:txBody>
            <a:bodyPr wrap="square" lIns="0" tIns="0" rIns="0" bIns="0" rtlCol="0" anchor="t">
              <a:spAutoFit/>
            </a:bodyPr>
            <a:lstStyle/>
            <a:p>
              <a:pPr>
                <a:lnSpc>
                  <a:spcPts val="1916"/>
                </a:lnSpc>
              </a:pPr>
              <a:r>
                <a:rPr lang="en-US" sz="1400" b="1">
                  <a:solidFill>
                    <a:schemeClr val="accent6"/>
                  </a:solidFill>
                  <a:latin typeface="Moderat" pitchFamily="2" charset="77"/>
                  <a:ea typeface="Lato Bold" pitchFamily="34" charset="-122"/>
                  <a:cs typeface="Lato Bold" pitchFamily="34" charset="-120"/>
                </a:rPr>
                <a:t>Drive</a:t>
              </a:r>
            </a:p>
          </p:txBody>
        </p:sp>
        <p:sp>
          <p:nvSpPr>
            <p:cNvPr id="85" name="Text 8">
              <a:extLst>
                <a:ext uri="{FF2B5EF4-FFF2-40B4-BE49-F238E27FC236}">
                  <a16:creationId xmlns:a16="http://schemas.microsoft.com/office/drawing/2014/main" id="{195DEBBC-6047-5AF8-5B35-42557BBD1C6E}"/>
                </a:ext>
              </a:extLst>
            </p:cNvPr>
            <p:cNvSpPr/>
            <p:nvPr/>
          </p:nvSpPr>
          <p:spPr>
            <a:xfrm>
              <a:off x="1245660" y="2816177"/>
              <a:ext cx="4507438" cy="553998"/>
            </a:xfrm>
            <a:prstGeom prst="rect">
              <a:avLst/>
            </a:prstGeom>
            <a:noFill/>
            <a:ln/>
          </p:spPr>
          <p:txBody>
            <a:bodyPr wrap="square" lIns="0" tIns="0" rIns="0" bIns="0" rtlCol="0" anchor="t">
              <a:spAutoFit/>
            </a:bodyPr>
            <a:lstStyle/>
            <a:p>
              <a:pPr>
                <a:spcBef>
                  <a:spcPts val="400"/>
                </a:spcBef>
                <a:spcAft>
                  <a:spcPts val="400"/>
                </a:spcAft>
              </a:pPr>
              <a:r>
                <a:rPr lang="en-US" sz="1200">
                  <a:solidFill>
                    <a:schemeClr val="bg2">
                      <a:lumMod val="25000"/>
                    </a:schemeClr>
                  </a:solidFill>
                  <a:latin typeface="Moderat" pitchFamily="2" charset="77"/>
                  <a:ea typeface="Lato" pitchFamily="34" charset="-122"/>
                  <a:cs typeface="Lato" pitchFamily="34" charset="-120"/>
                </a:rPr>
                <a:t>Lead performance rhythms that enable predictable outcomes. Use data and continuous improvement. Guide your team into </a:t>
              </a:r>
              <a:r>
                <a:rPr lang="en-US" sz="1200" b="1">
                  <a:solidFill>
                    <a:schemeClr val="bg2">
                      <a:lumMod val="25000"/>
                    </a:schemeClr>
                  </a:solidFill>
                  <a:latin typeface="Moderat" pitchFamily="2" charset="77"/>
                  <a:ea typeface="Lato" pitchFamily="34" charset="-122"/>
                  <a:cs typeface="Lato" pitchFamily="34" charset="-120"/>
                </a:rPr>
                <a:t>Performing</a:t>
              </a:r>
              <a:r>
                <a:rPr lang="en-US" sz="1200">
                  <a:solidFill>
                    <a:schemeClr val="bg2">
                      <a:lumMod val="25000"/>
                    </a:schemeClr>
                  </a:solidFill>
                  <a:latin typeface="Moderat" pitchFamily="2" charset="77"/>
                  <a:ea typeface="Lato" pitchFamily="34" charset="-122"/>
                  <a:cs typeface="Lato" pitchFamily="34" charset="-120"/>
                </a:rPr>
                <a:t>: high ownership and consistent delivery</a:t>
              </a:r>
            </a:p>
          </p:txBody>
        </p:sp>
      </p:grpSp>
      <p:sp>
        <p:nvSpPr>
          <p:cNvPr id="82" name="Shape 7">
            <a:extLst>
              <a:ext uri="{FF2B5EF4-FFF2-40B4-BE49-F238E27FC236}">
                <a16:creationId xmlns:a16="http://schemas.microsoft.com/office/drawing/2014/main" id="{2A7ECEB6-EA17-8CF1-3206-1D480F9E48DB}"/>
              </a:ext>
            </a:extLst>
          </p:cNvPr>
          <p:cNvSpPr/>
          <p:nvPr/>
        </p:nvSpPr>
        <p:spPr>
          <a:xfrm>
            <a:off x="6554332" y="4382438"/>
            <a:ext cx="54000" cy="1003691"/>
          </a:xfrm>
          <a:prstGeom prst="roundRect">
            <a:avLst>
              <a:gd name="adj" fmla="val 0"/>
            </a:avLst>
          </a:prstGeom>
          <a:solidFill>
            <a:schemeClr val="accent5"/>
          </a:solidFill>
          <a:ln>
            <a:noFill/>
          </a:ln>
        </p:spPr>
        <p:txBody>
          <a:bodyPr/>
          <a:lstStyle/>
          <a:p>
            <a:endParaRPr lang="en-IN" sz="1500">
              <a:latin typeface="Moderat" pitchFamily="2" charset="77"/>
            </a:endParaRPr>
          </a:p>
        </p:txBody>
      </p:sp>
      <p:sp>
        <p:nvSpPr>
          <p:cNvPr id="86" name="Text 8">
            <a:extLst>
              <a:ext uri="{FF2B5EF4-FFF2-40B4-BE49-F238E27FC236}">
                <a16:creationId xmlns:a16="http://schemas.microsoft.com/office/drawing/2014/main" id="{F63A6DC2-EB93-5FE2-12AC-A4544D9ABC03}"/>
              </a:ext>
            </a:extLst>
          </p:cNvPr>
          <p:cNvSpPr/>
          <p:nvPr/>
        </p:nvSpPr>
        <p:spPr>
          <a:xfrm>
            <a:off x="515936" y="5572605"/>
            <a:ext cx="11160127" cy="369332"/>
          </a:xfrm>
          <a:prstGeom prst="rect">
            <a:avLst/>
          </a:prstGeom>
          <a:noFill/>
          <a:ln/>
        </p:spPr>
        <p:txBody>
          <a:bodyPr wrap="square" lIns="0" tIns="0" rIns="0" bIns="0" rtlCol="0" anchor="t">
            <a:spAutoFit/>
          </a:bodyPr>
          <a:lstStyle/>
          <a:p>
            <a:pPr>
              <a:spcBef>
                <a:spcPts val="400"/>
              </a:spcBef>
              <a:spcAft>
                <a:spcPts val="400"/>
              </a:spcAft>
            </a:pPr>
            <a:r>
              <a:rPr lang="en-US" sz="1200">
                <a:solidFill>
                  <a:schemeClr val="bg2">
                    <a:lumMod val="25000"/>
                  </a:schemeClr>
                </a:solidFill>
                <a:latin typeface="Moderat" pitchFamily="2" charset="77"/>
                <a:ea typeface="Lato" pitchFamily="34" charset="-122"/>
                <a:cs typeface="Lato" pitchFamily="34" charset="-120"/>
              </a:rPr>
              <a:t>This framework aligns with Tuckman's stages of team development, providing practical tools to navigate each phase. By following ASCEND, you'll build high-performing teams ready to deliver excellence in the GCC India environment</a:t>
            </a:r>
          </a:p>
        </p:txBody>
      </p:sp>
      <p:grpSp>
        <p:nvGrpSpPr>
          <p:cNvPr id="6" name="Group 5">
            <a:extLst>
              <a:ext uri="{FF2B5EF4-FFF2-40B4-BE49-F238E27FC236}">
                <a16:creationId xmlns:a16="http://schemas.microsoft.com/office/drawing/2014/main" id="{7EE20178-8130-BE7E-E4A4-49834BBDB17A}"/>
              </a:ext>
            </a:extLst>
          </p:cNvPr>
          <p:cNvGrpSpPr/>
          <p:nvPr/>
        </p:nvGrpSpPr>
        <p:grpSpPr>
          <a:xfrm>
            <a:off x="515936" y="2364349"/>
            <a:ext cx="569466" cy="569466"/>
            <a:chOff x="515936" y="2364349"/>
            <a:chExt cx="569466" cy="569466"/>
          </a:xfrm>
        </p:grpSpPr>
        <p:sp>
          <p:nvSpPr>
            <p:cNvPr id="8" name="Oval 7">
              <a:extLst>
                <a:ext uri="{FF2B5EF4-FFF2-40B4-BE49-F238E27FC236}">
                  <a16:creationId xmlns:a16="http://schemas.microsoft.com/office/drawing/2014/main" id="{6E1B8318-79E4-3DDF-DA70-8DB72DCEA0AE}"/>
                </a:ext>
              </a:extLst>
            </p:cNvPr>
            <p:cNvSpPr>
              <a:spLocks noChangeAspect="1"/>
            </p:cNvSpPr>
            <p:nvPr/>
          </p:nvSpPr>
          <p:spPr>
            <a:xfrm>
              <a:off x="515936" y="2364349"/>
              <a:ext cx="569466" cy="56946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pic>
          <p:nvPicPr>
            <p:cNvPr id="87" name="Image 0" descr="preencoded.png">
              <a:extLst>
                <a:ext uri="{FF2B5EF4-FFF2-40B4-BE49-F238E27FC236}">
                  <a16:creationId xmlns:a16="http://schemas.microsoft.com/office/drawing/2014/main" id="{7A2CF8B8-7BC4-B669-9AF5-587E58556FD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2976" y="2461390"/>
              <a:ext cx="375385" cy="375385"/>
            </a:xfrm>
            <a:prstGeom prst="rect">
              <a:avLst/>
            </a:prstGeom>
          </p:spPr>
        </p:pic>
      </p:grpSp>
      <p:grpSp>
        <p:nvGrpSpPr>
          <p:cNvPr id="15" name="Group 14">
            <a:extLst>
              <a:ext uri="{FF2B5EF4-FFF2-40B4-BE49-F238E27FC236}">
                <a16:creationId xmlns:a16="http://schemas.microsoft.com/office/drawing/2014/main" id="{42B9BBC6-D001-489C-5533-B65848E72703}"/>
              </a:ext>
            </a:extLst>
          </p:cNvPr>
          <p:cNvGrpSpPr/>
          <p:nvPr/>
        </p:nvGrpSpPr>
        <p:grpSpPr>
          <a:xfrm>
            <a:off x="6296599" y="2364349"/>
            <a:ext cx="569466" cy="569466"/>
            <a:chOff x="6296599" y="2364349"/>
            <a:chExt cx="569466" cy="569466"/>
          </a:xfrm>
        </p:grpSpPr>
        <p:sp>
          <p:nvSpPr>
            <p:cNvPr id="69" name="Oval 68">
              <a:extLst>
                <a:ext uri="{FF2B5EF4-FFF2-40B4-BE49-F238E27FC236}">
                  <a16:creationId xmlns:a16="http://schemas.microsoft.com/office/drawing/2014/main" id="{EB3E33D2-D810-0E37-E705-4E329299A0BA}"/>
                </a:ext>
              </a:extLst>
            </p:cNvPr>
            <p:cNvSpPr>
              <a:spLocks noChangeAspect="1"/>
            </p:cNvSpPr>
            <p:nvPr/>
          </p:nvSpPr>
          <p:spPr>
            <a:xfrm>
              <a:off x="6296599" y="2364349"/>
              <a:ext cx="569466" cy="56946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pic>
          <p:nvPicPr>
            <p:cNvPr id="88" name="Image 1" descr="preencoded.png">
              <a:extLst>
                <a:ext uri="{FF2B5EF4-FFF2-40B4-BE49-F238E27FC236}">
                  <a16:creationId xmlns:a16="http://schemas.microsoft.com/office/drawing/2014/main" id="{4705EDB6-89D6-D938-2E95-8540327EEFA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93640" y="2461390"/>
              <a:ext cx="375385" cy="375385"/>
            </a:xfrm>
            <a:prstGeom prst="rect">
              <a:avLst/>
            </a:prstGeom>
          </p:spPr>
        </p:pic>
      </p:grpSp>
      <p:grpSp>
        <p:nvGrpSpPr>
          <p:cNvPr id="9" name="Group 8">
            <a:extLst>
              <a:ext uri="{FF2B5EF4-FFF2-40B4-BE49-F238E27FC236}">
                <a16:creationId xmlns:a16="http://schemas.microsoft.com/office/drawing/2014/main" id="{7EA55C1A-4ECF-7DF6-4AC9-6CA677097E35}"/>
              </a:ext>
            </a:extLst>
          </p:cNvPr>
          <p:cNvGrpSpPr/>
          <p:nvPr/>
        </p:nvGrpSpPr>
        <p:grpSpPr>
          <a:xfrm>
            <a:off x="515936" y="3481949"/>
            <a:ext cx="569466" cy="569466"/>
            <a:chOff x="515936" y="3481949"/>
            <a:chExt cx="569466" cy="569466"/>
          </a:xfrm>
        </p:grpSpPr>
        <p:sp>
          <p:nvSpPr>
            <p:cNvPr id="38" name="Oval 37">
              <a:extLst>
                <a:ext uri="{FF2B5EF4-FFF2-40B4-BE49-F238E27FC236}">
                  <a16:creationId xmlns:a16="http://schemas.microsoft.com/office/drawing/2014/main" id="{2FDB5569-2547-2663-A1B9-F34E030E435F}"/>
                </a:ext>
              </a:extLst>
            </p:cNvPr>
            <p:cNvSpPr>
              <a:spLocks noChangeAspect="1"/>
            </p:cNvSpPr>
            <p:nvPr/>
          </p:nvSpPr>
          <p:spPr>
            <a:xfrm>
              <a:off x="515936" y="3481949"/>
              <a:ext cx="569466" cy="56946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pic>
          <p:nvPicPr>
            <p:cNvPr id="89" name="Image 2" descr="preencoded.png">
              <a:extLst>
                <a:ext uri="{FF2B5EF4-FFF2-40B4-BE49-F238E27FC236}">
                  <a16:creationId xmlns:a16="http://schemas.microsoft.com/office/drawing/2014/main" id="{E07293F8-25F5-40F6-A7D9-9AD243E1E53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0039" y="3596053"/>
              <a:ext cx="341259" cy="341259"/>
            </a:xfrm>
            <a:prstGeom prst="rect">
              <a:avLst/>
            </a:prstGeom>
          </p:spPr>
        </p:pic>
      </p:grpSp>
      <p:grpSp>
        <p:nvGrpSpPr>
          <p:cNvPr id="14" name="Group 13">
            <a:extLst>
              <a:ext uri="{FF2B5EF4-FFF2-40B4-BE49-F238E27FC236}">
                <a16:creationId xmlns:a16="http://schemas.microsoft.com/office/drawing/2014/main" id="{3001E878-6C5F-E98B-3F0F-72E0FF825F3D}"/>
              </a:ext>
            </a:extLst>
          </p:cNvPr>
          <p:cNvGrpSpPr/>
          <p:nvPr/>
        </p:nvGrpSpPr>
        <p:grpSpPr>
          <a:xfrm>
            <a:off x="6296599" y="3481949"/>
            <a:ext cx="569466" cy="569466"/>
            <a:chOff x="6296599" y="3481949"/>
            <a:chExt cx="569466" cy="569466"/>
          </a:xfrm>
        </p:grpSpPr>
        <p:sp>
          <p:nvSpPr>
            <p:cNvPr id="76" name="Oval 75">
              <a:extLst>
                <a:ext uri="{FF2B5EF4-FFF2-40B4-BE49-F238E27FC236}">
                  <a16:creationId xmlns:a16="http://schemas.microsoft.com/office/drawing/2014/main" id="{E5E3798D-509C-F064-4913-DF7AB98C3A4D}"/>
                </a:ext>
              </a:extLst>
            </p:cNvPr>
            <p:cNvSpPr>
              <a:spLocks noChangeAspect="1"/>
            </p:cNvSpPr>
            <p:nvPr/>
          </p:nvSpPr>
          <p:spPr>
            <a:xfrm>
              <a:off x="6296599" y="3481949"/>
              <a:ext cx="569466" cy="56946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pic>
          <p:nvPicPr>
            <p:cNvPr id="90" name="Image 3" descr="preencoded.png">
              <a:extLst>
                <a:ext uri="{FF2B5EF4-FFF2-40B4-BE49-F238E27FC236}">
                  <a16:creationId xmlns:a16="http://schemas.microsoft.com/office/drawing/2014/main" id="{4F228337-772D-31EB-F503-87B6D9C62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10703" y="3596053"/>
              <a:ext cx="341259" cy="341259"/>
            </a:xfrm>
            <a:prstGeom prst="rect">
              <a:avLst/>
            </a:prstGeom>
          </p:spPr>
        </p:pic>
      </p:grpSp>
      <p:sp>
        <p:nvSpPr>
          <p:cNvPr id="55" name="Shape 7">
            <a:extLst>
              <a:ext uri="{FF2B5EF4-FFF2-40B4-BE49-F238E27FC236}">
                <a16:creationId xmlns:a16="http://schemas.microsoft.com/office/drawing/2014/main" id="{9C509FB5-2E41-15EC-B281-25ED07A121FC}"/>
              </a:ext>
            </a:extLst>
          </p:cNvPr>
          <p:cNvSpPr/>
          <p:nvPr/>
        </p:nvSpPr>
        <p:spPr>
          <a:xfrm>
            <a:off x="773669" y="4382438"/>
            <a:ext cx="54000" cy="1003691"/>
          </a:xfrm>
          <a:prstGeom prst="roundRect">
            <a:avLst>
              <a:gd name="adj" fmla="val 0"/>
            </a:avLst>
          </a:prstGeom>
          <a:solidFill>
            <a:schemeClr val="accent5"/>
          </a:solidFill>
          <a:ln>
            <a:noFill/>
          </a:ln>
        </p:spPr>
        <p:txBody>
          <a:bodyPr/>
          <a:lstStyle/>
          <a:p>
            <a:endParaRPr lang="en-IN" sz="1500">
              <a:latin typeface="Moderat" pitchFamily="2" charset="77"/>
            </a:endParaRPr>
          </a:p>
        </p:txBody>
      </p:sp>
      <p:grpSp>
        <p:nvGrpSpPr>
          <p:cNvPr id="12" name="Group 11">
            <a:extLst>
              <a:ext uri="{FF2B5EF4-FFF2-40B4-BE49-F238E27FC236}">
                <a16:creationId xmlns:a16="http://schemas.microsoft.com/office/drawing/2014/main" id="{ACC7E405-9B9C-594B-845B-1ADF195372FF}"/>
              </a:ext>
            </a:extLst>
          </p:cNvPr>
          <p:cNvGrpSpPr/>
          <p:nvPr/>
        </p:nvGrpSpPr>
        <p:grpSpPr>
          <a:xfrm>
            <a:off x="515936" y="4599549"/>
            <a:ext cx="569466" cy="569466"/>
            <a:chOff x="515936" y="4599549"/>
            <a:chExt cx="569466" cy="569466"/>
          </a:xfrm>
        </p:grpSpPr>
        <p:sp>
          <p:nvSpPr>
            <p:cNvPr id="59" name="Oval 58">
              <a:extLst>
                <a:ext uri="{FF2B5EF4-FFF2-40B4-BE49-F238E27FC236}">
                  <a16:creationId xmlns:a16="http://schemas.microsoft.com/office/drawing/2014/main" id="{01C97FFB-A28D-BFA2-8D3D-809F1F2BDBD7}"/>
                </a:ext>
              </a:extLst>
            </p:cNvPr>
            <p:cNvSpPr>
              <a:spLocks noChangeAspect="1"/>
            </p:cNvSpPr>
            <p:nvPr/>
          </p:nvSpPr>
          <p:spPr>
            <a:xfrm>
              <a:off x="515936" y="4599549"/>
              <a:ext cx="569466" cy="56946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pic>
          <p:nvPicPr>
            <p:cNvPr id="91" name="Image 4" descr="preencoded.png">
              <a:extLst>
                <a:ext uri="{FF2B5EF4-FFF2-40B4-BE49-F238E27FC236}">
                  <a16:creationId xmlns:a16="http://schemas.microsoft.com/office/drawing/2014/main" id="{FE9E6CFC-4D0D-03A1-49F4-CE4CE5237F0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30040" y="4713654"/>
              <a:ext cx="341259" cy="341259"/>
            </a:xfrm>
            <a:prstGeom prst="rect">
              <a:avLst/>
            </a:prstGeom>
          </p:spPr>
        </p:pic>
      </p:grpSp>
      <p:grpSp>
        <p:nvGrpSpPr>
          <p:cNvPr id="13" name="Group 12">
            <a:extLst>
              <a:ext uri="{FF2B5EF4-FFF2-40B4-BE49-F238E27FC236}">
                <a16:creationId xmlns:a16="http://schemas.microsoft.com/office/drawing/2014/main" id="{A1B71E3C-6859-57BE-C114-CFC0E7AB4AF1}"/>
              </a:ext>
            </a:extLst>
          </p:cNvPr>
          <p:cNvGrpSpPr/>
          <p:nvPr/>
        </p:nvGrpSpPr>
        <p:grpSpPr>
          <a:xfrm>
            <a:off x="6296599" y="4599549"/>
            <a:ext cx="569466" cy="569466"/>
            <a:chOff x="6296599" y="4599549"/>
            <a:chExt cx="569466" cy="569466"/>
          </a:xfrm>
        </p:grpSpPr>
        <p:sp>
          <p:nvSpPr>
            <p:cNvPr id="83" name="Oval 82">
              <a:extLst>
                <a:ext uri="{FF2B5EF4-FFF2-40B4-BE49-F238E27FC236}">
                  <a16:creationId xmlns:a16="http://schemas.microsoft.com/office/drawing/2014/main" id="{CC06A0F8-45B3-E7DD-070D-1D048D3945E7}"/>
                </a:ext>
              </a:extLst>
            </p:cNvPr>
            <p:cNvSpPr>
              <a:spLocks noChangeAspect="1"/>
            </p:cNvSpPr>
            <p:nvPr/>
          </p:nvSpPr>
          <p:spPr>
            <a:xfrm>
              <a:off x="6296599" y="4599549"/>
              <a:ext cx="569466" cy="56946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oderat" pitchFamily="2" charset="77"/>
              </a:endParaRPr>
            </a:p>
          </p:txBody>
        </p:sp>
        <p:pic>
          <p:nvPicPr>
            <p:cNvPr id="92" name="Image 5" descr="preencoded.png">
              <a:extLst>
                <a:ext uri="{FF2B5EF4-FFF2-40B4-BE49-F238E27FC236}">
                  <a16:creationId xmlns:a16="http://schemas.microsoft.com/office/drawing/2014/main" id="{D5F91956-A95C-52B8-136B-A4151E43EF4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93640" y="4696590"/>
              <a:ext cx="375385" cy="375385"/>
            </a:xfrm>
            <a:prstGeom prst="rect">
              <a:avLst/>
            </a:prstGeom>
          </p:spPr>
        </p:pic>
      </p:grpSp>
    </p:spTree>
    <p:extLst>
      <p:ext uri="{BB962C8B-B14F-4D97-AF65-F5344CB8AC3E}">
        <p14:creationId xmlns:p14="http://schemas.microsoft.com/office/powerpoint/2010/main" val="27379097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yzknFJOiGOuieFPDgIN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yzknFJOiGOuieFPDgIN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WXs.C.WlgvBDV9poakp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WXs.C.WlgvBDV9poakpS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JWXs.C.WlgvBDV9poakpS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yzknFJOiGOuieFPDgIN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yzknFJOiGOuieFPDgIN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WXs.C.WlgvBDV9poakpS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WXs.C.WlgvBDV9poakp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WXs.C.WlgvBDV9poakpS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WXs.C.WlgvBDV9poakpS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yzknFJOiGOuieFPDgIN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yzknFJOiGOuieFPDgIN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WXs.C.WlgvBDV9poakpS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WXs.C.WlgvBDV9poakpS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JWXs.C.WlgvBDV9poakp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yzknFJOiGOuieFPDgIN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EyzknFJOiGOuieFPDgIND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yzknFJOiGOuieFPDgIND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WXs.C.WlgvBDV9poakpS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WXs.C.WlgvBDV9poakp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yzknFJOiGOuieFPDgINDQ"/>
</p:tagLst>
</file>

<file path=ppt/theme/theme1.xml><?xml version="1.0" encoding="utf-8"?>
<a:theme xmlns:a="http://schemas.openxmlformats.org/drawingml/2006/main" name="6_Office Theme">
  <a:themeElements>
    <a:clrScheme name="Consulting">
      <a:dk1>
        <a:srgbClr val="000000"/>
      </a:dk1>
      <a:lt1>
        <a:srgbClr val="FFFFFF"/>
      </a:lt1>
      <a:dk2>
        <a:srgbClr val="0E2841"/>
      </a:dk2>
      <a:lt2>
        <a:srgbClr val="E8E8E8"/>
      </a:lt2>
      <a:accent1>
        <a:srgbClr val="015465"/>
      </a:accent1>
      <a:accent2>
        <a:srgbClr val="0A252F"/>
      </a:accent2>
      <a:accent3>
        <a:srgbClr val="F15921"/>
      </a:accent3>
      <a:accent4>
        <a:srgbClr val="E5E6E7"/>
      </a:accent4>
      <a:accent5>
        <a:srgbClr val="FD5305"/>
      </a:accent5>
      <a:accent6>
        <a:srgbClr val="12676B"/>
      </a:accent6>
      <a:hlink>
        <a:srgbClr val="467886"/>
      </a:hlink>
      <a:folHlink>
        <a:srgbClr val="96607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onsulting">
      <a:dk1>
        <a:srgbClr val="000000"/>
      </a:dk1>
      <a:lt1>
        <a:srgbClr val="FFFFFF"/>
      </a:lt1>
      <a:dk2>
        <a:srgbClr val="0E2841"/>
      </a:dk2>
      <a:lt2>
        <a:srgbClr val="E8E8E8"/>
      </a:lt2>
      <a:accent1>
        <a:srgbClr val="015465"/>
      </a:accent1>
      <a:accent2>
        <a:srgbClr val="0A252F"/>
      </a:accent2>
      <a:accent3>
        <a:srgbClr val="F15921"/>
      </a:accent3>
      <a:accent4>
        <a:srgbClr val="E5E6E7"/>
      </a:accent4>
      <a:accent5>
        <a:srgbClr val="FD5305"/>
      </a:accent5>
      <a:accent6>
        <a:srgbClr val="12676B"/>
      </a:accent6>
      <a:hlink>
        <a:srgbClr val="467886"/>
      </a:hlink>
      <a:folHlink>
        <a:srgbClr val="96607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Consulting">
      <a:dk1>
        <a:srgbClr val="000000"/>
      </a:dk1>
      <a:lt1>
        <a:srgbClr val="FFFFFF"/>
      </a:lt1>
      <a:dk2>
        <a:srgbClr val="0E2841"/>
      </a:dk2>
      <a:lt2>
        <a:srgbClr val="E8E8E8"/>
      </a:lt2>
      <a:accent1>
        <a:srgbClr val="015465"/>
      </a:accent1>
      <a:accent2>
        <a:srgbClr val="0A252F"/>
      </a:accent2>
      <a:accent3>
        <a:srgbClr val="F15921"/>
      </a:accent3>
      <a:accent4>
        <a:srgbClr val="E5E6E7"/>
      </a:accent4>
      <a:accent5>
        <a:srgbClr val="FD5305"/>
      </a:accent5>
      <a:accent6>
        <a:srgbClr val="12676B"/>
      </a:accent6>
      <a:hlink>
        <a:srgbClr val="467886"/>
      </a:hlink>
      <a:folHlink>
        <a:srgbClr val="96607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onsulting">
      <a:dk1>
        <a:srgbClr val="000000"/>
      </a:dk1>
      <a:lt1>
        <a:srgbClr val="FFFFFF"/>
      </a:lt1>
      <a:dk2>
        <a:srgbClr val="0E2841"/>
      </a:dk2>
      <a:lt2>
        <a:srgbClr val="E8E8E8"/>
      </a:lt2>
      <a:accent1>
        <a:srgbClr val="015465"/>
      </a:accent1>
      <a:accent2>
        <a:srgbClr val="0A252F"/>
      </a:accent2>
      <a:accent3>
        <a:srgbClr val="F15921"/>
      </a:accent3>
      <a:accent4>
        <a:srgbClr val="E5E6E7"/>
      </a:accent4>
      <a:accent5>
        <a:srgbClr val="FD5305"/>
      </a:accent5>
      <a:accent6>
        <a:srgbClr val="12676B"/>
      </a:accent6>
      <a:hlink>
        <a:srgbClr val="467886"/>
      </a:hlink>
      <a:folHlink>
        <a:srgbClr val="96607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3945</Words>
  <Application>Microsoft Macintosh PowerPoint</Application>
  <PresentationFormat>Widescreen</PresentationFormat>
  <Paragraphs>581</Paragraphs>
  <Slides>36</Slides>
  <Notes>14</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36</vt:i4>
      </vt:variant>
    </vt:vector>
  </HeadingPairs>
  <TitlesOfParts>
    <vt:vector size="52" baseType="lpstr">
      <vt:lpstr>-webkit-standard</vt:lpstr>
      <vt:lpstr>Arial</vt:lpstr>
      <vt:lpstr>Calibri</vt:lpstr>
      <vt:lpstr>Inter</vt:lpstr>
      <vt:lpstr>Inter Bold</vt:lpstr>
      <vt:lpstr>Moderat</vt:lpstr>
      <vt:lpstr>Moderat Regular</vt:lpstr>
      <vt:lpstr>Mont Regular</vt:lpstr>
      <vt:lpstr>Mont SemiBold</vt:lpstr>
      <vt:lpstr>Montserrat</vt:lpstr>
      <vt:lpstr>Montserrat Bold</vt:lpstr>
      <vt:lpstr>6_Office Theme</vt:lpstr>
      <vt:lpstr>1_Office Theme</vt:lpstr>
      <vt:lpstr>2_Office Theme</vt:lpstr>
      <vt:lpstr>3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rning as a Service: Base+</dc:title>
  <dc:creator>Rachel Walter</dc:creator>
  <cp:lastModifiedBy>Jade Davila</cp:lastModifiedBy>
  <cp:revision>12</cp:revision>
  <cp:lastPrinted>2026-01-08T15:44:56Z</cp:lastPrinted>
  <dcterms:created xsi:type="dcterms:W3CDTF">2025-10-10T21:50:14Z</dcterms:created>
  <dcterms:modified xsi:type="dcterms:W3CDTF">2026-01-14T22:5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0bb76bd-f6d2-45bc-998e-d6f84e379b20_Enabled">
    <vt:lpwstr>true</vt:lpwstr>
  </property>
  <property fmtid="{D5CDD505-2E9C-101B-9397-08002B2CF9AE}" pid="3" name="MSIP_Label_20bb76bd-f6d2-45bc-998e-d6f84e379b20_SetDate">
    <vt:lpwstr>2025-10-10T22:23:26Z</vt:lpwstr>
  </property>
  <property fmtid="{D5CDD505-2E9C-101B-9397-08002B2CF9AE}" pid="4" name="MSIP_Label_20bb76bd-f6d2-45bc-998e-d6f84e379b20_Method">
    <vt:lpwstr>Privileged</vt:lpwstr>
  </property>
  <property fmtid="{D5CDD505-2E9C-101B-9397-08002B2CF9AE}" pid="5" name="MSIP_Label_20bb76bd-f6d2-45bc-998e-d6f84e379b20_Name">
    <vt:lpwstr>Public</vt:lpwstr>
  </property>
  <property fmtid="{D5CDD505-2E9C-101B-9397-08002B2CF9AE}" pid="6" name="MSIP_Label_20bb76bd-f6d2-45bc-998e-d6f84e379b20_SiteId">
    <vt:lpwstr>b08407bb-0b20-4d4c-bba5-89a41710caaa</vt:lpwstr>
  </property>
  <property fmtid="{D5CDD505-2E9C-101B-9397-08002B2CF9AE}" pid="7" name="MSIP_Label_20bb76bd-f6d2-45bc-998e-d6f84e379b20_ActionId">
    <vt:lpwstr>bfc3b949-9d76-4fd4-937a-940b660c1bd6</vt:lpwstr>
  </property>
  <property fmtid="{D5CDD505-2E9C-101B-9397-08002B2CF9AE}" pid="8" name="MSIP_Label_20bb76bd-f6d2-45bc-998e-d6f84e379b20_ContentBits">
    <vt:lpwstr>0</vt:lpwstr>
  </property>
</Properties>
</file>